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3.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4.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0.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2.xml" ContentType="application/vnd.openxmlformats-officedocument.presentationml.tags+xml"/>
  <Override PartName="/ppt/notesSlides/notesSlide30.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ags/tag3.xml" ContentType="application/vnd.openxmlformats-officedocument.presentationml.tags+xml"/>
  <Override PartName="/ppt/notesSlides/notesSlide31.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32.xml" ContentType="application/vnd.openxmlformats-officedocument.presentationml.notesSlide+xml"/>
  <Override PartName="/ppt/tags/tag4.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36.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notesSlides/notesSlide59.xml" ContentType="application/vnd.openxmlformats-officedocument.presentationml.notesSlide+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671" r:id="rId6"/>
    <p:sldMasterId id="2147484745" r:id="rId7"/>
    <p:sldMasterId id="2147484768" r:id="rId8"/>
    <p:sldMasterId id="2147484795" r:id="rId9"/>
    <p:sldMasterId id="2147484819" r:id="rId10"/>
  </p:sldMasterIdLst>
  <p:notesMasterIdLst>
    <p:notesMasterId r:id="rId97"/>
  </p:notesMasterIdLst>
  <p:handoutMasterIdLst>
    <p:handoutMasterId r:id="rId98"/>
  </p:handoutMasterIdLst>
  <p:sldIdLst>
    <p:sldId id="1861" r:id="rId11"/>
    <p:sldId id="4671" r:id="rId12"/>
    <p:sldId id="4672" r:id="rId13"/>
    <p:sldId id="258" r:id="rId14"/>
    <p:sldId id="4718" r:id="rId15"/>
    <p:sldId id="4685" r:id="rId16"/>
    <p:sldId id="4690" r:id="rId17"/>
    <p:sldId id="4669" r:id="rId18"/>
    <p:sldId id="1584" r:id="rId19"/>
    <p:sldId id="4722" r:id="rId20"/>
    <p:sldId id="4674" r:id="rId21"/>
    <p:sldId id="1839" r:id="rId22"/>
    <p:sldId id="4357" r:id="rId23"/>
    <p:sldId id="4352" r:id="rId24"/>
    <p:sldId id="4689" r:id="rId25"/>
    <p:sldId id="4724" r:id="rId26"/>
    <p:sldId id="4686" r:id="rId27"/>
    <p:sldId id="4723" r:id="rId28"/>
    <p:sldId id="4687" r:id="rId29"/>
    <p:sldId id="4688" r:id="rId30"/>
    <p:sldId id="4675" r:id="rId31"/>
    <p:sldId id="4353" r:id="rId32"/>
    <p:sldId id="4692" r:id="rId33"/>
    <p:sldId id="4693" r:id="rId34"/>
    <p:sldId id="4680" r:id="rId35"/>
    <p:sldId id="4676" r:id="rId36"/>
    <p:sldId id="4670" r:id="rId37"/>
    <p:sldId id="4694" r:id="rId38"/>
    <p:sldId id="4703" r:id="rId39"/>
    <p:sldId id="4695" r:id="rId40"/>
    <p:sldId id="4696" r:id="rId41"/>
    <p:sldId id="4719" r:id="rId42"/>
    <p:sldId id="4681" r:id="rId43"/>
    <p:sldId id="4677" r:id="rId44"/>
    <p:sldId id="4378" r:id="rId45"/>
    <p:sldId id="4355" r:id="rId46"/>
    <p:sldId id="4697" r:id="rId47"/>
    <p:sldId id="4699" r:id="rId48"/>
    <p:sldId id="4358" r:id="rId49"/>
    <p:sldId id="4678" r:id="rId50"/>
    <p:sldId id="1834" r:id="rId51"/>
    <p:sldId id="4704" r:id="rId52"/>
    <p:sldId id="677" r:id="rId53"/>
    <p:sldId id="4512" r:id="rId54"/>
    <p:sldId id="4705" r:id="rId55"/>
    <p:sldId id="4707" r:id="rId56"/>
    <p:sldId id="4708" r:id="rId57"/>
    <p:sldId id="4706" r:id="rId58"/>
    <p:sldId id="4360" r:id="rId59"/>
    <p:sldId id="4682" r:id="rId60"/>
    <p:sldId id="4679" r:id="rId61"/>
    <p:sldId id="4709" r:id="rId62"/>
    <p:sldId id="4710" r:id="rId63"/>
    <p:sldId id="1883" r:id="rId64"/>
    <p:sldId id="4387" r:id="rId65"/>
    <p:sldId id="1892" r:id="rId66"/>
    <p:sldId id="4389" r:id="rId67"/>
    <p:sldId id="4393" r:id="rId68"/>
    <p:sldId id="4683" r:id="rId69"/>
    <p:sldId id="4396" r:id="rId70"/>
    <p:sldId id="4721" r:id="rId71"/>
    <p:sldId id="4711" r:id="rId72"/>
    <p:sldId id="1833" r:id="rId73"/>
    <p:sldId id="4375" r:id="rId74"/>
    <p:sldId id="4673" r:id="rId75"/>
    <p:sldId id="300" r:id="rId76"/>
    <p:sldId id="4547" r:id="rId77"/>
    <p:sldId id="1850" r:id="rId78"/>
    <p:sldId id="1860" r:id="rId79"/>
    <p:sldId id="4713" r:id="rId80"/>
    <p:sldId id="1865" r:id="rId81"/>
    <p:sldId id="4362" r:id="rId82"/>
    <p:sldId id="4715" r:id="rId83"/>
    <p:sldId id="4546" r:id="rId84"/>
    <p:sldId id="4351" r:id="rId85"/>
    <p:sldId id="4714" r:id="rId86"/>
    <p:sldId id="4379" r:id="rId87"/>
    <p:sldId id="4716" r:id="rId88"/>
    <p:sldId id="4700" r:id="rId89"/>
    <p:sldId id="4701" r:id="rId90"/>
    <p:sldId id="1868" r:id="rId91"/>
    <p:sldId id="401" r:id="rId92"/>
    <p:sldId id="4720" r:id="rId93"/>
    <p:sldId id="4702" r:id="rId94"/>
    <p:sldId id="4361" r:id="rId95"/>
    <p:sldId id="4367" r:id="rId96"/>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EC6FC0CE-0262-4AEB-BC8B-3242091A1070}">
          <p14:sldIdLst>
            <p14:sldId id="1861"/>
            <p14:sldId id="4671"/>
          </p14:sldIdLst>
        </p14:section>
        <p14:section name="Module 1: Why SQL Server 2019" id="{5DC89DC7-CDCB-49DC-AEE0-23E34A1AB30A}">
          <p14:sldIdLst>
            <p14:sldId id="4672"/>
            <p14:sldId id="258"/>
            <p14:sldId id="4718"/>
            <p14:sldId id="4685"/>
            <p14:sldId id="4690"/>
            <p14:sldId id="4669"/>
            <p14:sldId id="1584"/>
            <p14:sldId id="4722"/>
          </p14:sldIdLst>
        </p14:section>
        <p14:section name="Module 2: Intelligent Performance" id="{A9B056A4-974A-4EF4-BE70-786E99EC2720}">
          <p14:sldIdLst>
            <p14:sldId id="4674"/>
            <p14:sldId id="1839"/>
            <p14:sldId id="4357"/>
            <p14:sldId id="4352"/>
            <p14:sldId id="4689"/>
            <p14:sldId id="4724"/>
            <p14:sldId id="4686"/>
            <p14:sldId id="4723"/>
            <p14:sldId id="4687"/>
            <p14:sldId id="4688"/>
          </p14:sldIdLst>
        </p14:section>
        <p14:section name="Module 3: New Security Capabilities" id="{5E42D3BF-EDD2-469D-94D6-EE89F56AF5FD}">
          <p14:sldIdLst>
            <p14:sldId id="4675"/>
            <p14:sldId id="4353"/>
            <p14:sldId id="4692"/>
            <p14:sldId id="4693"/>
            <p14:sldId id="4680"/>
          </p14:sldIdLst>
        </p14:section>
        <p14:section name="Module 4: Mission Critical Availability" id="{6C1FF688-49F7-45AA-AC69-20DA286D761C}">
          <p14:sldIdLst>
            <p14:sldId id="4676"/>
            <p14:sldId id="4670"/>
            <p14:sldId id="4694"/>
            <p14:sldId id="4703"/>
            <p14:sldId id="4695"/>
            <p14:sldId id="4696"/>
            <p14:sldId id="4719"/>
            <p14:sldId id="4681"/>
          </p14:sldIdLst>
        </p14:section>
        <p14:section name="Module 5: The Modern Development Platform" id="{14B218F2-AD35-4A69-AE11-EBEC8BABA129}">
          <p14:sldIdLst>
            <p14:sldId id="4677"/>
            <p14:sldId id="4378"/>
            <p14:sldId id="4355"/>
            <p14:sldId id="4697"/>
            <p14:sldId id="4699"/>
            <p14:sldId id="4358"/>
          </p14:sldIdLst>
        </p14:section>
        <p14:section name="Module 6: SQL Server on Linux" id="{DD71F27A-46D4-421F-AF5C-2BEB085E2D28}">
          <p14:sldIdLst>
            <p14:sldId id="4678"/>
            <p14:sldId id="1834"/>
            <p14:sldId id="4704"/>
            <p14:sldId id="677"/>
            <p14:sldId id="4512"/>
            <p14:sldId id="4705"/>
            <p14:sldId id="4707"/>
            <p14:sldId id="4708"/>
            <p14:sldId id="4706"/>
            <p14:sldId id="4360"/>
            <p14:sldId id="4682"/>
          </p14:sldIdLst>
        </p14:section>
        <p14:section name="Module 7: SQL Server Containers and Kubernetes" id="{B5108F24-44EA-45DA-B90B-B564F62501BD}">
          <p14:sldIdLst>
            <p14:sldId id="4679"/>
            <p14:sldId id="4709"/>
            <p14:sldId id="4710"/>
            <p14:sldId id="1883"/>
            <p14:sldId id="4387"/>
            <p14:sldId id="1892"/>
            <p14:sldId id="4389"/>
            <p14:sldId id="4393"/>
            <p14:sldId id="4683"/>
            <p14:sldId id="4396"/>
            <p14:sldId id="4721"/>
            <p14:sldId id="4711"/>
            <p14:sldId id="1833"/>
            <p14:sldId id="4375"/>
          </p14:sldIdLst>
        </p14:section>
        <p14:section name="Module 8: SQL Server Data Virtualization" id="{E0DAB4AD-BE66-4B7B-B599-497E058CE2A0}">
          <p14:sldIdLst>
            <p14:sldId id="4673"/>
            <p14:sldId id="300"/>
            <p14:sldId id="4547"/>
            <p14:sldId id="1850"/>
            <p14:sldId id="1860"/>
            <p14:sldId id="4713"/>
            <p14:sldId id="1865"/>
            <p14:sldId id="4362"/>
            <p14:sldId id="4715"/>
            <p14:sldId id="4546"/>
            <p14:sldId id="4351"/>
          </p14:sldIdLst>
        </p14:section>
        <p14:section name="Module 9: What else is New" id="{539FD78F-9A46-45AD-A738-C40206DB86BF}">
          <p14:sldIdLst>
            <p14:sldId id="4714"/>
            <p14:sldId id="4379"/>
          </p14:sldIdLst>
        </p14:section>
        <p14:section name="Module 10: Migration and Next Steps" id="{30AAF4D8-7A8C-4980-8927-A29D0A9FB2E3}">
          <p14:sldIdLst>
            <p14:sldId id="4716"/>
            <p14:sldId id="4700"/>
            <p14:sldId id="4701"/>
            <p14:sldId id="1868"/>
            <p14:sldId id="401"/>
            <p14:sldId id="4720"/>
            <p14:sldId id="4702"/>
            <p14:sldId id="4361"/>
            <p14:sldId id="4367"/>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7" name="Evan Aeschlimann" initials="EA" lastIdx="2" clrIdx="7">
    <p:extLst>
      <p:ext uri="{19B8F6BF-5375-455C-9EA6-DF929625EA0E}">
        <p15:presenceInfo xmlns:p15="http://schemas.microsoft.com/office/powerpoint/2012/main" userId="Evan Aeschlimann" providerId="None"/>
      </p:ext>
    </p:extLst>
  </p:cmAuthor>
  <p:cmAuthor id="1" name="Mary Feil-Jacobs" initials="MFJ" lastIdx="43" clrIdx="1"/>
  <p:cmAuthor id="8" name="Bob Ward" initials="BW" lastIdx="4" clrIdx="8">
    <p:extLst>
      <p:ext uri="{19B8F6BF-5375-455C-9EA6-DF929625EA0E}">
        <p15:presenceInfo xmlns:p15="http://schemas.microsoft.com/office/powerpoint/2012/main" userId="S::bobward@microsoft.com::6da7c2dd-8e2e-469f-a216-c384312e2a2d" providerId="AD"/>
      </p:ext>
    </p:extLst>
  </p:cmAuthor>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Debbi Lyons" initials="DL" lastIdx="119" clrIdx="4"/>
  <p:cmAuthor id="5" name="Nicole Benjamin" initials="NB" lastIdx="58" clrIdx="5">
    <p:extLst>
      <p:ext uri="{19B8F6BF-5375-455C-9EA6-DF929625EA0E}">
        <p15:presenceInfo xmlns:p15="http://schemas.microsoft.com/office/powerpoint/2012/main" userId="Nicole Benjamin" providerId="None"/>
      </p:ext>
    </p:extLst>
  </p:cmAuthor>
  <p:cmAuthor id="6" name="Nick Dwyer" initials="ND" lastIdx="118" clrIdx="6">
    <p:extLst>
      <p:ext uri="{19B8F6BF-5375-455C-9EA6-DF929625EA0E}">
        <p15:presenceInfo xmlns:p15="http://schemas.microsoft.com/office/powerpoint/2012/main" userId="Nick Dwy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757575"/>
    <a:srgbClr val="50E6FF"/>
    <a:srgbClr val="737373"/>
    <a:srgbClr val="E81123"/>
    <a:srgbClr val="E6E6E6"/>
    <a:srgbClr val="BDBDBD"/>
    <a:srgbClr val="D83B01"/>
    <a:srgbClr val="D2D2D2"/>
    <a:srgbClr val="FFB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C07BEAC-85A7-44E0-BC28-578FC3DF3703}" v="4909" dt="2019-02-24T16:04:32.94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136" autoAdjust="0"/>
    <p:restoredTop sz="88328" autoAdjust="0"/>
  </p:normalViewPr>
  <p:slideViewPr>
    <p:cSldViewPr snapToGrid="0">
      <p:cViewPr varScale="1">
        <p:scale>
          <a:sx n="80" d="100"/>
          <a:sy n="80" d="100"/>
        </p:scale>
        <p:origin x="380" y="60"/>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42" Type="http://schemas.openxmlformats.org/officeDocument/2006/relationships/slide" Target="slides/slide32.xml"/><Relationship Id="rId47" Type="http://schemas.openxmlformats.org/officeDocument/2006/relationships/slide" Target="slides/slide37.xml"/><Relationship Id="rId63" Type="http://schemas.openxmlformats.org/officeDocument/2006/relationships/slide" Target="slides/slide53.xml"/><Relationship Id="rId68" Type="http://schemas.openxmlformats.org/officeDocument/2006/relationships/slide" Target="slides/slide58.xml"/><Relationship Id="rId84" Type="http://schemas.openxmlformats.org/officeDocument/2006/relationships/slide" Target="slides/slide74.xml"/><Relationship Id="rId89" Type="http://schemas.openxmlformats.org/officeDocument/2006/relationships/slide" Target="slides/slide79.xml"/><Relationship Id="rId7" Type="http://schemas.openxmlformats.org/officeDocument/2006/relationships/slideMaster" Target="slideMasters/slideMaster2.xml"/><Relationship Id="rId71" Type="http://schemas.openxmlformats.org/officeDocument/2006/relationships/slide" Target="slides/slide61.xml"/><Relationship Id="rId92" Type="http://schemas.openxmlformats.org/officeDocument/2006/relationships/slide" Target="slides/slide82.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slide" Target="slides/slide56.xml"/><Relationship Id="rId74" Type="http://schemas.openxmlformats.org/officeDocument/2006/relationships/slide" Target="slides/slide64.xml"/><Relationship Id="rId79" Type="http://schemas.openxmlformats.org/officeDocument/2006/relationships/slide" Target="slides/slide69.xml"/><Relationship Id="rId87" Type="http://schemas.openxmlformats.org/officeDocument/2006/relationships/slide" Target="slides/slide77.xml"/><Relationship Id="rId102" Type="http://schemas.openxmlformats.org/officeDocument/2006/relationships/theme" Target="theme/theme1.xml"/><Relationship Id="rId5" Type="http://schemas.openxmlformats.org/officeDocument/2006/relationships/customXml" Target="../customXml/item5.xml"/><Relationship Id="rId61" Type="http://schemas.openxmlformats.org/officeDocument/2006/relationships/slide" Target="slides/slide51.xml"/><Relationship Id="rId82" Type="http://schemas.openxmlformats.org/officeDocument/2006/relationships/slide" Target="slides/slide72.xml"/><Relationship Id="rId90" Type="http://schemas.openxmlformats.org/officeDocument/2006/relationships/slide" Target="slides/slide80.xml"/><Relationship Id="rId95" Type="http://schemas.openxmlformats.org/officeDocument/2006/relationships/slide" Target="slides/slide85.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slide" Target="slides/slide54.xml"/><Relationship Id="rId69" Type="http://schemas.openxmlformats.org/officeDocument/2006/relationships/slide" Target="slides/slide59.xml"/><Relationship Id="rId77" Type="http://schemas.openxmlformats.org/officeDocument/2006/relationships/slide" Target="slides/slide67.xml"/><Relationship Id="rId100" Type="http://schemas.openxmlformats.org/officeDocument/2006/relationships/presProps" Target="presProps.xml"/><Relationship Id="rId105" Type="http://schemas.microsoft.com/office/2015/10/relationships/revisionInfo" Target="revisionInfo.xml"/><Relationship Id="rId8" Type="http://schemas.openxmlformats.org/officeDocument/2006/relationships/slideMaster" Target="slideMasters/slideMaster3.xml"/><Relationship Id="rId51" Type="http://schemas.openxmlformats.org/officeDocument/2006/relationships/slide" Target="slides/slide41.xml"/><Relationship Id="rId72" Type="http://schemas.openxmlformats.org/officeDocument/2006/relationships/slide" Target="slides/slide62.xml"/><Relationship Id="rId80" Type="http://schemas.openxmlformats.org/officeDocument/2006/relationships/slide" Target="slides/slide70.xml"/><Relationship Id="rId85" Type="http://schemas.openxmlformats.org/officeDocument/2006/relationships/slide" Target="slides/slide75.xml"/><Relationship Id="rId93" Type="http://schemas.openxmlformats.org/officeDocument/2006/relationships/slide" Target="slides/slide83.xml"/><Relationship Id="rId98"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slide" Target="slides/slide57.xml"/><Relationship Id="rId103" Type="http://schemas.openxmlformats.org/officeDocument/2006/relationships/tableStyles" Target="tableStyles.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slide" Target="slides/slide60.xml"/><Relationship Id="rId75" Type="http://schemas.openxmlformats.org/officeDocument/2006/relationships/slide" Target="slides/slide65.xml"/><Relationship Id="rId83" Type="http://schemas.openxmlformats.org/officeDocument/2006/relationships/slide" Target="slides/slide73.xml"/><Relationship Id="rId88" Type="http://schemas.openxmlformats.org/officeDocument/2006/relationships/slide" Target="slides/slide78.xml"/><Relationship Id="rId91" Type="http://schemas.openxmlformats.org/officeDocument/2006/relationships/slide" Target="slides/slide81.xml"/><Relationship Id="rId96" Type="http://schemas.openxmlformats.org/officeDocument/2006/relationships/slide" Target="slides/slide86.xml"/><Relationship Id="rId1" Type="http://schemas.openxmlformats.org/officeDocument/2006/relationships/customXml" Target="../customXml/item1.xml"/><Relationship Id="rId6" Type="http://schemas.openxmlformats.org/officeDocument/2006/relationships/slideMaster" Target="slideMasters/slideMaster1.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 Type="http://schemas.openxmlformats.org/officeDocument/2006/relationships/slideMaster" Target="slideMasters/slideMaster5.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openxmlformats.org/officeDocument/2006/relationships/slide" Target="slides/slide63.xml"/><Relationship Id="rId78" Type="http://schemas.openxmlformats.org/officeDocument/2006/relationships/slide" Target="slides/slide68.xml"/><Relationship Id="rId81" Type="http://schemas.openxmlformats.org/officeDocument/2006/relationships/slide" Target="slides/slide71.xml"/><Relationship Id="rId86" Type="http://schemas.openxmlformats.org/officeDocument/2006/relationships/slide" Target="slides/slide76.xml"/><Relationship Id="rId94" Type="http://schemas.openxmlformats.org/officeDocument/2006/relationships/slide" Target="slides/slide84.xml"/><Relationship Id="rId99" Type="http://schemas.openxmlformats.org/officeDocument/2006/relationships/commentAuthors" Target="commentAuthors.xml"/><Relationship Id="rId101"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Master" Target="slideMasters/slideMaster4.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34" Type="http://schemas.openxmlformats.org/officeDocument/2006/relationships/slide" Target="slides/slide24.xml"/><Relationship Id="rId50" Type="http://schemas.openxmlformats.org/officeDocument/2006/relationships/slide" Target="slides/slide40.xml"/><Relationship Id="rId55" Type="http://schemas.openxmlformats.org/officeDocument/2006/relationships/slide" Target="slides/slide45.xml"/><Relationship Id="rId76" Type="http://schemas.openxmlformats.org/officeDocument/2006/relationships/slide" Target="slides/slide66.xml"/><Relationship Id="rId97" Type="http://schemas.openxmlformats.org/officeDocument/2006/relationships/notesMaster" Target="notesMasters/notesMaster1.xml"/><Relationship Id="rId10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ob Ward" userId="6da7c2dd-8e2e-469f-a216-c384312e2a2d" providerId="ADAL" clId="{AA5051D3-DEB7-4949-A4B5-AC379EAB8551}"/>
    <pc:docChg chg="undo custSel modSld">
      <pc:chgData name="Bob Ward" userId="6da7c2dd-8e2e-469f-a216-c384312e2a2d" providerId="ADAL" clId="{AA5051D3-DEB7-4949-A4B5-AC379EAB8551}" dt="2018-11-07T19:54:34.916" v="159" actId="20577"/>
      <pc:docMkLst>
        <pc:docMk/>
      </pc:docMkLst>
      <pc:sldChg chg="modSp">
        <pc:chgData name="Bob Ward" userId="6da7c2dd-8e2e-469f-a216-c384312e2a2d" providerId="ADAL" clId="{AA5051D3-DEB7-4949-A4B5-AC379EAB8551}" dt="2018-11-07T18:08:20.911" v="94" actId="2711"/>
        <pc:sldMkLst>
          <pc:docMk/>
          <pc:sldMk cId="2973122093" sldId="4352"/>
        </pc:sldMkLst>
        <pc:spChg chg="mod">
          <ac:chgData name="Bob Ward" userId="6da7c2dd-8e2e-469f-a216-c384312e2a2d" providerId="ADAL" clId="{AA5051D3-DEB7-4949-A4B5-AC379EAB8551}" dt="2018-11-07T18:08:20.911" v="94" actId="2711"/>
          <ac:spMkLst>
            <pc:docMk/>
            <pc:sldMk cId="2973122093" sldId="4352"/>
            <ac:spMk id="6" creationId="{00000000-0000-0000-0000-000000000000}"/>
          </ac:spMkLst>
        </pc:spChg>
      </pc:sldChg>
      <pc:sldChg chg="modSp">
        <pc:chgData name="Bob Ward" userId="6da7c2dd-8e2e-469f-a216-c384312e2a2d" providerId="ADAL" clId="{AA5051D3-DEB7-4949-A4B5-AC379EAB8551}" dt="2018-11-07T18:08:05.958" v="92" actId="2711"/>
        <pc:sldMkLst>
          <pc:docMk/>
          <pc:sldMk cId="1122910760" sldId="4353"/>
        </pc:sldMkLst>
        <pc:spChg chg="mod">
          <ac:chgData name="Bob Ward" userId="6da7c2dd-8e2e-469f-a216-c384312e2a2d" providerId="ADAL" clId="{AA5051D3-DEB7-4949-A4B5-AC379EAB8551}" dt="2018-11-07T18:08:05.958" v="92" actId="2711"/>
          <ac:spMkLst>
            <pc:docMk/>
            <pc:sldMk cId="1122910760" sldId="4353"/>
            <ac:spMk id="6" creationId="{00000000-0000-0000-0000-000000000000}"/>
          </ac:spMkLst>
        </pc:spChg>
      </pc:sldChg>
      <pc:sldChg chg="addSp modSp">
        <pc:chgData name="Bob Ward" userId="6da7c2dd-8e2e-469f-a216-c384312e2a2d" providerId="ADAL" clId="{AA5051D3-DEB7-4949-A4B5-AC379EAB8551}" dt="2018-11-07T19:54:34.916" v="159" actId="20577"/>
        <pc:sldMkLst>
          <pc:docMk/>
          <pc:sldMk cId="276576014" sldId="4367"/>
        </pc:sldMkLst>
        <pc:spChg chg="mod">
          <ac:chgData name="Bob Ward" userId="6da7c2dd-8e2e-469f-a216-c384312e2a2d" providerId="ADAL" clId="{AA5051D3-DEB7-4949-A4B5-AC379EAB8551}" dt="2018-11-07T19:54:34.916" v="159" actId="20577"/>
          <ac:spMkLst>
            <pc:docMk/>
            <pc:sldMk cId="276576014" sldId="4367"/>
            <ac:spMk id="5" creationId="{BCA91216-E90D-424E-84D6-905B2F6C5CA0}"/>
          </ac:spMkLst>
        </pc:spChg>
        <pc:picChg chg="add mod">
          <ac:chgData name="Bob Ward" userId="6da7c2dd-8e2e-469f-a216-c384312e2a2d" providerId="ADAL" clId="{AA5051D3-DEB7-4949-A4B5-AC379EAB8551}" dt="2018-11-07T18:16:32.720" v="129" actId="1076"/>
          <ac:picMkLst>
            <pc:docMk/>
            <pc:sldMk cId="276576014" sldId="4367"/>
            <ac:picMk id="8" creationId="{B882A5E8-58C3-46F4-ACAE-7A9B03E459B6}"/>
          </ac:picMkLst>
        </pc:picChg>
      </pc:sldChg>
      <pc:sldChg chg="modTransition">
        <pc:chgData name="Bob Ward" userId="6da7c2dd-8e2e-469f-a216-c384312e2a2d" providerId="ADAL" clId="{AA5051D3-DEB7-4949-A4B5-AC379EAB8551}" dt="2018-11-07T18:06:57.648" v="82"/>
        <pc:sldMkLst>
          <pc:docMk/>
          <pc:sldMk cId="4134612233" sldId="4375"/>
        </pc:sldMkLst>
      </pc:sldChg>
      <pc:sldChg chg="modSp">
        <pc:chgData name="Bob Ward" userId="6da7c2dd-8e2e-469f-a216-c384312e2a2d" providerId="ADAL" clId="{AA5051D3-DEB7-4949-A4B5-AC379EAB8551}" dt="2018-11-07T18:13:30.922" v="126" actId="20577"/>
        <pc:sldMkLst>
          <pc:docMk/>
          <pc:sldMk cId="1021704877" sldId="4379"/>
        </pc:sldMkLst>
        <pc:spChg chg="mod">
          <ac:chgData name="Bob Ward" userId="6da7c2dd-8e2e-469f-a216-c384312e2a2d" providerId="ADAL" clId="{AA5051D3-DEB7-4949-A4B5-AC379EAB8551}" dt="2018-11-07T18:13:30.922" v="126" actId="20577"/>
          <ac:spMkLst>
            <pc:docMk/>
            <pc:sldMk cId="1021704877" sldId="4379"/>
            <ac:spMk id="6" creationId="{00000000-0000-0000-0000-000000000000}"/>
          </ac:spMkLst>
        </pc:spChg>
      </pc:sldChg>
      <pc:sldChg chg="addSp delSp modSp modTransition modAnim">
        <pc:chgData name="Bob Ward" userId="6da7c2dd-8e2e-469f-a216-c384312e2a2d" providerId="ADAL" clId="{AA5051D3-DEB7-4949-A4B5-AC379EAB8551}" dt="2018-11-07T18:07:00.322" v="83"/>
        <pc:sldMkLst>
          <pc:docMk/>
          <pc:sldMk cId="198936585" sldId="4380"/>
        </pc:sldMkLst>
        <pc:spChg chg="add mod">
          <ac:chgData name="Bob Ward" userId="6da7c2dd-8e2e-469f-a216-c384312e2a2d" providerId="ADAL" clId="{AA5051D3-DEB7-4949-A4B5-AC379EAB8551}" dt="2018-11-07T18:06:17.459" v="79" actId="1076"/>
          <ac:spMkLst>
            <pc:docMk/>
            <pc:sldMk cId="198936585" sldId="4380"/>
            <ac:spMk id="2" creationId="{A260D722-C7D0-4B76-A75E-13E42E4859A1}"/>
          </ac:spMkLst>
        </pc:spChg>
        <pc:spChg chg="add del">
          <ac:chgData name="Bob Ward" userId="6da7c2dd-8e2e-469f-a216-c384312e2a2d" providerId="ADAL" clId="{AA5051D3-DEB7-4949-A4B5-AC379EAB8551}" dt="2018-11-07T18:04:38.932" v="42" actId="478"/>
          <ac:spMkLst>
            <pc:docMk/>
            <pc:sldMk cId="198936585" sldId="4380"/>
            <ac:spMk id="4" creationId="{8A62B52D-95CB-8C4E-977F-7E0141C0C1E7}"/>
          </ac:spMkLst>
        </pc:spChg>
        <pc:spChg chg="mod">
          <ac:chgData name="Bob Ward" userId="6da7c2dd-8e2e-469f-a216-c384312e2a2d" providerId="ADAL" clId="{AA5051D3-DEB7-4949-A4B5-AC379EAB8551}" dt="2018-11-07T18:06:04.701" v="75"/>
          <ac:spMkLst>
            <pc:docMk/>
            <pc:sldMk cId="198936585" sldId="4380"/>
            <ac:spMk id="6" creationId="{00000000-0000-0000-0000-000000000000}"/>
          </ac:spMkLst>
        </pc:spChg>
        <pc:spChg chg="ord">
          <ac:chgData name="Bob Ward" userId="6da7c2dd-8e2e-469f-a216-c384312e2a2d" providerId="ADAL" clId="{AA5051D3-DEB7-4949-A4B5-AC379EAB8551}" dt="2018-11-07T18:04:30.331" v="39" actId="167"/>
          <ac:spMkLst>
            <pc:docMk/>
            <pc:sldMk cId="198936585" sldId="4380"/>
            <ac:spMk id="8" creationId="{30479CBA-FAEE-584C-8313-E41B890A8435}"/>
          </ac:spMkLst>
        </pc:spChg>
        <pc:spChg chg="add del ord">
          <ac:chgData name="Bob Ward" userId="6da7c2dd-8e2e-469f-a216-c384312e2a2d" providerId="ADAL" clId="{AA5051D3-DEB7-4949-A4B5-AC379EAB8551}" dt="2018-11-07T18:04:30.826" v="41" actId="167"/>
          <ac:spMkLst>
            <pc:docMk/>
            <pc:sldMk cId="198936585" sldId="4380"/>
            <ac:spMk id="22" creationId="{DF8E67FE-6F00-AB47-9499-27EB5E89D833}"/>
          </ac:spMkLst>
        </pc:spChg>
        <pc:spChg chg="del">
          <ac:chgData name="Bob Ward" userId="6da7c2dd-8e2e-469f-a216-c384312e2a2d" providerId="ADAL" clId="{AA5051D3-DEB7-4949-A4B5-AC379EAB8551}" dt="2018-11-07T18:04:48.547" v="43" actId="478"/>
          <ac:spMkLst>
            <pc:docMk/>
            <pc:sldMk cId="198936585" sldId="4380"/>
            <ac:spMk id="85" creationId="{EC662379-BF93-4C2B-887E-1EB0293C0DAE}"/>
          </ac:spMkLst>
        </pc:spChg>
        <pc:spChg chg="del mod">
          <ac:chgData name="Bob Ward" userId="6da7c2dd-8e2e-469f-a216-c384312e2a2d" providerId="ADAL" clId="{AA5051D3-DEB7-4949-A4B5-AC379EAB8551}" dt="2018-11-07T18:04:02.420" v="33" actId="478"/>
          <ac:spMkLst>
            <pc:docMk/>
            <pc:sldMk cId="198936585" sldId="4380"/>
            <ac:spMk id="89" creationId="{41AF4ABE-F05A-4693-A474-D881230B68F0}"/>
          </ac:spMkLst>
        </pc:spChg>
      </pc:sldChg>
    </pc:docChg>
  </pc:docChgLst>
  <pc:docChgLst>
    <pc:chgData name="Bob Ward" userId="6da7c2dd-8e2e-469f-a216-c384312e2a2d" providerId="ADAL" clId="{35A947E7-0BE7-4238-BDC6-4E053781D08E}"/>
    <pc:docChg chg="undo custSel addSld delSld modSld">
      <pc:chgData name="Bob Ward" userId="6da7c2dd-8e2e-469f-a216-c384312e2a2d" providerId="ADAL" clId="{35A947E7-0BE7-4238-BDC6-4E053781D08E}" dt="2018-11-06T14:51:47.065" v="98" actId="1076"/>
      <pc:docMkLst>
        <pc:docMk/>
      </pc:docMkLst>
      <pc:sldChg chg="addSp delSp modSp">
        <pc:chgData name="Bob Ward" userId="6da7c2dd-8e2e-469f-a216-c384312e2a2d" providerId="ADAL" clId="{35A947E7-0BE7-4238-BDC6-4E053781D08E}" dt="2018-11-06T14:51:47.065" v="98" actId="1076"/>
        <pc:sldMkLst>
          <pc:docMk/>
          <pc:sldMk cId="3666506997" sldId="324"/>
        </pc:sldMkLst>
        <pc:spChg chg="add del">
          <ac:chgData name="Bob Ward" userId="6da7c2dd-8e2e-469f-a216-c384312e2a2d" providerId="ADAL" clId="{35A947E7-0BE7-4238-BDC6-4E053781D08E}" dt="2018-11-06T14:46:45.344" v="79" actId="478"/>
          <ac:spMkLst>
            <pc:docMk/>
            <pc:sldMk cId="3666506997" sldId="324"/>
            <ac:spMk id="2" creationId="{28E26044-5FBA-4005-9131-5B4AE3C633AD}"/>
          </ac:spMkLst>
        </pc:spChg>
        <pc:spChg chg="add del mod">
          <ac:chgData name="Bob Ward" userId="6da7c2dd-8e2e-469f-a216-c384312e2a2d" providerId="ADAL" clId="{35A947E7-0BE7-4238-BDC6-4E053781D08E}" dt="2018-11-06T14:49:13.098" v="94"/>
          <ac:spMkLst>
            <pc:docMk/>
            <pc:sldMk cId="3666506997" sldId="324"/>
            <ac:spMk id="4" creationId="{723C840B-F2EA-4DF2-A2C1-A134612CCBFD}"/>
          </ac:spMkLst>
        </pc:spChg>
        <pc:spChg chg="add mod">
          <ac:chgData name="Bob Ward" userId="6da7c2dd-8e2e-469f-a216-c384312e2a2d" providerId="ADAL" clId="{35A947E7-0BE7-4238-BDC6-4E053781D08E}" dt="2018-11-06T14:51:47.065" v="98" actId="1076"/>
          <ac:spMkLst>
            <pc:docMk/>
            <pc:sldMk cId="3666506997" sldId="324"/>
            <ac:spMk id="5" creationId="{FCF35044-BA21-4A37-B198-F2EDAD470764}"/>
          </ac:spMkLst>
        </pc:spChg>
        <pc:spChg chg="add mod">
          <ac:chgData name="Bob Ward" userId="6da7c2dd-8e2e-469f-a216-c384312e2a2d" providerId="ADAL" clId="{35A947E7-0BE7-4238-BDC6-4E053781D08E}" dt="2018-11-06T14:47:08.531" v="83" actId="1076"/>
          <ac:spMkLst>
            <pc:docMk/>
            <pc:sldMk cId="3666506997" sldId="324"/>
            <ac:spMk id="10" creationId="{15377BEC-6C97-48E9-B7E3-15D1AA08479C}"/>
          </ac:spMkLst>
        </pc:spChg>
        <pc:spChg chg="mod">
          <ac:chgData name="Bob Ward" userId="6da7c2dd-8e2e-469f-a216-c384312e2a2d" providerId="ADAL" clId="{35A947E7-0BE7-4238-BDC6-4E053781D08E}" dt="2018-11-06T14:47:04.501" v="82" actId="1076"/>
          <ac:spMkLst>
            <pc:docMk/>
            <pc:sldMk cId="3666506997" sldId="324"/>
            <ac:spMk id="14" creationId="{00000000-0000-0000-0000-000000000000}"/>
          </ac:spMkLst>
        </pc:spChg>
        <pc:spChg chg="mod">
          <ac:chgData name="Bob Ward" userId="6da7c2dd-8e2e-469f-a216-c384312e2a2d" providerId="ADAL" clId="{35A947E7-0BE7-4238-BDC6-4E053781D08E}" dt="2018-11-06T14:48:59.413" v="88" actId="20577"/>
          <ac:spMkLst>
            <pc:docMk/>
            <pc:sldMk cId="3666506997" sldId="324"/>
            <ac:spMk id="15" creationId="{00000000-0000-0000-0000-000000000000}"/>
          </ac:spMkLst>
        </pc:spChg>
        <pc:spChg chg="del">
          <ac:chgData name="Bob Ward" userId="6da7c2dd-8e2e-469f-a216-c384312e2a2d" providerId="ADAL" clId="{35A947E7-0BE7-4238-BDC6-4E053781D08E}" dt="2018-11-06T14:47:00.151" v="81" actId="478"/>
          <ac:spMkLst>
            <pc:docMk/>
            <pc:sldMk cId="3666506997" sldId="324"/>
            <ac:spMk id="17" creationId="{00000000-0000-0000-0000-000000000000}"/>
          </ac:spMkLst>
        </pc:spChg>
        <pc:spChg chg="del">
          <ac:chgData name="Bob Ward" userId="6da7c2dd-8e2e-469f-a216-c384312e2a2d" providerId="ADAL" clId="{35A947E7-0BE7-4238-BDC6-4E053781D08E}" dt="2018-11-06T14:46:58.087" v="80" actId="478"/>
          <ac:spMkLst>
            <pc:docMk/>
            <pc:sldMk cId="3666506997" sldId="324"/>
            <ac:spMk id="18" creationId="{00000000-0000-0000-0000-000000000000}"/>
          </ac:spMkLst>
        </pc:spChg>
        <pc:spChg chg="add mod">
          <ac:chgData name="Bob Ward" userId="6da7c2dd-8e2e-469f-a216-c384312e2a2d" providerId="ADAL" clId="{35A947E7-0BE7-4238-BDC6-4E053781D08E}" dt="2018-11-06T14:47:15.945" v="85" actId="1076"/>
          <ac:spMkLst>
            <pc:docMk/>
            <pc:sldMk cId="3666506997" sldId="324"/>
            <ac:spMk id="19" creationId="{E80C4B04-A056-44B5-837A-76A34D53842E}"/>
          </ac:spMkLst>
        </pc:spChg>
        <pc:spChg chg="add del mod">
          <ac:chgData name="Bob Ward" userId="6da7c2dd-8e2e-469f-a216-c384312e2a2d" providerId="ADAL" clId="{35A947E7-0BE7-4238-BDC6-4E053781D08E}" dt="2018-11-06T14:46:08.070" v="69" actId="478"/>
          <ac:spMkLst>
            <pc:docMk/>
            <pc:sldMk cId="3666506997" sldId="324"/>
            <ac:spMk id="23" creationId="{F042D7CB-54D4-4D34-BAE1-437303FC8865}"/>
          </ac:spMkLst>
        </pc:spChg>
        <pc:spChg chg="add del mod">
          <ac:chgData name="Bob Ward" userId="6da7c2dd-8e2e-469f-a216-c384312e2a2d" providerId="ADAL" clId="{35A947E7-0BE7-4238-BDC6-4E053781D08E}" dt="2018-11-06T14:46:31.017" v="74"/>
          <ac:spMkLst>
            <pc:docMk/>
            <pc:sldMk cId="3666506997" sldId="324"/>
            <ac:spMk id="24" creationId="{748527C9-6910-42DE-8AD5-DA75FB2EA5E8}"/>
          </ac:spMkLst>
        </pc:spChg>
        <pc:spChg chg="add del">
          <ac:chgData name="Bob Ward" userId="6da7c2dd-8e2e-469f-a216-c384312e2a2d" providerId="ADAL" clId="{35A947E7-0BE7-4238-BDC6-4E053781D08E}" dt="2018-11-06T14:46:34.718" v="76"/>
          <ac:spMkLst>
            <pc:docMk/>
            <pc:sldMk cId="3666506997" sldId="324"/>
            <ac:spMk id="25" creationId="{C0D94E3E-122F-48AF-B33D-D96C6D2BCC33}"/>
          </ac:spMkLst>
        </pc:spChg>
        <pc:spChg chg="add mod">
          <ac:chgData name="Bob Ward" userId="6da7c2dd-8e2e-469f-a216-c384312e2a2d" providerId="ADAL" clId="{35A947E7-0BE7-4238-BDC6-4E053781D08E}" dt="2018-11-06T14:49:12.021" v="92"/>
          <ac:spMkLst>
            <pc:docMk/>
            <pc:sldMk cId="3666506997" sldId="324"/>
            <ac:spMk id="26" creationId="{9B293010-FFE0-4908-A7F6-C6BE81E7CD0F}"/>
          </ac:spMkLst>
        </pc:spChg>
        <pc:grpChg chg="del">
          <ac:chgData name="Bob Ward" userId="6da7c2dd-8e2e-469f-a216-c384312e2a2d" providerId="ADAL" clId="{35A947E7-0BE7-4238-BDC6-4E053781D08E}" dt="2018-11-06T14:46:58.087" v="80" actId="478"/>
          <ac:grpSpMkLst>
            <pc:docMk/>
            <pc:sldMk cId="3666506997" sldId="324"/>
            <ac:grpSpMk id="11" creationId="{00000000-0000-0000-0000-000000000000}"/>
          </ac:grpSpMkLst>
        </pc:grpChg>
        <pc:grpChg chg="add del mod">
          <ac:chgData name="Bob Ward" userId="6da7c2dd-8e2e-469f-a216-c384312e2a2d" providerId="ADAL" clId="{35A947E7-0BE7-4238-BDC6-4E053781D08E}" dt="2018-11-06T14:46:58.087" v="80" actId="478"/>
          <ac:grpSpMkLst>
            <pc:docMk/>
            <pc:sldMk cId="3666506997" sldId="324"/>
            <ac:grpSpMk id="20" creationId="{E118D306-D5C7-4FF0-9DAE-70C411970260}"/>
          </ac:grpSpMkLst>
        </pc:grpChg>
        <pc:picChg chg="add del mod">
          <ac:chgData name="Bob Ward" userId="6da7c2dd-8e2e-469f-a216-c384312e2a2d" providerId="ADAL" clId="{35A947E7-0BE7-4238-BDC6-4E053781D08E}" dt="2018-11-06T14:46:58.087" v="80" actId="478"/>
          <ac:picMkLst>
            <pc:docMk/>
            <pc:sldMk cId="3666506997" sldId="324"/>
            <ac:picMk id="3" creationId="{BB94AE87-8D9A-4F68-B340-F25CF435CAAE}"/>
          </ac:picMkLst>
        </pc:picChg>
      </pc:sldChg>
      <pc:sldChg chg="modNotesTx">
        <pc:chgData name="Bob Ward" userId="6da7c2dd-8e2e-469f-a216-c384312e2a2d" providerId="ADAL" clId="{35A947E7-0BE7-4238-BDC6-4E053781D08E}" dt="2018-11-06T14:37:16.028" v="4" actId="6549"/>
        <pc:sldMkLst>
          <pc:docMk/>
          <pc:sldMk cId="3766069067" sldId="4360"/>
        </pc:sldMkLst>
      </pc:sldChg>
      <pc:sldChg chg="modSp">
        <pc:chgData name="Bob Ward" userId="6da7c2dd-8e2e-469f-a216-c384312e2a2d" providerId="ADAL" clId="{35A947E7-0BE7-4238-BDC6-4E053781D08E}" dt="2018-11-06T14:43:08.955" v="36" actId="20577"/>
        <pc:sldMkLst>
          <pc:docMk/>
          <pc:sldMk cId="276576014" sldId="4367"/>
        </pc:sldMkLst>
        <pc:spChg chg="mod">
          <ac:chgData name="Bob Ward" userId="6da7c2dd-8e2e-469f-a216-c384312e2a2d" providerId="ADAL" clId="{35A947E7-0BE7-4238-BDC6-4E053781D08E}" dt="2018-11-06T14:43:08.955" v="36" actId="20577"/>
          <ac:spMkLst>
            <pc:docMk/>
            <pc:sldMk cId="276576014" sldId="4367"/>
            <ac:spMk id="5" creationId="{BCA91216-E90D-424E-84D6-905B2F6C5CA0}"/>
          </ac:spMkLst>
        </pc:spChg>
      </pc:sldChg>
      <pc:sldChg chg="modTransition">
        <pc:chgData name="Bob Ward" userId="6da7c2dd-8e2e-469f-a216-c384312e2a2d" providerId="ADAL" clId="{35A947E7-0BE7-4238-BDC6-4E053781D08E}" dt="2018-11-06T14:35:47.340" v="3"/>
        <pc:sldMkLst>
          <pc:docMk/>
          <pc:sldMk cId="3360446397" sldId="4369"/>
        </pc:sldMkLst>
      </pc:sldChg>
      <pc:sldChg chg="modSp">
        <pc:chgData name="Bob Ward" userId="6da7c2dd-8e2e-469f-a216-c384312e2a2d" providerId="ADAL" clId="{35A947E7-0BE7-4238-BDC6-4E053781D08E}" dt="2018-11-06T14:38:59.609" v="9" actId="14100"/>
        <pc:sldMkLst>
          <pc:docMk/>
          <pc:sldMk cId="1021704877" sldId="4379"/>
        </pc:sldMkLst>
        <pc:spChg chg="mod">
          <ac:chgData name="Bob Ward" userId="6da7c2dd-8e2e-469f-a216-c384312e2a2d" providerId="ADAL" clId="{35A947E7-0BE7-4238-BDC6-4E053781D08E}" dt="2018-11-06T14:38:59.609" v="9" actId="14100"/>
          <ac:spMkLst>
            <pc:docMk/>
            <pc:sldMk cId="1021704877" sldId="4379"/>
            <ac:spMk id="6" creationId="{00000000-0000-0000-0000-000000000000}"/>
          </ac:spMkLst>
        </pc:spChg>
      </pc:sldChg>
      <pc:sldChg chg="add del">
        <pc:chgData name="Bob Ward" userId="6da7c2dd-8e2e-469f-a216-c384312e2a2d" providerId="ADAL" clId="{35A947E7-0BE7-4238-BDC6-4E053781D08E}" dt="2018-11-06T14:35:18.537" v="2"/>
        <pc:sldMkLst>
          <pc:docMk/>
          <pc:sldMk cId="1236760568" sldId="4669"/>
        </pc:sldMkLst>
      </pc:sldChg>
    </pc:docChg>
  </pc:docChgLst>
  <pc:docChgLst>
    <pc:chgData name="Bob Ward" userId="S::bobward@microsoft.com::6da7c2dd-8e2e-469f-a216-c384312e2a2d" providerId="AD" clId="Web-{0068B243-A510-4F4A-A1FA-C7AC1F47CA58}"/>
    <pc:docChg chg="modSld">
      <pc:chgData name="Bob Ward" userId="S::bobward@microsoft.com::6da7c2dd-8e2e-469f-a216-c384312e2a2d" providerId="AD" clId="Web-{0068B243-A510-4F4A-A1FA-C7AC1F47CA58}" dt="2018-11-06T14:32:55.408" v="1"/>
      <pc:docMkLst>
        <pc:docMk/>
      </pc:docMkLst>
      <pc:sldChg chg="addSp delSp modSp">
        <pc:chgData name="Bob Ward" userId="S::bobward@microsoft.com::6da7c2dd-8e2e-469f-a216-c384312e2a2d" providerId="AD" clId="Web-{0068B243-A510-4F4A-A1FA-C7AC1F47CA58}" dt="2018-11-06T14:32:55.408" v="1"/>
        <pc:sldMkLst>
          <pc:docMk/>
          <pc:sldMk cId="3562836415" sldId="4366"/>
        </pc:sldMkLst>
        <pc:picChg chg="add del mod">
          <ac:chgData name="Bob Ward" userId="S::bobward@microsoft.com::6da7c2dd-8e2e-469f-a216-c384312e2a2d" providerId="AD" clId="Web-{0068B243-A510-4F4A-A1FA-C7AC1F47CA58}" dt="2018-11-06T14:32:55.408" v="1"/>
          <ac:picMkLst>
            <pc:docMk/>
            <pc:sldMk cId="3562836415" sldId="4366"/>
            <ac:picMk id="2" creationId="{182A0A0C-FA0B-43EB-A446-7DB74A67DCCC}"/>
          </ac:picMkLst>
        </pc:picChg>
      </pc:sldChg>
    </pc:docChg>
  </pc:docChgLst>
  <pc:docChgLst>
    <pc:chgData name="Amit Banerjee" userId="3be3e2ab-9fa1-40d3-a495-2728699c493f" providerId="ADAL" clId="{CD57DE23-EFAB-4051-A351-140A3378F615}"/>
    <pc:docChg chg="custSel addSld modSld">
      <pc:chgData name="Amit Banerjee" userId="3be3e2ab-9fa1-40d3-a495-2728699c493f" providerId="ADAL" clId="{CD57DE23-EFAB-4051-A351-140A3378F615}" dt="2018-11-06T03:56:44.389" v="142" actId="20577"/>
      <pc:docMkLst>
        <pc:docMk/>
      </pc:docMkLst>
      <pc:sldChg chg="modNotesTx">
        <pc:chgData name="Amit Banerjee" userId="3be3e2ab-9fa1-40d3-a495-2728699c493f" providerId="ADAL" clId="{CD57DE23-EFAB-4051-A351-140A3378F615}" dt="2018-11-05T23:26:02.353" v="78" actId="20577"/>
        <pc:sldMkLst>
          <pc:docMk/>
          <pc:sldMk cId="1122910760" sldId="4353"/>
        </pc:sldMkLst>
      </pc:sldChg>
      <pc:sldChg chg="modNotesTx">
        <pc:chgData name="Amit Banerjee" userId="3be3e2ab-9fa1-40d3-a495-2728699c493f" providerId="ADAL" clId="{CD57DE23-EFAB-4051-A351-140A3378F615}" dt="2018-11-05T23:26:25.937" v="110" actId="20577"/>
        <pc:sldMkLst>
          <pc:docMk/>
          <pc:sldMk cId="3454480862" sldId="4361"/>
        </pc:sldMkLst>
      </pc:sldChg>
      <pc:sldChg chg="modNotesTx">
        <pc:chgData name="Amit Banerjee" userId="3be3e2ab-9fa1-40d3-a495-2728699c493f" providerId="ADAL" clId="{CD57DE23-EFAB-4051-A351-140A3378F615}" dt="2018-11-05T23:25:12.979" v="31" actId="20577"/>
        <pc:sldMkLst>
          <pc:docMk/>
          <pc:sldMk cId="2194511247" sldId="4362"/>
        </pc:sldMkLst>
      </pc:sldChg>
      <pc:sldChg chg="modNotesTx">
        <pc:chgData name="Amit Banerjee" userId="3be3e2ab-9fa1-40d3-a495-2728699c493f" providerId="ADAL" clId="{CD57DE23-EFAB-4051-A351-140A3378F615}" dt="2018-11-05T23:25:23.223" v="63" actId="20577"/>
        <pc:sldMkLst>
          <pc:docMk/>
          <pc:sldMk cId="3032733911" sldId="4364"/>
        </pc:sldMkLst>
      </pc:sldChg>
      <pc:sldChg chg="modNotesTx">
        <pc:chgData name="Amit Banerjee" userId="3be3e2ab-9fa1-40d3-a495-2728699c493f" providerId="ADAL" clId="{CD57DE23-EFAB-4051-A351-140A3378F615}" dt="2018-11-05T23:25:06.279" v="15" actId="20577"/>
        <pc:sldMkLst>
          <pc:docMk/>
          <pc:sldMk cId="3360446397" sldId="4369"/>
        </pc:sldMkLst>
      </pc:sldChg>
      <pc:sldChg chg="delSp modSp modAnim">
        <pc:chgData name="Amit Banerjee" userId="3be3e2ab-9fa1-40d3-a495-2728699c493f" providerId="ADAL" clId="{CD57DE23-EFAB-4051-A351-140A3378F615}" dt="2018-11-06T03:56:44.389" v="142" actId="20577"/>
        <pc:sldMkLst>
          <pc:docMk/>
          <pc:sldMk cId="4134612233" sldId="4375"/>
        </pc:sldMkLst>
        <pc:spChg chg="del">
          <ac:chgData name="Amit Banerjee" userId="3be3e2ab-9fa1-40d3-a495-2728699c493f" providerId="ADAL" clId="{CD57DE23-EFAB-4051-A351-140A3378F615}" dt="2018-11-06T03:56:13.586" v="116" actId="478"/>
          <ac:spMkLst>
            <pc:docMk/>
            <pc:sldMk cId="4134612233" sldId="4375"/>
            <ac:spMk id="4" creationId="{8A62B52D-95CB-8C4E-977F-7E0141C0C1E7}"/>
          </ac:spMkLst>
        </pc:spChg>
        <pc:spChg chg="mod">
          <ac:chgData name="Amit Banerjee" userId="3be3e2ab-9fa1-40d3-a495-2728699c493f" providerId="ADAL" clId="{CD57DE23-EFAB-4051-A351-140A3378F615}" dt="2018-11-06T03:56:44.389" v="142" actId="20577"/>
          <ac:spMkLst>
            <pc:docMk/>
            <pc:sldMk cId="4134612233" sldId="4375"/>
            <ac:spMk id="6" creationId="{00000000-0000-0000-0000-000000000000}"/>
          </ac:spMkLst>
        </pc:spChg>
        <pc:spChg chg="del mod">
          <ac:chgData name="Amit Banerjee" userId="3be3e2ab-9fa1-40d3-a495-2728699c493f" providerId="ADAL" clId="{CD57DE23-EFAB-4051-A351-140A3378F615}" dt="2018-11-06T03:56:26.208" v="120" actId="478"/>
          <ac:spMkLst>
            <pc:docMk/>
            <pc:sldMk cId="4134612233" sldId="4375"/>
            <ac:spMk id="85" creationId="{EC662379-BF93-4C2B-887E-1EB0293C0DAE}"/>
          </ac:spMkLst>
        </pc:spChg>
        <pc:spChg chg="del mod">
          <ac:chgData name="Amit Banerjee" userId="3be3e2ab-9fa1-40d3-a495-2728699c493f" providerId="ADAL" clId="{CD57DE23-EFAB-4051-A351-140A3378F615}" dt="2018-11-06T03:56:21.124" v="118" actId="478"/>
          <ac:spMkLst>
            <pc:docMk/>
            <pc:sldMk cId="4134612233" sldId="4375"/>
            <ac:spMk id="89" creationId="{41AF4ABE-F05A-4693-A474-D881230B68F0}"/>
          </ac:spMkLst>
        </pc:spChg>
      </pc:sldChg>
      <pc:sldChg chg="modNotesTx">
        <pc:chgData name="Amit Banerjee" userId="3be3e2ab-9fa1-40d3-a495-2728699c493f" providerId="ADAL" clId="{CD57DE23-EFAB-4051-A351-140A3378F615}" dt="2018-11-05T23:26:06.211" v="92" actId="20577"/>
        <pc:sldMkLst>
          <pc:docMk/>
          <pc:sldMk cId="3020045409" sldId="4378"/>
        </pc:sldMkLst>
      </pc:sldChg>
      <pc:sldChg chg="add mod modTransition modShow">
        <pc:chgData name="Amit Banerjee" userId="3be3e2ab-9fa1-40d3-a495-2728699c493f" providerId="ADAL" clId="{CD57DE23-EFAB-4051-A351-140A3378F615}" dt="2018-11-06T03:55:54.183" v="113"/>
        <pc:sldMkLst>
          <pc:docMk/>
          <pc:sldMk cId="198936585" sldId="4380"/>
        </pc:sldMkLst>
      </pc:sldChg>
    </pc:docChg>
  </pc:docChgLst>
  <pc:docChgLst>
    <pc:chgData name="Bob Ward" userId="6da7c2dd-8e2e-469f-a216-c384312e2a2d" providerId="ADAL" clId="{0A1FB017-12B5-4953-90C4-0E32AFECB4E4}"/>
    <pc:docChg chg="undo custSel addSld delSld modSld modSection">
      <pc:chgData name="Bob Ward" userId="6da7c2dd-8e2e-469f-a216-c384312e2a2d" providerId="ADAL" clId="{0A1FB017-12B5-4953-90C4-0E32AFECB4E4}" dt="2018-10-02T00:09:37.417" v="388"/>
      <pc:docMkLst>
        <pc:docMk/>
      </pc:docMkLst>
      <pc:sldChg chg="addSp delSp modSp modNotesTx">
        <pc:chgData name="Bob Ward" userId="6da7c2dd-8e2e-469f-a216-c384312e2a2d" providerId="ADAL" clId="{0A1FB017-12B5-4953-90C4-0E32AFECB4E4}" dt="2018-09-28T17:41:45.610" v="100" actId="6549"/>
        <pc:sldMkLst>
          <pc:docMk/>
          <pc:sldMk cId="1869999325" sldId="1861"/>
        </pc:sldMkLst>
        <pc:spChg chg="add del mod">
          <ac:chgData name="Bob Ward" userId="6da7c2dd-8e2e-469f-a216-c384312e2a2d" providerId="ADAL" clId="{0A1FB017-12B5-4953-90C4-0E32AFECB4E4}" dt="2018-09-28T17:40:56.941" v="2" actId="478"/>
          <ac:spMkLst>
            <pc:docMk/>
            <pc:sldMk cId="1869999325" sldId="1861"/>
            <ac:spMk id="3" creationId="{F0DE2C38-235D-4E91-87A4-598A7F056A37}"/>
          </ac:spMkLst>
        </pc:spChg>
        <pc:spChg chg="del">
          <ac:chgData name="Bob Ward" userId="6da7c2dd-8e2e-469f-a216-c384312e2a2d" providerId="ADAL" clId="{0A1FB017-12B5-4953-90C4-0E32AFECB4E4}" dt="2018-09-28T17:40:54.396" v="1" actId="478"/>
          <ac:spMkLst>
            <pc:docMk/>
            <pc:sldMk cId="1869999325" sldId="1861"/>
            <ac:spMk id="5" creationId="{C2A8FA8E-80DC-468B-AB33-77C815EA5E15}"/>
          </ac:spMkLst>
        </pc:spChg>
        <pc:spChg chg="mod">
          <ac:chgData name="Bob Ward" userId="6da7c2dd-8e2e-469f-a216-c384312e2a2d" providerId="ADAL" clId="{0A1FB017-12B5-4953-90C4-0E32AFECB4E4}" dt="2018-09-28T17:41:04.039" v="23" actId="20577"/>
          <ac:spMkLst>
            <pc:docMk/>
            <pc:sldMk cId="1869999325" sldId="1861"/>
            <ac:spMk id="6" creationId="{ACBB8B40-F3D1-4331-B430-E127860A693D}"/>
          </ac:spMkLst>
        </pc:spChg>
        <pc:spChg chg="del">
          <ac:chgData name="Bob Ward" userId="6da7c2dd-8e2e-469f-a216-c384312e2a2d" providerId="ADAL" clId="{0A1FB017-12B5-4953-90C4-0E32AFECB4E4}" dt="2018-09-28T17:41:07.715" v="24" actId="478"/>
          <ac:spMkLst>
            <pc:docMk/>
            <pc:sldMk cId="1869999325" sldId="1861"/>
            <ac:spMk id="7" creationId="{5B233F29-D5A5-4DF5-AA87-020831D2ED66}"/>
          </ac:spMkLst>
        </pc:spChg>
        <pc:spChg chg="add del mod">
          <ac:chgData name="Bob Ward" userId="6da7c2dd-8e2e-469f-a216-c384312e2a2d" providerId="ADAL" clId="{0A1FB017-12B5-4953-90C4-0E32AFECB4E4}" dt="2018-09-28T17:41:11.299" v="25" actId="478"/>
          <ac:spMkLst>
            <pc:docMk/>
            <pc:sldMk cId="1869999325" sldId="1861"/>
            <ac:spMk id="8" creationId="{9C320671-EED3-4B50-9758-52EC64DAC3D0}"/>
          </ac:spMkLst>
        </pc:spChg>
      </pc:sldChg>
      <pc:sldChg chg="addSp delSp modSp modNotesTx">
        <pc:chgData name="Bob Ward" userId="6da7c2dd-8e2e-469f-a216-c384312e2a2d" providerId="ADAL" clId="{0A1FB017-12B5-4953-90C4-0E32AFECB4E4}" dt="2018-09-28T17:41:39.852" v="99" actId="20577"/>
        <pc:sldMkLst>
          <pc:docMk/>
          <pc:sldMk cId="445609033" sldId="4351"/>
        </pc:sldMkLst>
        <pc:spChg chg="del">
          <ac:chgData name="Bob Ward" userId="6da7c2dd-8e2e-469f-a216-c384312e2a2d" providerId="ADAL" clId="{0A1FB017-12B5-4953-90C4-0E32AFECB4E4}" dt="2018-09-28T17:41:21.540" v="26" actId="478"/>
          <ac:spMkLst>
            <pc:docMk/>
            <pc:sldMk cId="445609033" sldId="4351"/>
            <ac:spMk id="4" creationId="{00000000-0000-0000-0000-000000000000}"/>
          </ac:spMkLst>
        </pc:spChg>
        <pc:spChg chg="add del mod">
          <ac:chgData name="Bob Ward" userId="6da7c2dd-8e2e-469f-a216-c384312e2a2d" providerId="ADAL" clId="{0A1FB017-12B5-4953-90C4-0E32AFECB4E4}" dt="2018-09-28T17:41:24.430" v="27" actId="478"/>
          <ac:spMkLst>
            <pc:docMk/>
            <pc:sldMk cId="445609033" sldId="4351"/>
            <ac:spMk id="5" creationId="{A6D62FA2-C312-45B0-BB24-6C83BA948BB4}"/>
          </ac:spMkLst>
        </pc:spChg>
      </pc:sldChg>
      <pc:sldChg chg="modNotesTx">
        <pc:chgData name="Bob Ward" userId="6da7c2dd-8e2e-469f-a216-c384312e2a2d" providerId="ADAL" clId="{0A1FB017-12B5-4953-90C4-0E32AFECB4E4}" dt="2018-09-28T17:42:13.952" v="109" actId="6549"/>
        <pc:sldMkLst>
          <pc:docMk/>
          <pc:sldMk cId="2973122093" sldId="4352"/>
        </pc:sldMkLst>
      </pc:sldChg>
      <pc:sldChg chg="modNotesTx">
        <pc:chgData name="Bob Ward" userId="6da7c2dd-8e2e-469f-a216-c384312e2a2d" providerId="ADAL" clId="{0A1FB017-12B5-4953-90C4-0E32AFECB4E4}" dt="2018-09-28T17:42:44.559" v="225" actId="6549"/>
        <pc:sldMkLst>
          <pc:docMk/>
          <pc:sldMk cId="1122910760" sldId="4353"/>
        </pc:sldMkLst>
      </pc:sldChg>
      <pc:sldChg chg="modNotesTx">
        <pc:chgData name="Bob Ward" userId="6da7c2dd-8e2e-469f-a216-c384312e2a2d" providerId="ADAL" clId="{0A1FB017-12B5-4953-90C4-0E32AFECB4E4}" dt="2018-09-28T17:42:51.196" v="227" actId="6549"/>
        <pc:sldMkLst>
          <pc:docMk/>
          <pc:sldMk cId="1087001240" sldId="4355"/>
        </pc:sldMkLst>
      </pc:sldChg>
      <pc:sldChg chg="modNotesTx">
        <pc:chgData name="Bob Ward" userId="6da7c2dd-8e2e-469f-a216-c384312e2a2d" providerId="ADAL" clId="{0A1FB017-12B5-4953-90C4-0E32AFECB4E4}" dt="2018-09-28T17:43:20.840" v="308" actId="20577"/>
        <pc:sldMkLst>
          <pc:docMk/>
          <pc:sldMk cId="1258176581" sldId="4356"/>
        </pc:sldMkLst>
      </pc:sldChg>
      <pc:sldChg chg="modNotesTx">
        <pc:chgData name="Bob Ward" userId="6da7c2dd-8e2e-469f-a216-c384312e2a2d" providerId="ADAL" clId="{0A1FB017-12B5-4953-90C4-0E32AFECB4E4}" dt="2018-09-28T17:42:39.901" v="224" actId="20577"/>
        <pc:sldMkLst>
          <pc:docMk/>
          <pc:sldMk cId="3580746693" sldId="4357"/>
        </pc:sldMkLst>
      </pc:sldChg>
      <pc:sldChg chg="modNotesTx">
        <pc:chgData name="Bob Ward" userId="6da7c2dd-8e2e-469f-a216-c384312e2a2d" providerId="ADAL" clId="{0A1FB017-12B5-4953-90C4-0E32AFECB4E4}" dt="2018-09-28T17:42:57.604" v="253" actId="20577"/>
        <pc:sldMkLst>
          <pc:docMk/>
          <pc:sldMk cId="870761287" sldId="4358"/>
        </pc:sldMkLst>
      </pc:sldChg>
      <pc:sldChg chg="modNotesTx">
        <pc:chgData name="Bob Ward" userId="6da7c2dd-8e2e-469f-a216-c384312e2a2d" providerId="ADAL" clId="{0A1FB017-12B5-4953-90C4-0E32AFECB4E4}" dt="2018-09-28T17:43:23.910" v="309" actId="6549"/>
        <pc:sldMkLst>
          <pc:docMk/>
          <pc:sldMk cId="3721142759" sldId="4359"/>
        </pc:sldMkLst>
      </pc:sldChg>
      <pc:sldChg chg="modNotesTx">
        <pc:chgData name="Bob Ward" userId="6da7c2dd-8e2e-469f-a216-c384312e2a2d" providerId="ADAL" clId="{0A1FB017-12B5-4953-90C4-0E32AFECB4E4}" dt="2018-09-28T17:43:00.670" v="254" actId="6549"/>
        <pc:sldMkLst>
          <pc:docMk/>
          <pc:sldMk cId="3766069067" sldId="4360"/>
        </pc:sldMkLst>
      </pc:sldChg>
      <pc:sldChg chg="modNotesTx">
        <pc:chgData name="Bob Ward" userId="6da7c2dd-8e2e-469f-a216-c384312e2a2d" providerId="ADAL" clId="{0A1FB017-12B5-4953-90C4-0E32AFECB4E4}" dt="2018-09-28T17:42:09.366" v="108" actId="6549"/>
        <pc:sldMkLst>
          <pc:docMk/>
          <pc:sldMk cId="3032733911" sldId="4364"/>
        </pc:sldMkLst>
      </pc:sldChg>
      <pc:sldChg chg="modNotesTx">
        <pc:chgData name="Bob Ward" userId="6da7c2dd-8e2e-469f-a216-c384312e2a2d" providerId="ADAL" clId="{0A1FB017-12B5-4953-90C4-0E32AFECB4E4}" dt="2018-09-28T17:42:00.565" v="107" actId="6549"/>
        <pc:sldMkLst>
          <pc:docMk/>
          <pc:sldMk cId="3562836415" sldId="4366"/>
        </pc:sldMkLst>
      </pc:sldChg>
      <pc:sldChg chg="modNotesTx">
        <pc:chgData name="Bob Ward" userId="6da7c2dd-8e2e-469f-a216-c384312e2a2d" providerId="ADAL" clId="{0A1FB017-12B5-4953-90C4-0E32AFECB4E4}" dt="2018-09-28T17:43:28.170" v="310" actId="6549"/>
        <pc:sldMkLst>
          <pc:docMk/>
          <pc:sldMk cId="276576014" sldId="4367"/>
        </pc:sldMkLst>
      </pc:sldChg>
      <pc:sldChg chg="modNotesTx">
        <pc:chgData name="Bob Ward" userId="6da7c2dd-8e2e-469f-a216-c384312e2a2d" providerId="ADAL" clId="{0A1FB017-12B5-4953-90C4-0E32AFECB4E4}" dt="2018-09-28T17:41:56.393" v="104" actId="5793"/>
        <pc:sldMkLst>
          <pc:docMk/>
          <pc:sldMk cId="3360446397" sldId="4369"/>
        </pc:sldMkLst>
      </pc:sldChg>
      <pc:sldChg chg="modSp modAnim">
        <pc:chgData name="Bob Ward" userId="6da7c2dd-8e2e-469f-a216-c384312e2a2d" providerId="ADAL" clId="{0A1FB017-12B5-4953-90C4-0E32AFECB4E4}" dt="2018-10-02T00:09:37.417" v="388"/>
        <pc:sldMkLst>
          <pc:docMk/>
          <pc:sldMk cId="4134612233" sldId="4375"/>
        </pc:sldMkLst>
        <pc:spChg chg="mod ord">
          <ac:chgData name="Bob Ward" userId="6da7c2dd-8e2e-469f-a216-c384312e2a2d" providerId="ADAL" clId="{0A1FB017-12B5-4953-90C4-0E32AFECB4E4}" dt="2018-10-01T02:27:36.013" v="379" actId="1076"/>
          <ac:spMkLst>
            <pc:docMk/>
            <pc:sldMk cId="4134612233" sldId="4375"/>
            <ac:spMk id="7" creationId="{A304EC1A-A7CE-2647-ABB8-844B21BB62CE}"/>
          </ac:spMkLst>
        </pc:spChg>
        <pc:spChg chg="mod ord">
          <ac:chgData name="Bob Ward" userId="6da7c2dd-8e2e-469f-a216-c384312e2a2d" providerId="ADAL" clId="{0A1FB017-12B5-4953-90C4-0E32AFECB4E4}" dt="2018-09-28T17:48:33.251" v="318" actId="1076"/>
          <ac:spMkLst>
            <pc:docMk/>
            <pc:sldMk cId="4134612233" sldId="4375"/>
            <ac:spMk id="10" creationId="{ADE20943-3BAD-4093-967B-EAAA88156D2C}"/>
          </ac:spMkLst>
        </pc:spChg>
        <pc:spChg chg="ord">
          <ac:chgData name="Bob Ward" userId="6da7c2dd-8e2e-469f-a216-c384312e2a2d" providerId="ADAL" clId="{0A1FB017-12B5-4953-90C4-0E32AFECB4E4}" dt="2018-10-01T02:12:36.894" v="354" actId="167"/>
          <ac:spMkLst>
            <pc:docMk/>
            <pc:sldMk cId="4134612233" sldId="4375"/>
            <ac:spMk id="89" creationId="{41AF4ABE-F05A-4693-A474-D881230B68F0}"/>
          </ac:spMkLst>
        </pc:spChg>
      </pc:sldChg>
      <pc:sldChg chg="modNotesTx">
        <pc:chgData name="Bob Ward" userId="6da7c2dd-8e2e-469f-a216-c384312e2a2d" providerId="ADAL" clId="{0A1FB017-12B5-4953-90C4-0E32AFECB4E4}" dt="2018-09-28T17:42:48.576" v="226" actId="6549"/>
        <pc:sldMkLst>
          <pc:docMk/>
          <pc:sldMk cId="3020045409" sldId="4378"/>
        </pc:sldMkLst>
      </pc:sldChg>
      <pc:sldChg chg="add del modTransition">
        <pc:chgData name="Bob Ward" userId="6da7c2dd-8e2e-469f-a216-c384312e2a2d" providerId="ADAL" clId="{0A1FB017-12B5-4953-90C4-0E32AFECB4E4}" dt="2018-10-02T00:07:39.601" v="380" actId="2696"/>
        <pc:sldMkLst>
          <pc:docMk/>
          <pc:sldMk cId="844990586" sldId="4379"/>
        </pc:sldMkLst>
      </pc:sldChg>
    </pc:docChg>
  </pc:docChgLst>
  <pc:docChgLst>
    <pc:chgData name="Bob Ward" userId="6da7c2dd-8e2e-469f-a216-c384312e2a2d" providerId="ADAL" clId="{CC07BEAC-85A7-44E0-BC28-578FC3DF3703}"/>
    <pc:docChg chg="undo custSel addSld delSld modSld sldOrd addSection delSection modSection">
      <pc:chgData name="Bob Ward" userId="6da7c2dd-8e2e-469f-a216-c384312e2a2d" providerId="ADAL" clId="{CC07BEAC-85A7-44E0-BC28-578FC3DF3703}" dt="2019-02-24T16:16:56.327" v="18902" actId="20577"/>
      <pc:docMkLst>
        <pc:docMk/>
      </pc:docMkLst>
      <pc:sldChg chg="add">
        <pc:chgData name="Bob Ward" userId="6da7c2dd-8e2e-469f-a216-c384312e2a2d" providerId="ADAL" clId="{CC07BEAC-85A7-44E0-BC28-578FC3DF3703}" dt="2019-01-21T23:04:11.958" v="1111"/>
        <pc:sldMkLst>
          <pc:docMk/>
          <pc:sldMk cId="500996614" sldId="258"/>
        </pc:sldMkLst>
      </pc:sldChg>
      <pc:sldChg chg="add del ord modNotesTx">
        <pc:chgData name="Bob Ward" userId="6da7c2dd-8e2e-469f-a216-c384312e2a2d" providerId="ADAL" clId="{CC07BEAC-85A7-44E0-BC28-578FC3DF3703}" dt="2019-02-21T02:52:45.690" v="13076" actId="6549"/>
        <pc:sldMkLst>
          <pc:docMk/>
          <pc:sldMk cId="940594756" sldId="300"/>
        </pc:sldMkLst>
      </pc:sldChg>
      <pc:sldChg chg="add">
        <pc:chgData name="Bob Ward" userId="6da7c2dd-8e2e-469f-a216-c384312e2a2d" providerId="ADAL" clId="{CC07BEAC-85A7-44E0-BC28-578FC3DF3703}" dt="2019-02-21T01:12:04.060" v="10917"/>
        <pc:sldMkLst>
          <pc:docMk/>
          <pc:sldMk cId="4002908645" sldId="401"/>
        </pc:sldMkLst>
      </pc:sldChg>
      <pc:sldChg chg="del ord">
        <pc:chgData name="Bob Ward" userId="6da7c2dd-8e2e-469f-a216-c384312e2a2d" providerId="ADAL" clId="{CC07BEAC-85A7-44E0-BC28-578FC3DF3703}" dt="2019-02-13T21:41:54.995" v="3757" actId="2696"/>
        <pc:sldMkLst>
          <pc:docMk/>
          <pc:sldMk cId="3734631647" sldId="599"/>
        </pc:sldMkLst>
      </pc:sldChg>
      <pc:sldChg chg="add">
        <pc:chgData name="Bob Ward" userId="6da7c2dd-8e2e-469f-a216-c384312e2a2d" providerId="ADAL" clId="{CC07BEAC-85A7-44E0-BC28-578FC3DF3703}" dt="2019-02-13T23:35:09.537" v="4158"/>
        <pc:sldMkLst>
          <pc:docMk/>
          <pc:sldMk cId="1394624372" sldId="677"/>
        </pc:sldMkLst>
      </pc:sldChg>
      <pc:sldChg chg="del ord modNotesTx">
        <pc:chgData name="Bob Ward" userId="6da7c2dd-8e2e-469f-a216-c384312e2a2d" providerId="ADAL" clId="{CC07BEAC-85A7-44E0-BC28-578FC3DF3703}" dt="2019-02-13T21:41:56.621" v="3758" actId="2696"/>
        <pc:sldMkLst>
          <pc:docMk/>
          <pc:sldMk cId="1057058229" sldId="1247"/>
        </pc:sldMkLst>
      </pc:sldChg>
      <pc:sldChg chg="addSp delSp modSp add del delAnim modAnim modNotesTx">
        <pc:chgData name="Bob Ward" userId="6da7c2dd-8e2e-469f-a216-c384312e2a2d" providerId="ADAL" clId="{CC07BEAC-85A7-44E0-BC28-578FC3DF3703}" dt="2019-02-21T02:46:39.565" v="13074"/>
        <pc:sldMkLst>
          <pc:docMk/>
          <pc:sldMk cId="1910982118" sldId="1584"/>
        </pc:sldMkLst>
        <pc:spChg chg="del">
          <ac:chgData name="Bob Ward" userId="6da7c2dd-8e2e-469f-a216-c384312e2a2d" providerId="ADAL" clId="{CC07BEAC-85A7-44E0-BC28-578FC3DF3703}" dt="2019-01-21T15:10:50.824" v="195" actId="478"/>
          <ac:spMkLst>
            <pc:docMk/>
            <pc:sldMk cId="1910982118" sldId="1584"/>
            <ac:spMk id="10" creationId="{D86886AE-CB6E-4006-9D23-F01E0346ABD9}"/>
          </ac:spMkLst>
        </pc:spChg>
        <pc:spChg chg="del topLvl">
          <ac:chgData name="Bob Ward" userId="6da7c2dd-8e2e-469f-a216-c384312e2a2d" providerId="ADAL" clId="{CC07BEAC-85A7-44E0-BC28-578FC3DF3703}" dt="2019-01-21T15:11:00.321" v="196" actId="478"/>
          <ac:spMkLst>
            <pc:docMk/>
            <pc:sldMk cId="1910982118" sldId="1584"/>
            <ac:spMk id="12" creationId="{0E1074E1-070A-45B4-AFAC-CF71F2069ECC}"/>
          </ac:spMkLst>
        </pc:spChg>
        <pc:spChg chg="del">
          <ac:chgData name="Bob Ward" userId="6da7c2dd-8e2e-469f-a216-c384312e2a2d" providerId="ADAL" clId="{CC07BEAC-85A7-44E0-BC28-578FC3DF3703}" dt="2019-01-21T15:10:50.824" v="195" actId="478"/>
          <ac:spMkLst>
            <pc:docMk/>
            <pc:sldMk cId="1910982118" sldId="1584"/>
            <ac:spMk id="13" creationId="{217EFD84-B2C8-4D21-AF45-D0A17526079E}"/>
          </ac:spMkLst>
        </pc:spChg>
        <pc:spChg chg="del">
          <ac:chgData name="Bob Ward" userId="6da7c2dd-8e2e-469f-a216-c384312e2a2d" providerId="ADAL" clId="{CC07BEAC-85A7-44E0-BC28-578FC3DF3703}" dt="2019-01-21T15:10:50.824" v="195" actId="478"/>
          <ac:spMkLst>
            <pc:docMk/>
            <pc:sldMk cId="1910982118" sldId="1584"/>
            <ac:spMk id="14" creationId="{4BF0F10C-8D3F-498A-A11E-26FA859FBC8F}"/>
          </ac:spMkLst>
        </pc:spChg>
        <pc:spChg chg="mod">
          <ac:chgData name="Bob Ward" userId="6da7c2dd-8e2e-469f-a216-c384312e2a2d" providerId="ADAL" clId="{CC07BEAC-85A7-44E0-BC28-578FC3DF3703}" dt="2019-01-21T15:01:09.173" v="116" actId="20577"/>
          <ac:spMkLst>
            <pc:docMk/>
            <pc:sldMk cId="1910982118" sldId="1584"/>
            <ac:spMk id="24" creationId="{88B9E8BC-0196-4072-AFFA-74AFB64859E6}"/>
          </ac:spMkLst>
        </pc:spChg>
        <pc:spChg chg="mod">
          <ac:chgData name="Bob Ward" userId="6da7c2dd-8e2e-469f-a216-c384312e2a2d" providerId="ADAL" clId="{CC07BEAC-85A7-44E0-BC28-578FC3DF3703}" dt="2019-01-21T14:59:37.177" v="30" actId="20577"/>
          <ac:spMkLst>
            <pc:docMk/>
            <pc:sldMk cId="1910982118" sldId="1584"/>
            <ac:spMk id="100" creationId="{00000000-0000-0000-0000-000000000000}"/>
          </ac:spMkLst>
        </pc:spChg>
        <pc:spChg chg="add mod">
          <ac:chgData name="Bob Ward" userId="6da7c2dd-8e2e-469f-a216-c384312e2a2d" providerId="ADAL" clId="{CC07BEAC-85A7-44E0-BC28-578FC3DF3703}" dt="2019-01-21T15:03:03.756" v="125" actId="1076"/>
          <ac:spMkLst>
            <pc:docMk/>
            <pc:sldMk cId="1910982118" sldId="1584"/>
            <ac:spMk id="164" creationId="{A0D216A3-5B5D-44C8-ADD7-162C93287159}"/>
          </ac:spMkLst>
        </pc:spChg>
        <pc:spChg chg="add mod">
          <ac:chgData name="Bob Ward" userId="6da7c2dd-8e2e-469f-a216-c384312e2a2d" providerId="ADAL" clId="{CC07BEAC-85A7-44E0-BC28-578FC3DF3703}" dt="2019-01-21T15:18:12.741" v="320" actId="1076"/>
          <ac:spMkLst>
            <pc:docMk/>
            <pc:sldMk cId="1910982118" sldId="1584"/>
            <ac:spMk id="166" creationId="{6836CDFD-0BF1-4C49-AD20-86BC6A3EA221}"/>
          </ac:spMkLst>
        </pc:spChg>
        <pc:spChg chg="add del mod">
          <ac:chgData name="Bob Ward" userId="6da7c2dd-8e2e-469f-a216-c384312e2a2d" providerId="ADAL" clId="{CC07BEAC-85A7-44E0-BC28-578FC3DF3703}" dt="2019-01-21T15:09:54.128" v="166" actId="478"/>
          <ac:spMkLst>
            <pc:docMk/>
            <pc:sldMk cId="1910982118" sldId="1584"/>
            <ac:spMk id="170" creationId="{5B566A5B-75BD-4B3B-AD2D-F0DA3D0D4C57}"/>
          </ac:spMkLst>
        </pc:spChg>
        <pc:spChg chg="add del mod">
          <ac:chgData name="Bob Ward" userId="6da7c2dd-8e2e-469f-a216-c384312e2a2d" providerId="ADAL" clId="{CC07BEAC-85A7-44E0-BC28-578FC3DF3703}" dt="2019-01-21T15:09:54.128" v="166" actId="478"/>
          <ac:spMkLst>
            <pc:docMk/>
            <pc:sldMk cId="1910982118" sldId="1584"/>
            <ac:spMk id="177" creationId="{511A1D24-A6BE-4331-89BE-D831416B7492}"/>
          </ac:spMkLst>
        </pc:spChg>
        <pc:spChg chg="add mod">
          <ac:chgData name="Bob Ward" userId="6da7c2dd-8e2e-469f-a216-c384312e2a2d" providerId="ADAL" clId="{CC07BEAC-85A7-44E0-BC28-578FC3DF3703}" dt="2019-01-21T15:11:13.380" v="198" actId="1076"/>
          <ac:spMkLst>
            <pc:docMk/>
            <pc:sldMk cId="1910982118" sldId="1584"/>
            <ac:spMk id="191" creationId="{D3B86823-9525-465C-8C8E-4F828F65B569}"/>
          </ac:spMkLst>
        </pc:spChg>
        <pc:spChg chg="add del mod">
          <ac:chgData name="Bob Ward" userId="6da7c2dd-8e2e-469f-a216-c384312e2a2d" providerId="ADAL" clId="{CC07BEAC-85A7-44E0-BC28-578FC3DF3703}" dt="2019-01-21T15:09:54.128" v="166" actId="478"/>
          <ac:spMkLst>
            <pc:docMk/>
            <pc:sldMk cId="1910982118" sldId="1584"/>
            <ac:spMk id="192" creationId="{E66A97BC-79FB-4A31-8E4D-52A332C9D454}"/>
          </ac:spMkLst>
        </pc:spChg>
        <pc:spChg chg="mod topLvl">
          <ac:chgData name="Bob Ward" userId="6da7c2dd-8e2e-469f-a216-c384312e2a2d" providerId="ADAL" clId="{CC07BEAC-85A7-44E0-BC28-578FC3DF3703}" dt="2019-01-21T15:12:17.744" v="202" actId="1076"/>
          <ac:spMkLst>
            <pc:docMk/>
            <pc:sldMk cId="1910982118" sldId="1584"/>
            <ac:spMk id="225" creationId="{4BB33C8A-4342-4DA4-A9B6-EDCDC0ACFFF4}"/>
          </ac:spMkLst>
        </pc:spChg>
        <pc:spChg chg="mod topLvl">
          <ac:chgData name="Bob Ward" userId="6da7c2dd-8e2e-469f-a216-c384312e2a2d" providerId="ADAL" clId="{CC07BEAC-85A7-44E0-BC28-578FC3DF3703}" dt="2019-01-21T15:16:24.237" v="258" actId="1076"/>
          <ac:spMkLst>
            <pc:docMk/>
            <pc:sldMk cId="1910982118" sldId="1584"/>
            <ac:spMk id="226" creationId="{DDE076D6-3A61-462B-8DD2-786AFC380478}"/>
          </ac:spMkLst>
        </pc:spChg>
        <pc:spChg chg="add mod">
          <ac:chgData name="Bob Ward" userId="6da7c2dd-8e2e-469f-a216-c384312e2a2d" providerId="ADAL" clId="{CC07BEAC-85A7-44E0-BC28-578FC3DF3703}" dt="2019-01-21T15:11:13.380" v="198" actId="1076"/>
          <ac:spMkLst>
            <pc:docMk/>
            <pc:sldMk cId="1910982118" sldId="1584"/>
            <ac:spMk id="230" creationId="{6D4C6F1E-DBD8-44D1-9A6D-16233B8CC810}"/>
          </ac:spMkLst>
        </pc:spChg>
        <pc:spChg chg="add mod">
          <ac:chgData name="Bob Ward" userId="6da7c2dd-8e2e-469f-a216-c384312e2a2d" providerId="ADAL" clId="{CC07BEAC-85A7-44E0-BC28-578FC3DF3703}" dt="2019-01-21T15:11:13.380" v="198" actId="1076"/>
          <ac:spMkLst>
            <pc:docMk/>
            <pc:sldMk cId="1910982118" sldId="1584"/>
            <ac:spMk id="232" creationId="{2169D1F6-0D80-46E9-A632-FBFDAD0BD39C}"/>
          </ac:spMkLst>
        </pc:spChg>
        <pc:spChg chg="add del mod">
          <ac:chgData name="Bob Ward" userId="6da7c2dd-8e2e-469f-a216-c384312e2a2d" providerId="ADAL" clId="{CC07BEAC-85A7-44E0-BC28-578FC3DF3703}" dt="2019-01-21T15:13:13.923" v="215" actId="478"/>
          <ac:spMkLst>
            <pc:docMk/>
            <pc:sldMk cId="1910982118" sldId="1584"/>
            <ac:spMk id="264" creationId="{F65DCAA6-2F19-46C0-B5FC-BE443452D561}"/>
          </ac:spMkLst>
        </pc:spChg>
        <pc:spChg chg="add del mod">
          <ac:chgData name="Bob Ward" userId="6da7c2dd-8e2e-469f-a216-c384312e2a2d" providerId="ADAL" clId="{CC07BEAC-85A7-44E0-BC28-578FC3DF3703}" dt="2019-01-21T15:13:07.708" v="213" actId="478"/>
          <ac:spMkLst>
            <pc:docMk/>
            <pc:sldMk cId="1910982118" sldId="1584"/>
            <ac:spMk id="265" creationId="{ECA731C6-4B99-4D4B-BBA0-141F7825C0CA}"/>
          </ac:spMkLst>
        </pc:spChg>
        <pc:spChg chg="add del mod">
          <ac:chgData name="Bob Ward" userId="6da7c2dd-8e2e-469f-a216-c384312e2a2d" providerId="ADAL" clId="{CC07BEAC-85A7-44E0-BC28-578FC3DF3703}" dt="2019-01-21T15:12:35.599" v="205" actId="478"/>
          <ac:spMkLst>
            <pc:docMk/>
            <pc:sldMk cId="1910982118" sldId="1584"/>
            <ac:spMk id="268" creationId="{32F353A6-42CC-48A6-844F-0AD5DE49F165}"/>
          </ac:spMkLst>
        </pc:spChg>
        <pc:spChg chg="del">
          <ac:chgData name="Bob Ward" userId="6da7c2dd-8e2e-469f-a216-c384312e2a2d" providerId="ADAL" clId="{CC07BEAC-85A7-44E0-BC28-578FC3DF3703}" dt="2019-01-21T15:13:04.008" v="212" actId="478"/>
          <ac:spMkLst>
            <pc:docMk/>
            <pc:sldMk cId="1910982118" sldId="1584"/>
            <ac:spMk id="281" creationId="{1F580BEA-5E09-4045-B192-3B2025F3F802}"/>
          </ac:spMkLst>
        </pc:spChg>
        <pc:spChg chg="mod topLvl">
          <ac:chgData name="Bob Ward" userId="6da7c2dd-8e2e-469f-a216-c384312e2a2d" providerId="ADAL" clId="{CC07BEAC-85A7-44E0-BC28-578FC3DF3703}" dt="2019-01-21T15:16:28.033" v="259" actId="1076"/>
          <ac:spMkLst>
            <pc:docMk/>
            <pc:sldMk cId="1910982118" sldId="1584"/>
            <ac:spMk id="282" creationId="{0CEF3163-1779-465A-BB4E-CF746963D8DA}"/>
          </ac:spMkLst>
        </pc:spChg>
        <pc:spChg chg="mod">
          <ac:chgData name="Bob Ward" userId="6da7c2dd-8e2e-469f-a216-c384312e2a2d" providerId="ADAL" clId="{CC07BEAC-85A7-44E0-BC28-578FC3DF3703}" dt="2019-01-21T15:14:24.399" v="229" actId="1076"/>
          <ac:spMkLst>
            <pc:docMk/>
            <pc:sldMk cId="1910982118" sldId="1584"/>
            <ac:spMk id="287" creationId="{F8F3F4DA-E4A1-4C96-BDDA-6CA01874AEFF}"/>
          </ac:spMkLst>
        </pc:spChg>
        <pc:spChg chg="add mod">
          <ac:chgData name="Bob Ward" userId="6da7c2dd-8e2e-469f-a216-c384312e2a2d" providerId="ADAL" clId="{CC07BEAC-85A7-44E0-BC28-578FC3DF3703}" dt="2019-01-21T15:18:18.203" v="321" actId="1076"/>
          <ac:spMkLst>
            <pc:docMk/>
            <pc:sldMk cId="1910982118" sldId="1584"/>
            <ac:spMk id="293" creationId="{9E7D10D8-BDE6-4ACF-8681-566C26D4171E}"/>
          </ac:spMkLst>
        </pc:spChg>
        <pc:spChg chg="add mod">
          <ac:chgData name="Bob Ward" userId="6da7c2dd-8e2e-469f-a216-c384312e2a2d" providerId="ADAL" clId="{CC07BEAC-85A7-44E0-BC28-578FC3DF3703}" dt="2019-01-21T15:17:39.308" v="315" actId="20577"/>
          <ac:spMkLst>
            <pc:docMk/>
            <pc:sldMk cId="1910982118" sldId="1584"/>
            <ac:spMk id="294" creationId="{E35D61BA-4886-49AF-A2B3-3A7E737A278D}"/>
          </ac:spMkLst>
        </pc:spChg>
        <pc:grpChg chg="del">
          <ac:chgData name="Bob Ward" userId="6da7c2dd-8e2e-469f-a216-c384312e2a2d" providerId="ADAL" clId="{CC07BEAC-85A7-44E0-BC28-578FC3DF3703}" dt="2019-01-21T15:10:50.824" v="195" actId="478"/>
          <ac:grpSpMkLst>
            <pc:docMk/>
            <pc:sldMk cId="1910982118" sldId="1584"/>
            <ac:grpSpMk id="2" creationId="{DA9DE99D-68AC-45AC-ABC9-61BCB6A4DC15}"/>
          </ac:grpSpMkLst>
        </pc:grpChg>
        <pc:grpChg chg="mod">
          <ac:chgData name="Bob Ward" userId="6da7c2dd-8e2e-469f-a216-c384312e2a2d" providerId="ADAL" clId="{CC07BEAC-85A7-44E0-BC28-578FC3DF3703}" dt="2019-01-21T15:10:13.347" v="168" actId="1076"/>
          <ac:grpSpMkLst>
            <pc:docMk/>
            <pc:sldMk cId="1910982118" sldId="1584"/>
            <ac:grpSpMk id="3" creationId="{FAC1151D-0DCE-4714-8951-2A494A078F5E}"/>
          </ac:grpSpMkLst>
        </pc:grpChg>
        <pc:grpChg chg="del">
          <ac:chgData name="Bob Ward" userId="6da7c2dd-8e2e-469f-a216-c384312e2a2d" providerId="ADAL" clId="{CC07BEAC-85A7-44E0-BC28-578FC3DF3703}" dt="2019-01-21T15:01:21.047" v="117" actId="478"/>
          <ac:grpSpMkLst>
            <pc:docMk/>
            <pc:sldMk cId="1910982118" sldId="1584"/>
            <ac:grpSpMk id="5" creationId="{656B246E-8FC6-422E-B30B-7E48D8D23E8E}"/>
          </ac:grpSpMkLst>
        </pc:grpChg>
        <pc:grpChg chg="del">
          <ac:chgData name="Bob Ward" userId="6da7c2dd-8e2e-469f-a216-c384312e2a2d" providerId="ADAL" clId="{CC07BEAC-85A7-44E0-BC28-578FC3DF3703}" dt="2019-01-21T15:10:50.824" v="195" actId="478"/>
          <ac:grpSpMkLst>
            <pc:docMk/>
            <pc:sldMk cId="1910982118" sldId="1584"/>
            <ac:grpSpMk id="11" creationId="{4A9E4BC2-1612-40F3-9A18-73CBB1269C03}"/>
          </ac:grpSpMkLst>
        </pc:grpChg>
        <pc:grpChg chg="mod topLvl">
          <ac:chgData name="Bob Ward" userId="6da7c2dd-8e2e-469f-a216-c384312e2a2d" providerId="ADAL" clId="{CC07BEAC-85A7-44E0-BC28-578FC3DF3703}" dt="2019-01-21T15:12:17.744" v="202" actId="1076"/>
          <ac:grpSpMkLst>
            <pc:docMk/>
            <pc:sldMk cId="1910982118" sldId="1584"/>
            <ac:grpSpMk id="119" creationId="{87D03AEF-D5C8-45FD-816A-277DB883901B}"/>
          </ac:grpSpMkLst>
        </pc:grpChg>
        <pc:grpChg chg="add del">
          <ac:chgData name="Bob Ward" userId="6da7c2dd-8e2e-469f-a216-c384312e2a2d" providerId="ADAL" clId="{CC07BEAC-85A7-44E0-BC28-578FC3DF3703}" dt="2019-01-21T15:02:52.033" v="123"/>
          <ac:grpSpMkLst>
            <pc:docMk/>
            <pc:sldMk cId="1910982118" sldId="1584"/>
            <ac:grpSpMk id="145" creationId="{CFD3A18F-13FE-4293-9C9B-A35A92E80C55}"/>
          </ac:grpSpMkLst>
        </pc:grpChg>
        <pc:grpChg chg="add mod">
          <ac:chgData name="Bob Ward" userId="6da7c2dd-8e2e-469f-a216-c384312e2a2d" providerId="ADAL" clId="{CC07BEAC-85A7-44E0-BC28-578FC3DF3703}" dt="2019-01-21T15:03:03.756" v="125" actId="1076"/>
          <ac:grpSpMkLst>
            <pc:docMk/>
            <pc:sldMk cId="1910982118" sldId="1584"/>
            <ac:grpSpMk id="154" creationId="{CBBD72D2-4E86-4C5D-9A9D-58D71900A18D}"/>
          </ac:grpSpMkLst>
        </pc:grpChg>
        <pc:grpChg chg="add mod">
          <ac:chgData name="Bob Ward" userId="6da7c2dd-8e2e-469f-a216-c384312e2a2d" providerId="ADAL" clId="{CC07BEAC-85A7-44E0-BC28-578FC3DF3703}" dt="2019-01-21T15:11:13.380" v="198" actId="1076"/>
          <ac:grpSpMkLst>
            <pc:docMk/>
            <pc:sldMk cId="1910982118" sldId="1584"/>
            <ac:grpSpMk id="178" creationId="{20B7AB61-2A62-4244-A478-44D22F13E6B0}"/>
          </ac:grpSpMkLst>
        </pc:grpChg>
        <pc:grpChg chg="add del mod">
          <ac:chgData name="Bob Ward" userId="6da7c2dd-8e2e-469f-a216-c384312e2a2d" providerId="ADAL" clId="{CC07BEAC-85A7-44E0-BC28-578FC3DF3703}" dt="2019-01-21T15:09:54.128" v="166" actId="478"/>
          <ac:grpSpMkLst>
            <pc:docMk/>
            <pc:sldMk cId="1910982118" sldId="1584"/>
            <ac:grpSpMk id="193" creationId="{B73559AF-6B2C-480A-B5BC-7E388934784B}"/>
          </ac:grpSpMkLst>
        </pc:grpChg>
        <pc:grpChg chg="add mod">
          <ac:chgData name="Bob Ward" userId="6da7c2dd-8e2e-469f-a216-c384312e2a2d" providerId="ADAL" clId="{CC07BEAC-85A7-44E0-BC28-578FC3DF3703}" dt="2019-01-21T15:11:13.380" v="198" actId="1076"/>
          <ac:grpSpMkLst>
            <pc:docMk/>
            <pc:sldMk cId="1910982118" sldId="1584"/>
            <ac:grpSpMk id="202" creationId="{04E50A7C-D640-4E01-9EC9-C3BD2AD7A42D}"/>
          </ac:grpSpMkLst>
        </pc:grpChg>
        <pc:grpChg chg="add del mod">
          <ac:chgData name="Bob Ward" userId="6da7c2dd-8e2e-469f-a216-c384312e2a2d" providerId="ADAL" clId="{CC07BEAC-85A7-44E0-BC28-578FC3DF3703}" dt="2019-01-21T15:09:54.128" v="166" actId="478"/>
          <ac:grpSpMkLst>
            <pc:docMk/>
            <pc:sldMk cId="1910982118" sldId="1584"/>
            <ac:grpSpMk id="220" creationId="{080AF6D1-63BD-4A9C-9436-0AF232F41E6A}"/>
          </ac:grpSpMkLst>
        </pc:grpChg>
        <pc:grpChg chg="del mod">
          <ac:chgData name="Bob Ward" userId="6da7c2dd-8e2e-469f-a216-c384312e2a2d" providerId="ADAL" clId="{CC07BEAC-85A7-44E0-BC28-578FC3DF3703}" dt="2019-01-21T15:00:30.576" v="88" actId="165"/>
          <ac:grpSpMkLst>
            <pc:docMk/>
            <pc:sldMk cId="1910982118" sldId="1584"/>
            <ac:grpSpMk id="227" creationId="{6EC68BB1-F03B-4EE0-B979-A115A8B3F54D}"/>
          </ac:grpSpMkLst>
        </pc:grpChg>
        <pc:grpChg chg="del">
          <ac:chgData name="Bob Ward" userId="6da7c2dd-8e2e-469f-a216-c384312e2a2d" providerId="ADAL" clId="{CC07BEAC-85A7-44E0-BC28-578FC3DF3703}" dt="2019-01-21T15:11:00.321" v="196" actId="478"/>
          <ac:grpSpMkLst>
            <pc:docMk/>
            <pc:sldMk cId="1910982118" sldId="1584"/>
            <ac:grpSpMk id="228" creationId="{D754799D-B101-4F45-903F-E5BFAFCF8DB6}"/>
          </ac:grpSpMkLst>
        </pc:grpChg>
        <pc:grpChg chg="del">
          <ac:chgData name="Bob Ward" userId="6da7c2dd-8e2e-469f-a216-c384312e2a2d" providerId="ADAL" clId="{CC07BEAC-85A7-44E0-BC28-578FC3DF3703}" dt="2019-01-21T15:01:24.842" v="118" actId="478"/>
          <ac:grpSpMkLst>
            <pc:docMk/>
            <pc:sldMk cId="1910982118" sldId="1584"/>
            <ac:grpSpMk id="229" creationId="{09FBDECD-0AD0-4747-8D8D-41AB39177BC5}"/>
          </ac:grpSpMkLst>
        </pc:grpChg>
        <pc:grpChg chg="del">
          <ac:chgData name="Bob Ward" userId="6da7c2dd-8e2e-469f-a216-c384312e2a2d" providerId="ADAL" clId="{CC07BEAC-85A7-44E0-BC28-578FC3DF3703}" dt="2019-01-21T15:02:04.595" v="119" actId="478"/>
          <ac:grpSpMkLst>
            <pc:docMk/>
            <pc:sldMk cId="1910982118" sldId="1584"/>
            <ac:grpSpMk id="231" creationId="{6E2EEB93-DD25-45F0-9A11-DB55F996361E}"/>
          </ac:grpSpMkLst>
        </pc:grpChg>
        <pc:grpChg chg="add mod">
          <ac:chgData name="Bob Ward" userId="6da7c2dd-8e2e-469f-a216-c384312e2a2d" providerId="ADAL" clId="{CC07BEAC-85A7-44E0-BC28-578FC3DF3703}" dt="2019-01-21T15:11:13.380" v="198" actId="1076"/>
          <ac:grpSpMkLst>
            <pc:docMk/>
            <pc:sldMk cId="1910982118" sldId="1584"/>
            <ac:grpSpMk id="233" creationId="{EF00EEBA-9223-4220-883E-84EBCA437C0E}"/>
          </ac:grpSpMkLst>
        </pc:grpChg>
        <pc:grpChg chg="add mod">
          <ac:chgData name="Bob Ward" userId="6da7c2dd-8e2e-469f-a216-c384312e2a2d" providerId="ADAL" clId="{CC07BEAC-85A7-44E0-BC28-578FC3DF3703}" dt="2019-01-21T15:11:13.380" v="198" actId="1076"/>
          <ac:grpSpMkLst>
            <pc:docMk/>
            <pc:sldMk cId="1910982118" sldId="1584"/>
            <ac:grpSpMk id="241" creationId="{71E2DED2-0AD5-41D8-8D03-12D879A36BCB}"/>
          </ac:grpSpMkLst>
        </pc:grpChg>
        <pc:grpChg chg="add del mod">
          <ac:chgData name="Bob Ward" userId="6da7c2dd-8e2e-469f-a216-c384312e2a2d" providerId="ADAL" clId="{CC07BEAC-85A7-44E0-BC28-578FC3DF3703}" dt="2019-01-21T15:09:54.128" v="166" actId="478"/>
          <ac:grpSpMkLst>
            <pc:docMk/>
            <pc:sldMk cId="1910982118" sldId="1584"/>
            <ac:grpSpMk id="244" creationId="{499734DF-CF10-4264-A8C1-B72735E724B4}"/>
          </ac:grpSpMkLst>
        </pc:grpChg>
        <pc:grpChg chg="add mod">
          <ac:chgData name="Bob Ward" userId="6da7c2dd-8e2e-469f-a216-c384312e2a2d" providerId="ADAL" clId="{CC07BEAC-85A7-44E0-BC28-578FC3DF3703}" dt="2019-01-21T15:11:13.380" v="198" actId="1076"/>
          <ac:grpSpMkLst>
            <pc:docMk/>
            <pc:sldMk cId="1910982118" sldId="1584"/>
            <ac:grpSpMk id="252" creationId="{425C1251-A766-4D43-9ED5-A77EC634CF34}"/>
          </ac:grpSpMkLst>
        </pc:grpChg>
        <pc:grpChg chg="add del mod">
          <ac:chgData name="Bob Ward" userId="6da7c2dd-8e2e-469f-a216-c384312e2a2d" providerId="ADAL" clId="{CC07BEAC-85A7-44E0-BC28-578FC3DF3703}" dt="2019-01-21T15:09:54.128" v="166" actId="478"/>
          <ac:grpSpMkLst>
            <pc:docMk/>
            <pc:sldMk cId="1910982118" sldId="1584"/>
            <ac:grpSpMk id="255" creationId="{A03FE705-21E1-4985-B6CB-AD3C05D29A05}"/>
          </ac:grpSpMkLst>
        </pc:grpChg>
        <pc:grpChg chg="add mod">
          <ac:chgData name="Bob Ward" userId="6da7c2dd-8e2e-469f-a216-c384312e2a2d" providerId="ADAL" clId="{CC07BEAC-85A7-44E0-BC28-578FC3DF3703}" dt="2019-01-21T15:11:13.380" v="198" actId="1076"/>
          <ac:grpSpMkLst>
            <pc:docMk/>
            <pc:sldMk cId="1910982118" sldId="1584"/>
            <ac:grpSpMk id="258" creationId="{14A0319D-FF3C-4D82-AF9B-C10EDD9A4CB1}"/>
          </ac:grpSpMkLst>
        </pc:grpChg>
        <pc:grpChg chg="add mod">
          <ac:chgData name="Bob Ward" userId="6da7c2dd-8e2e-469f-a216-c384312e2a2d" providerId="ADAL" clId="{CC07BEAC-85A7-44E0-BC28-578FC3DF3703}" dt="2019-01-21T15:11:13.380" v="198" actId="1076"/>
          <ac:grpSpMkLst>
            <pc:docMk/>
            <pc:sldMk cId="1910982118" sldId="1584"/>
            <ac:grpSpMk id="261" creationId="{3A2D76A4-36CE-4E57-8834-C70B8089FCD7}"/>
          </ac:grpSpMkLst>
        </pc:grpChg>
        <pc:grpChg chg="add mod">
          <ac:chgData name="Bob Ward" userId="6da7c2dd-8e2e-469f-a216-c384312e2a2d" providerId="ADAL" clId="{CC07BEAC-85A7-44E0-BC28-578FC3DF3703}" dt="2019-01-21T15:16:10.551" v="254" actId="1076"/>
          <ac:grpSpMkLst>
            <pc:docMk/>
            <pc:sldMk cId="1910982118" sldId="1584"/>
            <ac:grpSpMk id="270" creationId="{14BCED22-77DD-4055-9FE4-E8313124FDCE}"/>
          </ac:grpSpMkLst>
        </pc:grpChg>
        <pc:grpChg chg="add del mod">
          <ac:chgData name="Bob Ward" userId="6da7c2dd-8e2e-469f-a216-c384312e2a2d" providerId="ADAL" clId="{CC07BEAC-85A7-44E0-BC28-578FC3DF3703}" dt="2019-01-21T15:14:31.727" v="230" actId="165"/>
          <ac:grpSpMkLst>
            <pc:docMk/>
            <pc:sldMk cId="1910982118" sldId="1584"/>
            <ac:grpSpMk id="280" creationId="{61C66C04-5F6B-4110-8361-D1B2285003F2}"/>
          </ac:grpSpMkLst>
        </pc:grpChg>
        <pc:grpChg chg="mod topLvl">
          <ac:chgData name="Bob Ward" userId="6da7c2dd-8e2e-469f-a216-c384312e2a2d" providerId="ADAL" clId="{CC07BEAC-85A7-44E0-BC28-578FC3DF3703}" dt="2019-01-21T15:16:18.073" v="256" actId="1076"/>
          <ac:grpSpMkLst>
            <pc:docMk/>
            <pc:sldMk cId="1910982118" sldId="1584"/>
            <ac:grpSpMk id="283" creationId="{30139975-B5EA-4070-A5EF-CE9D7053DE68}"/>
          </ac:grpSpMkLst>
        </pc:grpChg>
        <pc:grpChg chg="mod topLvl">
          <ac:chgData name="Bob Ward" userId="6da7c2dd-8e2e-469f-a216-c384312e2a2d" providerId="ADAL" clId="{CC07BEAC-85A7-44E0-BC28-578FC3DF3703}" dt="2019-01-21T15:16:14.413" v="255" actId="1076"/>
          <ac:grpSpMkLst>
            <pc:docMk/>
            <pc:sldMk cId="1910982118" sldId="1584"/>
            <ac:grpSpMk id="284" creationId="{A486A3AB-4E4B-4DBC-906F-4543C02F043E}"/>
          </ac:grpSpMkLst>
        </pc:grpChg>
        <pc:grpChg chg="add mod">
          <ac:chgData name="Bob Ward" userId="6da7c2dd-8e2e-469f-a216-c384312e2a2d" providerId="ADAL" clId="{CC07BEAC-85A7-44E0-BC28-578FC3DF3703}" dt="2019-01-21T15:16:10.551" v="254" actId="1076"/>
          <ac:grpSpMkLst>
            <pc:docMk/>
            <pc:sldMk cId="1910982118" sldId="1584"/>
            <ac:grpSpMk id="289" creationId="{CEEE47AD-6094-4781-A110-2DCC62A3F819}"/>
          </ac:grpSpMkLst>
        </pc:grpChg>
        <pc:picChg chg="add mod">
          <ac:chgData name="Bob Ward" userId="6da7c2dd-8e2e-469f-a216-c384312e2a2d" providerId="ADAL" clId="{CC07BEAC-85A7-44E0-BC28-578FC3DF3703}" dt="2019-01-21T15:12:17.744" v="202" actId="1076"/>
          <ac:picMkLst>
            <pc:docMk/>
            <pc:sldMk cId="1910982118" sldId="1584"/>
            <ac:picMk id="118" creationId="{AA1EF8F0-5783-4163-AAD7-6A3128165E55}"/>
          </ac:picMkLst>
        </pc:picChg>
        <pc:picChg chg="add mod">
          <ac:chgData name="Bob Ward" userId="6da7c2dd-8e2e-469f-a216-c384312e2a2d" providerId="ADAL" clId="{CC07BEAC-85A7-44E0-BC28-578FC3DF3703}" dt="2019-01-21T15:08:41.638" v="159" actId="1076"/>
          <ac:picMkLst>
            <pc:docMk/>
            <pc:sldMk cId="1910982118" sldId="1584"/>
            <ac:picMk id="165" creationId="{27515EC2-4DC4-469A-94A2-028082BFFB49}"/>
          </ac:picMkLst>
        </pc:picChg>
        <pc:picChg chg="add mod">
          <ac:chgData name="Bob Ward" userId="6da7c2dd-8e2e-469f-a216-c384312e2a2d" providerId="ADAL" clId="{CC07BEAC-85A7-44E0-BC28-578FC3DF3703}" dt="2019-01-21T15:07:37.038" v="153" actId="207"/>
          <ac:picMkLst>
            <pc:docMk/>
            <pc:sldMk cId="1910982118" sldId="1584"/>
            <ac:picMk id="167" creationId="{EEFA9035-4927-4663-981F-FD3CAA808AC3}"/>
          </ac:picMkLst>
        </pc:picChg>
        <pc:picChg chg="add mod">
          <ac:chgData name="Bob Ward" userId="6da7c2dd-8e2e-469f-a216-c384312e2a2d" providerId="ADAL" clId="{CC07BEAC-85A7-44E0-BC28-578FC3DF3703}" dt="2019-01-21T15:07:21.740" v="151" actId="1076"/>
          <ac:picMkLst>
            <pc:docMk/>
            <pc:sldMk cId="1910982118" sldId="1584"/>
            <ac:picMk id="168" creationId="{A6BC77A6-8FA8-4023-BAFD-B7A18BD41DD2}"/>
          </ac:picMkLst>
        </pc:picChg>
        <pc:picChg chg="add mod">
          <ac:chgData name="Bob Ward" userId="6da7c2dd-8e2e-469f-a216-c384312e2a2d" providerId="ADAL" clId="{CC07BEAC-85A7-44E0-BC28-578FC3DF3703}" dt="2019-01-21T15:07:26.232" v="152" actId="1076"/>
          <ac:picMkLst>
            <pc:docMk/>
            <pc:sldMk cId="1910982118" sldId="1584"/>
            <ac:picMk id="169" creationId="{4442BFA5-C92F-4016-8C67-CCC474BCAB0D}"/>
          </ac:picMkLst>
        </pc:picChg>
        <pc:picChg chg="mod">
          <ac:chgData name="Bob Ward" userId="6da7c2dd-8e2e-469f-a216-c384312e2a2d" providerId="ADAL" clId="{CC07BEAC-85A7-44E0-BC28-578FC3DF3703}" dt="2019-01-21T15:14:23.132" v="228" actId="1076"/>
          <ac:picMkLst>
            <pc:docMk/>
            <pc:sldMk cId="1910982118" sldId="1584"/>
            <ac:picMk id="285" creationId="{F377FC5B-6C1E-448C-8F1D-48610C465834}"/>
          </ac:picMkLst>
        </pc:picChg>
        <pc:picChg chg="add mod">
          <ac:chgData name="Bob Ward" userId="6da7c2dd-8e2e-469f-a216-c384312e2a2d" providerId="ADAL" clId="{CC07BEAC-85A7-44E0-BC28-578FC3DF3703}" dt="2019-01-21T15:17:55.611" v="318" actId="1076"/>
          <ac:picMkLst>
            <pc:docMk/>
            <pc:sldMk cId="1910982118" sldId="1584"/>
            <ac:picMk id="295" creationId="{8D27E2C8-EE1B-44CA-8D0B-B879C104657C}"/>
          </ac:picMkLst>
        </pc:picChg>
        <pc:picChg chg="add del">
          <ac:chgData name="Bob Ward" userId="6da7c2dd-8e2e-469f-a216-c384312e2a2d" providerId="ADAL" clId="{CC07BEAC-85A7-44E0-BC28-578FC3DF3703}" dt="2019-01-21T15:04:32.116" v="127"/>
          <ac:picMkLst>
            <pc:docMk/>
            <pc:sldMk cId="1910982118" sldId="1584"/>
            <ac:picMk id="1026" creationId="{148BE5BB-67B5-46EF-89A2-16968E5EE3D6}"/>
          </ac:picMkLst>
        </pc:picChg>
        <pc:picChg chg="add del">
          <ac:chgData name="Bob Ward" userId="6da7c2dd-8e2e-469f-a216-c384312e2a2d" providerId="ADAL" clId="{CC07BEAC-85A7-44E0-BC28-578FC3DF3703}" dt="2019-01-21T15:05:08.669" v="131"/>
          <ac:picMkLst>
            <pc:docMk/>
            <pc:sldMk cId="1910982118" sldId="1584"/>
            <ac:picMk id="1028" creationId="{E71A82E0-999B-4329-AB0C-BC0E13E28904}"/>
          </ac:picMkLst>
        </pc:picChg>
        <pc:picChg chg="add del">
          <ac:chgData name="Bob Ward" userId="6da7c2dd-8e2e-469f-a216-c384312e2a2d" providerId="ADAL" clId="{CC07BEAC-85A7-44E0-BC28-578FC3DF3703}" dt="2019-01-21T15:05:08.169" v="130"/>
          <ac:picMkLst>
            <pc:docMk/>
            <pc:sldMk cId="1910982118" sldId="1584"/>
            <ac:picMk id="1030" creationId="{BC780E68-97BD-4E26-B665-500174C8A772}"/>
          </ac:picMkLst>
        </pc:picChg>
        <pc:picChg chg="add mod">
          <ac:chgData name="Bob Ward" userId="6da7c2dd-8e2e-469f-a216-c384312e2a2d" providerId="ADAL" clId="{CC07BEAC-85A7-44E0-BC28-578FC3DF3703}" dt="2019-01-21T15:18:05.686" v="319" actId="1076"/>
          <ac:picMkLst>
            <pc:docMk/>
            <pc:sldMk cId="1910982118" sldId="1584"/>
            <ac:picMk id="1032" creationId="{8A6AD905-B31F-4CCB-BA7E-D140AE334BD7}"/>
          </ac:picMkLst>
        </pc:picChg>
        <pc:cxnChg chg="add del mod">
          <ac:chgData name="Bob Ward" userId="6da7c2dd-8e2e-469f-a216-c384312e2a2d" providerId="ADAL" clId="{CC07BEAC-85A7-44E0-BC28-578FC3DF3703}" dt="2019-01-21T15:09:54.128" v="166" actId="478"/>
          <ac:cxnSpMkLst>
            <pc:docMk/>
            <pc:sldMk cId="1910982118" sldId="1584"/>
            <ac:cxnSpMk id="174" creationId="{4E6A8A8D-1C10-402C-B044-F46BA66903BB}"/>
          </ac:cxnSpMkLst>
        </pc:cxnChg>
        <pc:cxnChg chg="add del mod">
          <ac:chgData name="Bob Ward" userId="6da7c2dd-8e2e-469f-a216-c384312e2a2d" providerId="ADAL" clId="{CC07BEAC-85A7-44E0-BC28-578FC3DF3703}" dt="2019-01-21T15:09:54.128" v="166" actId="478"/>
          <ac:cxnSpMkLst>
            <pc:docMk/>
            <pc:sldMk cId="1910982118" sldId="1584"/>
            <ac:cxnSpMk id="176" creationId="{D179ACD3-296E-4A79-AABF-804094238478}"/>
          </ac:cxnSpMkLst>
        </pc:cxnChg>
        <pc:cxnChg chg="mod">
          <ac:chgData name="Bob Ward" userId="6da7c2dd-8e2e-469f-a216-c384312e2a2d" providerId="ADAL" clId="{CC07BEAC-85A7-44E0-BC28-578FC3DF3703}" dt="2019-01-21T15:01:24.842" v="118" actId="478"/>
          <ac:cxnSpMkLst>
            <pc:docMk/>
            <pc:sldMk cId="1910982118" sldId="1584"/>
            <ac:cxnSpMk id="207" creationId="{AB844615-0B37-4D61-B5CB-625EF7965ADC}"/>
          </ac:cxnSpMkLst>
        </pc:cxnChg>
        <pc:cxnChg chg="mod">
          <ac:chgData name="Bob Ward" userId="6da7c2dd-8e2e-469f-a216-c384312e2a2d" providerId="ADAL" clId="{CC07BEAC-85A7-44E0-BC28-578FC3DF3703}" dt="2019-01-21T15:01:24.842" v="118" actId="478"/>
          <ac:cxnSpMkLst>
            <pc:docMk/>
            <pc:sldMk cId="1910982118" sldId="1584"/>
            <ac:cxnSpMk id="208" creationId="{F9B89DC8-AA26-4FBA-8A35-A21DBD829B34}"/>
          </ac:cxnSpMkLst>
        </pc:cxnChg>
        <pc:cxnChg chg="mod">
          <ac:chgData name="Bob Ward" userId="6da7c2dd-8e2e-469f-a216-c384312e2a2d" providerId="ADAL" clId="{CC07BEAC-85A7-44E0-BC28-578FC3DF3703}" dt="2019-01-21T15:01:24.842" v="118" actId="478"/>
          <ac:cxnSpMkLst>
            <pc:docMk/>
            <pc:sldMk cId="1910982118" sldId="1584"/>
            <ac:cxnSpMk id="209" creationId="{B0CF9C71-A573-40C5-AEFB-20310E4F4656}"/>
          </ac:cxnSpMkLst>
        </pc:cxnChg>
        <pc:cxnChg chg="add mod">
          <ac:chgData name="Bob Ward" userId="6da7c2dd-8e2e-469f-a216-c384312e2a2d" providerId="ADAL" clId="{CC07BEAC-85A7-44E0-BC28-578FC3DF3703}" dt="2019-01-21T15:16:10.551" v="254" actId="1076"/>
          <ac:cxnSpMkLst>
            <pc:docMk/>
            <pc:sldMk cId="1910982118" sldId="1584"/>
            <ac:cxnSpMk id="266" creationId="{B0272137-0FAF-4506-8A52-9FEC9234C6D1}"/>
          </ac:cxnSpMkLst>
        </pc:cxnChg>
        <pc:cxnChg chg="add del mod">
          <ac:chgData name="Bob Ward" userId="6da7c2dd-8e2e-469f-a216-c384312e2a2d" providerId="ADAL" clId="{CC07BEAC-85A7-44E0-BC28-578FC3DF3703}" dt="2019-01-21T15:14:08.827" v="224" actId="478"/>
          <ac:cxnSpMkLst>
            <pc:docMk/>
            <pc:sldMk cId="1910982118" sldId="1584"/>
            <ac:cxnSpMk id="267" creationId="{8B876BE4-5EB7-41B9-BF05-FD6CEE36F39B}"/>
          </ac:cxnSpMkLst>
        </pc:cxnChg>
        <pc:cxnChg chg="add mod">
          <ac:chgData name="Bob Ward" userId="6da7c2dd-8e2e-469f-a216-c384312e2a2d" providerId="ADAL" clId="{CC07BEAC-85A7-44E0-BC28-578FC3DF3703}" dt="2019-01-21T15:16:10.551" v="254" actId="1076"/>
          <ac:cxnSpMkLst>
            <pc:docMk/>
            <pc:sldMk cId="1910982118" sldId="1584"/>
            <ac:cxnSpMk id="269" creationId="{0BDD1717-6377-46DB-9AB3-BBD6A78FB561}"/>
          </ac:cxnSpMkLst>
        </pc:cxnChg>
        <pc:cxnChg chg="add mod">
          <ac:chgData name="Bob Ward" userId="6da7c2dd-8e2e-469f-a216-c384312e2a2d" providerId="ADAL" clId="{CC07BEAC-85A7-44E0-BC28-578FC3DF3703}" dt="2019-01-21T15:16:10.551" v="254" actId="1076"/>
          <ac:cxnSpMkLst>
            <pc:docMk/>
            <pc:sldMk cId="1910982118" sldId="1584"/>
            <ac:cxnSpMk id="292" creationId="{9F5D0633-94CD-425D-85F0-F75677281ABA}"/>
          </ac:cxnSpMkLst>
        </pc:cxnChg>
      </pc:sldChg>
      <pc:sldChg chg="add del">
        <pc:chgData name="Bob Ward" userId="6da7c2dd-8e2e-469f-a216-c384312e2a2d" providerId="ADAL" clId="{CC07BEAC-85A7-44E0-BC28-578FC3DF3703}" dt="2019-02-21T03:29:04.028" v="14286" actId="2696"/>
        <pc:sldMkLst>
          <pc:docMk/>
          <pc:sldMk cId="439384863" sldId="1585"/>
        </pc:sldMkLst>
      </pc:sldChg>
      <pc:sldChg chg="add del">
        <pc:chgData name="Bob Ward" userId="6da7c2dd-8e2e-469f-a216-c384312e2a2d" providerId="ADAL" clId="{CC07BEAC-85A7-44E0-BC28-578FC3DF3703}" dt="2019-02-21T03:29:54.013" v="14289" actId="2696"/>
        <pc:sldMkLst>
          <pc:docMk/>
          <pc:sldMk cId="1875498749" sldId="1593"/>
        </pc:sldMkLst>
      </pc:sldChg>
      <pc:sldChg chg="modSp add modNotesTx">
        <pc:chgData name="Bob Ward" userId="6da7c2dd-8e2e-469f-a216-c384312e2a2d" providerId="ADAL" clId="{CC07BEAC-85A7-44E0-BC28-578FC3DF3703}" dt="2019-02-21T12:38:19.986" v="15693" actId="6549"/>
        <pc:sldMkLst>
          <pc:docMk/>
          <pc:sldMk cId="1068387730" sldId="1833"/>
        </pc:sldMkLst>
        <pc:spChg chg="mod">
          <ac:chgData name="Bob Ward" userId="6da7c2dd-8e2e-469f-a216-c384312e2a2d" providerId="ADAL" clId="{CC07BEAC-85A7-44E0-BC28-578FC3DF3703}" dt="2019-02-14T00:10:35.224" v="5973" actId="6549"/>
          <ac:spMkLst>
            <pc:docMk/>
            <pc:sldMk cId="1068387730" sldId="1833"/>
            <ac:spMk id="11" creationId="{14CFCC36-BE54-C64C-86C7-489C37867EDD}"/>
          </ac:spMkLst>
        </pc:spChg>
      </pc:sldChg>
      <pc:sldChg chg="addSp modSp add">
        <pc:chgData name="Bob Ward" userId="6da7c2dd-8e2e-469f-a216-c384312e2a2d" providerId="ADAL" clId="{CC07BEAC-85A7-44E0-BC28-578FC3DF3703}" dt="2019-02-21T03:29:00.554" v="14285" actId="1076"/>
        <pc:sldMkLst>
          <pc:docMk/>
          <pc:sldMk cId="1001243174" sldId="1834"/>
        </pc:sldMkLst>
        <pc:spChg chg="mod">
          <ac:chgData name="Bob Ward" userId="6da7c2dd-8e2e-469f-a216-c384312e2a2d" providerId="ADAL" clId="{CC07BEAC-85A7-44E0-BC28-578FC3DF3703}" dt="2019-02-21T03:28:37.049" v="14280" actId="1076"/>
          <ac:spMkLst>
            <pc:docMk/>
            <pc:sldMk cId="1001243174" sldId="1834"/>
            <ac:spMk id="15" creationId="{00000000-0000-0000-0000-000000000000}"/>
          </ac:spMkLst>
        </pc:spChg>
        <pc:spChg chg="mod">
          <ac:chgData name="Bob Ward" userId="6da7c2dd-8e2e-469f-a216-c384312e2a2d" providerId="ADAL" clId="{CC07BEAC-85A7-44E0-BC28-578FC3DF3703}" dt="2019-02-21T03:28:54.809" v="14284" actId="1076"/>
          <ac:spMkLst>
            <pc:docMk/>
            <pc:sldMk cId="1001243174" sldId="1834"/>
            <ac:spMk id="17" creationId="{00000000-0000-0000-0000-000000000000}"/>
          </ac:spMkLst>
        </pc:spChg>
        <pc:grpChg chg="add mod">
          <ac:chgData name="Bob Ward" userId="6da7c2dd-8e2e-469f-a216-c384312e2a2d" providerId="ADAL" clId="{CC07BEAC-85A7-44E0-BC28-578FC3DF3703}" dt="2019-02-21T03:29:00.554" v="14285" actId="1076"/>
          <ac:grpSpMkLst>
            <pc:docMk/>
            <pc:sldMk cId="1001243174" sldId="1834"/>
            <ac:grpSpMk id="65" creationId="{84A5F6C9-7A8A-45CE-90A6-D26A6F4C658B}"/>
          </ac:grpSpMkLst>
        </pc:grpChg>
        <pc:grpChg chg="mod">
          <ac:chgData name="Bob Ward" userId="6da7c2dd-8e2e-469f-a216-c384312e2a2d" providerId="ADAL" clId="{CC07BEAC-85A7-44E0-BC28-578FC3DF3703}" dt="2019-02-21T03:28:51.471" v="14283" actId="1076"/>
          <ac:grpSpMkLst>
            <pc:docMk/>
            <pc:sldMk cId="1001243174" sldId="1834"/>
            <ac:grpSpMk id="92" creationId="{00000000-0000-0000-0000-000000000000}"/>
          </ac:grpSpMkLst>
        </pc:grpChg>
      </pc:sldChg>
      <pc:sldChg chg="modSp add">
        <pc:chgData name="Bob Ward" userId="6da7c2dd-8e2e-469f-a216-c384312e2a2d" providerId="ADAL" clId="{CC07BEAC-85A7-44E0-BC28-578FC3DF3703}" dt="2019-02-21T03:30:17.989" v="14291"/>
        <pc:sldMkLst>
          <pc:docMk/>
          <pc:sldMk cId="492495605" sldId="1839"/>
        </pc:sldMkLst>
        <pc:spChg chg="mod">
          <ac:chgData name="Bob Ward" userId="6da7c2dd-8e2e-469f-a216-c384312e2a2d" providerId="ADAL" clId="{CC07BEAC-85A7-44E0-BC28-578FC3DF3703}" dt="2019-02-21T03:30:17.989" v="14291"/>
          <ac:spMkLst>
            <pc:docMk/>
            <pc:sldMk cId="492495605" sldId="1839"/>
            <ac:spMk id="15" creationId="{00000000-0000-0000-0000-000000000000}"/>
          </ac:spMkLst>
        </pc:spChg>
      </pc:sldChg>
      <pc:sldChg chg="add">
        <pc:chgData name="Bob Ward" userId="6da7c2dd-8e2e-469f-a216-c384312e2a2d" providerId="ADAL" clId="{CC07BEAC-85A7-44E0-BC28-578FC3DF3703}" dt="2019-02-20T17:18:49.022" v="9929"/>
        <pc:sldMkLst>
          <pc:docMk/>
          <pc:sldMk cId="1542885108" sldId="1850"/>
        </pc:sldMkLst>
      </pc:sldChg>
      <pc:sldChg chg="add del modNotesTx">
        <pc:chgData name="Bob Ward" userId="6da7c2dd-8e2e-469f-a216-c384312e2a2d" providerId="ADAL" clId="{CC07BEAC-85A7-44E0-BC28-578FC3DF3703}" dt="2019-02-19T20:54:23.735" v="6375" actId="6549"/>
        <pc:sldMkLst>
          <pc:docMk/>
          <pc:sldMk cId="3043429950" sldId="1860"/>
        </pc:sldMkLst>
      </pc:sldChg>
      <pc:sldChg chg="modSp add del">
        <pc:chgData name="Bob Ward" userId="6da7c2dd-8e2e-469f-a216-c384312e2a2d" providerId="ADAL" clId="{CC07BEAC-85A7-44E0-BC28-578FC3DF3703}" dt="2019-02-21T14:37:55.467" v="15753" actId="20577"/>
        <pc:sldMkLst>
          <pc:docMk/>
          <pc:sldMk cId="1869999325" sldId="1861"/>
        </pc:sldMkLst>
        <pc:spChg chg="mod">
          <ac:chgData name="Bob Ward" userId="6da7c2dd-8e2e-469f-a216-c384312e2a2d" providerId="ADAL" clId="{CC07BEAC-85A7-44E0-BC28-578FC3DF3703}" dt="2019-02-21T14:37:55.467" v="15753" actId="20577"/>
          <ac:spMkLst>
            <pc:docMk/>
            <pc:sldMk cId="1869999325" sldId="1861"/>
            <ac:spMk id="2" creationId="{AF57CFD1-12DE-4287-8E0D-77F399553290}"/>
          </ac:spMkLst>
        </pc:spChg>
      </pc:sldChg>
      <pc:sldChg chg="add del">
        <pc:chgData name="Bob Ward" userId="6da7c2dd-8e2e-469f-a216-c384312e2a2d" providerId="ADAL" clId="{CC07BEAC-85A7-44E0-BC28-578FC3DF3703}" dt="2019-02-21T02:57:11.491" v="13077"/>
        <pc:sldMkLst>
          <pc:docMk/>
          <pc:sldMk cId="2525588146" sldId="1865"/>
        </pc:sldMkLst>
      </pc:sldChg>
      <pc:sldChg chg="addSp modSp add">
        <pc:chgData name="Bob Ward" userId="6da7c2dd-8e2e-469f-a216-c384312e2a2d" providerId="ADAL" clId="{CC07BEAC-85A7-44E0-BC28-578FC3DF3703}" dt="2019-02-21T20:28:31.136" v="17078" actId="1076"/>
        <pc:sldMkLst>
          <pc:docMk/>
          <pc:sldMk cId="2956707766" sldId="1868"/>
        </pc:sldMkLst>
        <pc:spChg chg="add mod">
          <ac:chgData name="Bob Ward" userId="6da7c2dd-8e2e-469f-a216-c384312e2a2d" providerId="ADAL" clId="{CC07BEAC-85A7-44E0-BC28-578FC3DF3703}" dt="2019-02-21T20:28:31.136" v="17078" actId="1076"/>
          <ac:spMkLst>
            <pc:docMk/>
            <pc:sldMk cId="2956707766" sldId="1868"/>
            <ac:spMk id="4" creationId="{3FD8733A-CF24-4DC1-A9B9-68FD2A58238D}"/>
          </ac:spMkLst>
        </pc:spChg>
        <pc:graphicFrameChg chg="mod">
          <ac:chgData name="Bob Ward" userId="6da7c2dd-8e2e-469f-a216-c384312e2a2d" providerId="ADAL" clId="{CC07BEAC-85A7-44E0-BC28-578FC3DF3703}" dt="2019-02-21T20:28:16.530" v="17070" actId="14100"/>
          <ac:graphicFrameMkLst>
            <pc:docMk/>
            <pc:sldMk cId="2956707766" sldId="1868"/>
            <ac:graphicFrameMk id="3" creationId="{3DFF174B-DD6D-4062-9CB9-31F1ECBE0CCC}"/>
          </ac:graphicFrameMkLst>
        </pc:graphicFrameChg>
      </pc:sldChg>
      <pc:sldChg chg="add del">
        <pc:chgData name="Bob Ward" userId="6da7c2dd-8e2e-469f-a216-c384312e2a2d" providerId="ADAL" clId="{CC07BEAC-85A7-44E0-BC28-578FC3DF3703}" dt="2019-02-13T23:53:35.270" v="5332"/>
        <pc:sldMkLst>
          <pc:docMk/>
          <pc:sldMk cId="4047907225" sldId="1878"/>
        </pc:sldMkLst>
      </pc:sldChg>
      <pc:sldChg chg="modSp add">
        <pc:chgData name="Bob Ward" userId="6da7c2dd-8e2e-469f-a216-c384312e2a2d" providerId="ADAL" clId="{CC07BEAC-85A7-44E0-BC28-578FC3DF3703}" dt="2019-02-21T12:35:25.102" v="15692" actId="20577"/>
        <pc:sldMkLst>
          <pc:docMk/>
          <pc:sldMk cId="424724205" sldId="1883"/>
        </pc:sldMkLst>
        <pc:spChg chg="mod">
          <ac:chgData name="Bob Ward" userId="6da7c2dd-8e2e-469f-a216-c384312e2a2d" providerId="ADAL" clId="{CC07BEAC-85A7-44E0-BC28-578FC3DF3703}" dt="2019-02-21T12:35:25.102" v="15692" actId="20577"/>
          <ac:spMkLst>
            <pc:docMk/>
            <pc:sldMk cId="424724205" sldId="1883"/>
            <ac:spMk id="6" creationId="{00000000-0000-0000-0000-000000000000}"/>
          </ac:spMkLst>
        </pc:spChg>
      </pc:sldChg>
      <pc:sldChg chg="addSp delSp modSp add del">
        <pc:chgData name="Bob Ward" userId="6da7c2dd-8e2e-469f-a216-c384312e2a2d" providerId="ADAL" clId="{CC07BEAC-85A7-44E0-BC28-578FC3DF3703}" dt="2019-02-13T23:33:43.972" v="4090"/>
        <pc:sldMkLst>
          <pc:docMk/>
          <pc:sldMk cId="795071221" sldId="1883"/>
        </pc:sldMkLst>
        <pc:spChg chg="add del mod">
          <ac:chgData name="Bob Ward" userId="6da7c2dd-8e2e-469f-a216-c384312e2a2d" providerId="ADAL" clId="{CC07BEAC-85A7-44E0-BC28-578FC3DF3703}" dt="2019-02-13T23:33:43.480" v="4089" actId="478"/>
          <ac:spMkLst>
            <pc:docMk/>
            <pc:sldMk cId="795071221" sldId="1883"/>
            <ac:spMk id="5" creationId="{1E786CF2-12AF-4F13-B5DF-666BF7131B7F}"/>
          </ac:spMkLst>
        </pc:spChg>
        <pc:spChg chg="add del">
          <ac:chgData name="Bob Ward" userId="6da7c2dd-8e2e-469f-a216-c384312e2a2d" providerId="ADAL" clId="{CC07BEAC-85A7-44E0-BC28-578FC3DF3703}" dt="2019-02-13T23:33:30.819" v="4085"/>
          <ac:spMkLst>
            <pc:docMk/>
            <pc:sldMk cId="795071221" sldId="1883"/>
            <ac:spMk id="12" creationId="{DA9DB90B-2D0F-4C5E-8940-3766A97FEE0A}"/>
          </ac:spMkLst>
        </pc:spChg>
        <pc:spChg chg="add del">
          <ac:chgData name="Bob Ward" userId="6da7c2dd-8e2e-469f-a216-c384312e2a2d" providerId="ADAL" clId="{CC07BEAC-85A7-44E0-BC28-578FC3DF3703}" dt="2019-02-13T23:33:43.480" v="4089" actId="478"/>
          <ac:spMkLst>
            <pc:docMk/>
            <pc:sldMk cId="795071221" sldId="1883"/>
            <ac:spMk id="17" creationId="{00000000-0000-0000-0000-000000000000}"/>
          </ac:spMkLst>
        </pc:spChg>
      </pc:sldChg>
      <pc:sldChg chg="add">
        <pc:chgData name="Bob Ward" userId="6da7c2dd-8e2e-469f-a216-c384312e2a2d" providerId="ADAL" clId="{CC07BEAC-85A7-44E0-BC28-578FC3DF3703}" dt="2019-02-13T23:55:46.769" v="5362"/>
        <pc:sldMkLst>
          <pc:docMk/>
          <pc:sldMk cId="3438916159" sldId="1892"/>
        </pc:sldMkLst>
      </pc:sldChg>
      <pc:sldChg chg="del ord">
        <pc:chgData name="Bob Ward" userId="6da7c2dd-8e2e-469f-a216-c384312e2a2d" providerId="ADAL" clId="{CC07BEAC-85A7-44E0-BC28-578FC3DF3703}" dt="2019-02-13T21:41:53.280" v="3755" actId="2696"/>
        <pc:sldMkLst>
          <pc:docMk/>
          <pc:sldMk cId="691647947" sldId="3211"/>
        </pc:sldMkLst>
      </pc:sldChg>
      <pc:sldChg chg="modSp ord modNotesTx">
        <pc:chgData name="Bob Ward" userId="6da7c2dd-8e2e-469f-a216-c384312e2a2d" providerId="ADAL" clId="{CC07BEAC-85A7-44E0-BC28-578FC3DF3703}" dt="2019-02-21T04:37:43.261" v="15476" actId="20577"/>
        <pc:sldMkLst>
          <pc:docMk/>
          <pc:sldMk cId="445609033" sldId="4351"/>
        </pc:sldMkLst>
        <pc:spChg chg="mod">
          <ac:chgData name="Bob Ward" userId="6da7c2dd-8e2e-469f-a216-c384312e2a2d" providerId="ADAL" clId="{CC07BEAC-85A7-44E0-BC28-578FC3DF3703}" dt="2019-02-14T00:19:58.156" v="6335" actId="313"/>
          <ac:spMkLst>
            <pc:docMk/>
            <pc:sldMk cId="445609033" sldId="4351"/>
            <ac:spMk id="3" creationId="{00000000-0000-0000-0000-000000000000}"/>
          </ac:spMkLst>
        </pc:spChg>
        <pc:spChg chg="mod">
          <ac:chgData name="Bob Ward" userId="6da7c2dd-8e2e-469f-a216-c384312e2a2d" providerId="ADAL" clId="{CC07BEAC-85A7-44E0-BC28-578FC3DF3703}" dt="2019-02-14T00:20:02.052" v="6336" actId="20577"/>
          <ac:spMkLst>
            <pc:docMk/>
            <pc:sldMk cId="445609033" sldId="4351"/>
            <ac:spMk id="4" creationId="{19845D98-2CE9-45E6-9AA5-7DA5B4AF1C6D}"/>
          </ac:spMkLst>
        </pc:spChg>
      </pc:sldChg>
      <pc:sldChg chg="modSp">
        <pc:chgData name="Bob Ward" userId="6da7c2dd-8e2e-469f-a216-c384312e2a2d" providerId="ADAL" clId="{CC07BEAC-85A7-44E0-BC28-578FC3DF3703}" dt="2019-02-19T21:14:29.821" v="7152" actId="20577"/>
        <pc:sldMkLst>
          <pc:docMk/>
          <pc:sldMk cId="2973122093" sldId="4352"/>
        </pc:sldMkLst>
        <pc:spChg chg="mod">
          <ac:chgData name="Bob Ward" userId="6da7c2dd-8e2e-469f-a216-c384312e2a2d" providerId="ADAL" clId="{CC07BEAC-85A7-44E0-BC28-578FC3DF3703}" dt="2019-02-19T21:14:29.821" v="7152" actId="20577"/>
          <ac:spMkLst>
            <pc:docMk/>
            <pc:sldMk cId="2973122093" sldId="4352"/>
            <ac:spMk id="6" creationId="{00000000-0000-0000-0000-000000000000}"/>
          </ac:spMkLst>
        </pc:spChg>
      </pc:sldChg>
      <pc:sldChg chg="modSp">
        <pc:chgData name="Bob Ward" userId="6da7c2dd-8e2e-469f-a216-c384312e2a2d" providerId="ADAL" clId="{CC07BEAC-85A7-44E0-BC28-578FC3DF3703}" dt="2019-02-19T21:15:22.995" v="7156" actId="1076"/>
        <pc:sldMkLst>
          <pc:docMk/>
          <pc:sldMk cId="1122910760" sldId="4353"/>
        </pc:sldMkLst>
        <pc:spChg chg="mod">
          <ac:chgData name="Bob Ward" userId="6da7c2dd-8e2e-469f-a216-c384312e2a2d" providerId="ADAL" clId="{CC07BEAC-85A7-44E0-BC28-578FC3DF3703}" dt="2019-02-19T21:15:22.995" v="7156" actId="1076"/>
          <ac:spMkLst>
            <pc:docMk/>
            <pc:sldMk cId="1122910760" sldId="4353"/>
            <ac:spMk id="70" creationId="{1732ACB7-C0E2-8548-B01C-7B04B3DE4A8D}"/>
          </ac:spMkLst>
        </pc:spChg>
      </pc:sldChg>
      <pc:sldChg chg="modAnim">
        <pc:chgData name="Bob Ward" userId="6da7c2dd-8e2e-469f-a216-c384312e2a2d" providerId="ADAL" clId="{CC07BEAC-85A7-44E0-BC28-578FC3DF3703}" dt="2019-02-23T19:51:53.633" v="18335"/>
        <pc:sldMkLst>
          <pc:docMk/>
          <pc:sldMk cId="1087001240" sldId="4355"/>
        </pc:sldMkLst>
      </pc:sldChg>
      <pc:sldChg chg="modSp ord modNotesTx">
        <pc:chgData name="Bob Ward" userId="6da7c2dd-8e2e-469f-a216-c384312e2a2d" providerId="ADAL" clId="{CC07BEAC-85A7-44E0-BC28-578FC3DF3703}" dt="2019-02-24T15:56:35.609" v="18645" actId="6549"/>
        <pc:sldMkLst>
          <pc:docMk/>
          <pc:sldMk cId="3580746693" sldId="4357"/>
        </pc:sldMkLst>
        <pc:spChg chg="mod">
          <ac:chgData name="Bob Ward" userId="6da7c2dd-8e2e-469f-a216-c384312e2a2d" providerId="ADAL" clId="{CC07BEAC-85A7-44E0-BC28-578FC3DF3703}" dt="2019-02-13T20:50:50.341" v="2938" actId="14100"/>
          <ac:spMkLst>
            <pc:docMk/>
            <pc:sldMk cId="3580746693" sldId="4357"/>
            <ac:spMk id="3" creationId="{00000000-0000-0000-0000-000000000000}"/>
          </ac:spMkLst>
        </pc:spChg>
        <pc:spChg chg="mod">
          <ac:chgData name="Bob Ward" userId="6da7c2dd-8e2e-469f-a216-c384312e2a2d" providerId="ADAL" clId="{CC07BEAC-85A7-44E0-BC28-578FC3DF3703}" dt="2019-02-24T15:56:35.609" v="18645" actId="6549"/>
          <ac:spMkLst>
            <pc:docMk/>
            <pc:sldMk cId="3580746693" sldId="4357"/>
            <ac:spMk id="4" creationId="{00000000-0000-0000-0000-000000000000}"/>
          </ac:spMkLst>
        </pc:spChg>
      </pc:sldChg>
      <pc:sldChg chg="modSp modNotesTx">
        <pc:chgData name="Bob Ward" userId="6da7c2dd-8e2e-469f-a216-c384312e2a2d" providerId="ADAL" clId="{CC07BEAC-85A7-44E0-BC28-578FC3DF3703}" dt="2019-02-23T19:58:47.359" v="18521" actId="20577"/>
        <pc:sldMkLst>
          <pc:docMk/>
          <pc:sldMk cId="870761287" sldId="4358"/>
        </pc:sldMkLst>
        <pc:spChg chg="mod">
          <ac:chgData name="Bob Ward" userId="6da7c2dd-8e2e-469f-a216-c384312e2a2d" providerId="ADAL" clId="{CC07BEAC-85A7-44E0-BC28-578FC3DF3703}" dt="2019-02-22T02:13:18.205" v="17163" actId="20577"/>
          <ac:spMkLst>
            <pc:docMk/>
            <pc:sldMk cId="870761287" sldId="4358"/>
            <ac:spMk id="3" creationId="{00000000-0000-0000-0000-000000000000}"/>
          </ac:spMkLst>
        </pc:spChg>
        <pc:spChg chg="mod">
          <ac:chgData name="Bob Ward" userId="6da7c2dd-8e2e-469f-a216-c384312e2a2d" providerId="ADAL" clId="{CC07BEAC-85A7-44E0-BC28-578FC3DF3703}" dt="2019-02-21T03:09:04.163" v="13508" actId="20577"/>
          <ac:spMkLst>
            <pc:docMk/>
            <pc:sldMk cId="870761287" sldId="4358"/>
            <ac:spMk id="4" creationId="{00000000-0000-0000-0000-000000000000}"/>
          </ac:spMkLst>
        </pc:spChg>
      </pc:sldChg>
      <pc:sldChg chg="addSp delSp modSp del modNotesTx">
        <pc:chgData name="Bob Ward" userId="6da7c2dd-8e2e-469f-a216-c384312e2a2d" providerId="ADAL" clId="{CC07BEAC-85A7-44E0-BC28-578FC3DF3703}" dt="2019-02-24T15:51:19.233" v="18642" actId="2696"/>
        <pc:sldMkLst>
          <pc:docMk/>
          <pc:sldMk cId="3721142759" sldId="4359"/>
        </pc:sldMkLst>
        <pc:spChg chg="add del mod">
          <ac:chgData name="Bob Ward" userId="6da7c2dd-8e2e-469f-a216-c384312e2a2d" providerId="ADAL" clId="{CC07BEAC-85A7-44E0-BC28-578FC3DF3703}" dt="2019-02-19T20:57:47.927" v="6591" actId="478"/>
          <ac:spMkLst>
            <pc:docMk/>
            <pc:sldMk cId="3721142759" sldId="4359"/>
            <ac:spMk id="5" creationId="{B744BAA0-0D3D-4C7D-8ED2-342075EAC776}"/>
          </ac:spMkLst>
        </pc:spChg>
      </pc:sldChg>
      <pc:sldChg chg="addSp modSp add ord modAnim">
        <pc:chgData name="Bob Ward" userId="6da7c2dd-8e2e-469f-a216-c384312e2a2d" providerId="ADAL" clId="{CC07BEAC-85A7-44E0-BC28-578FC3DF3703}" dt="2019-02-24T16:04:32.922" v="18872"/>
        <pc:sldMkLst>
          <pc:docMk/>
          <pc:sldMk cId="3766069067" sldId="4360"/>
        </pc:sldMkLst>
        <pc:spChg chg="mod">
          <ac:chgData name="Bob Ward" userId="6da7c2dd-8e2e-469f-a216-c384312e2a2d" providerId="ADAL" clId="{CC07BEAC-85A7-44E0-BC28-578FC3DF3703}" dt="2019-02-13T23:30:05.625" v="4073" actId="20577"/>
          <ac:spMkLst>
            <pc:docMk/>
            <pc:sldMk cId="3766069067" sldId="4360"/>
            <ac:spMk id="2" creationId="{D0E37A8B-817C-4BAF-97EA-57F6E0E697E8}"/>
          </ac:spMkLst>
        </pc:spChg>
        <pc:spChg chg="mod">
          <ac:chgData name="Bob Ward" userId="6da7c2dd-8e2e-469f-a216-c384312e2a2d" providerId="ADAL" clId="{CC07BEAC-85A7-44E0-BC28-578FC3DF3703}" dt="2019-02-13T23:29:23.878" v="4002" actId="20577"/>
          <ac:spMkLst>
            <pc:docMk/>
            <pc:sldMk cId="3766069067" sldId="4360"/>
            <ac:spMk id="3" creationId="{7B2A7C7E-7B3C-4E4F-9853-16303F557B12}"/>
          </ac:spMkLst>
        </pc:spChg>
        <pc:spChg chg="add mod">
          <ac:chgData name="Bob Ward" userId="6da7c2dd-8e2e-469f-a216-c384312e2a2d" providerId="ADAL" clId="{CC07BEAC-85A7-44E0-BC28-578FC3DF3703}" dt="2019-02-24T16:04:12.075" v="18871" actId="207"/>
          <ac:spMkLst>
            <pc:docMk/>
            <pc:sldMk cId="3766069067" sldId="4360"/>
            <ac:spMk id="4" creationId="{4613E2BA-4F72-4B3F-81AE-0756A4510822}"/>
          </ac:spMkLst>
        </pc:spChg>
        <pc:cxnChg chg="add mod">
          <ac:chgData name="Bob Ward" userId="6da7c2dd-8e2e-469f-a216-c384312e2a2d" providerId="ADAL" clId="{CC07BEAC-85A7-44E0-BC28-578FC3DF3703}" dt="2019-02-24T16:03:44.612" v="18869" actId="14100"/>
          <ac:cxnSpMkLst>
            <pc:docMk/>
            <pc:sldMk cId="3766069067" sldId="4360"/>
            <ac:cxnSpMk id="6" creationId="{EC173312-FA6C-4DF1-AE2E-7F6FEA0E0E1E}"/>
          </ac:cxnSpMkLst>
        </pc:cxnChg>
        <pc:cxnChg chg="add mod">
          <ac:chgData name="Bob Ward" userId="6da7c2dd-8e2e-469f-a216-c384312e2a2d" providerId="ADAL" clId="{CC07BEAC-85A7-44E0-BC28-578FC3DF3703}" dt="2019-02-24T16:03:42.281" v="18868" actId="14100"/>
          <ac:cxnSpMkLst>
            <pc:docMk/>
            <pc:sldMk cId="3766069067" sldId="4360"/>
            <ac:cxnSpMk id="126" creationId="{8D3FC682-B195-4BA2-8E74-B5396AE20857}"/>
          </ac:cxnSpMkLst>
        </pc:cxnChg>
      </pc:sldChg>
      <pc:sldChg chg="modSp">
        <pc:chgData name="Bob Ward" userId="6da7c2dd-8e2e-469f-a216-c384312e2a2d" providerId="ADAL" clId="{CC07BEAC-85A7-44E0-BC28-578FC3DF3703}" dt="2019-02-21T01:43:04.761" v="12106" actId="1076"/>
        <pc:sldMkLst>
          <pc:docMk/>
          <pc:sldMk cId="3454480862" sldId="4361"/>
        </pc:sldMkLst>
        <pc:spChg chg="mod">
          <ac:chgData name="Bob Ward" userId="6da7c2dd-8e2e-469f-a216-c384312e2a2d" providerId="ADAL" clId="{CC07BEAC-85A7-44E0-BC28-578FC3DF3703}" dt="2019-02-13T21:43:29.154" v="3915" actId="14100"/>
          <ac:spMkLst>
            <pc:docMk/>
            <pc:sldMk cId="3454480862" sldId="4361"/>
            <ac:spMk id="2" creationId="{D0E37A8B-817C-4BAF-97EA-57F6E0E697E8}"/>
          </ac:spMkLst>
        </pc:spChg>
        <pc:spChg chg="mod">
          <ac:chgData name="Bob Ward" userId="6da7c2dd-8e2e-469f-a216-c384312e2a2d" providerId="ADAL" clId="{CC07BEAC-85A7-44E0-BC28-578FC3DF3703}" dt="2019-02-21T01:43:04.761" v="12106" actId="1076"/>
          <ac:spMkLst>
            <pc:docMk/>
            <pc:sldMk cId="3454480862" sldId="4361"/>
            <ac:spMk id="3" creationId="{7B2A7C7E-7B3C-4E4F-9853-16303F557B12}"/>
          </ac:spMkLst>
        </pc:spChg>
      </pc:sldChg>
      <pc:sldChg chg="modSp ord">
        <pc:chgData name="Bob Ward" userId="6da7c2dd-8e2e-469f-a216-c384312e2a2d" providerId="ADAL" clId="{CC07BEAC-85A7-44E0-BC28-578FC3DF3703}" dt="2019-02-14T00:15:30.215" v="6090" actId="20577"/>
        <pc:sldMkLst>
          <pc:docMk/>
          <pc:sldMk cId="2194511247" sldId="4362"/>
        </pc:sldMkLst>
        <pc:spChg chg="mod">
          <ac:chgData name="Bob Ward" userId="6da7c2dd-8e2e-469f-a216-c384312e2a2d" providerId="ADAL" clId="{CC07BEAC-85A7-44E0-BC28-578FC3DF3703}" dt="2019-02-14T00:15:30.215" v="6090" actId="20577"/>
          <ac:spMkLst>
            <pc:docMk/>
            <pc:sldMk cId="2194511247" sldId="4362"/>
            <ac:spMk id="2" creationId="{77A5CF3B-983E-CA45-AB7C-45DFEE004F70}"/>
          </ac:spMkLst>
        </pc:spChg>
      </pc:sldChg>
      <pc:sldChg chg="del ord">
        <pc:chgData name="Bob Ward" userId="6da7c2dd-8e2e-469f-a216-c384312e2a2d" providerId="ADAL" clId="{CC07BEAC-85A7-44E0-BC28-578FC3DF3703}" dt="2019-02-13T21:41:47.376" v="3754" actId="2696"/>
        <pc:sldMkLst>
          <pc:docMk/>
          <pc:sldMk cId="2497121907" sldId="4363"/>
        </pc:sldMkLst>
      </pc:sldChg>
      <pc:sldChg chg="del ord">
        <pc:chgData name="Bob Ward" userId="6da7c2dd-8e2e-469f-a216-c384312e2a2d" providerId="ADAL" clId="{CC07BEAC-85A7-44E0-BC28-578FC3DF3703}" dt="2019-02-19T20:52:21.816" v="6370" actId="2696"/>
        <pc:sldMkLst>
          <pc:docMk/>
          <pc:sldMk cId="3562836415" sldId="4366"/>
        </pc:sldMkLst>
      </pc:sldChg>
      <pc:sldChg chg="addSp delSp modSp modAnim modNotesTx">
        <pc:chgData name="Bob Ward" userId="6da7c2dd-8e2e-469f-a216-c384312e2a2d" providerId="ADAL" clId="{CC07BEAC-85A7-44E0-BC28-578FC3DF3703}" dt="2019-02-23T19:55:31.916" v="18397"/>
        <pc:sldMkLst>
          <pc:docMk/>
          <pc:sldMk cId="276576014" sldId="4367"/>
        </pc:sldMkLst>
        <pc:spChg chg="mod">
          <ac:chgData name="Bob Ward" userId="6da7c2dd-8e2e-469f-a216-c384312e2a2d" providerId="ADAL" clId="{CC07BEAC-85A7-44E0-BC28-578FC3DF3703}" dt="2019-02-21T14:54:30.143" v="16575" actId="1076"/>
          <ac:spMkLst>
            <pc:docMk/>
            <pc:sldMk cId="276576014" sldId="4367"/>
            <ac:spMk id="2" creationId="{A1EB1587-9469-4418-8271-9C10B5FA0FFB}"/>
          </ac:spMkLst>
        </pc:spChg>
        <pc:spChg chg="del">
          <ac:chgData name="Bob Ward" userId="6da7c2dd-8e2e-469f-a216-c384312e2a2d" providerId="ADAL" clId="{CC07BEAC-85A7-44E0-BC28-578FC3DF3703}" dt="2019-02-21T14:42:48.437" v="15916" actId="478"/>
          <ac:spMkLst>
            <pc:docMk/>
            <pc:sldMk cId="276576014" sldId="4367"/>
            <ac:spMk id="3" creationId="{C0749521-6EDD-4067-B1EC-0DEDEB339E91}"/>
          </ac:spMkLst>
        </pc:spChg>
        <pc:spChg chg="add del mod">
          <ac:chgData name="Bob Ward" userId="6da7c2dd-8e2e-469f-a216-c384312e2a2d" providerId="ADAL" clId="{CC07BEAC-85A7-44E0-BC28-578FC3DF3703}" dt="2019-02-21T14:42:51.617" v="15917" actId="478"/>
          <ac:spMkLst>
            <pc:docMk/>
            <pc:sldMk cId="276576014" sldId="4367"/>
            <ac:spMk id="5" creationId="{733AA8E8-705F-4C74-8DA2-7B82FE9B37DB}"/>
          </ac:spMkLst>
        </pc:spChg>
        <pc:spChg chg="add mod">
          <ac:chgData name="Bob Ward" userId="6da7c2dd-8e2e-469f-a216-c384312e2a2d" providerId="ADAL" clId="{CC07BEAC-85A7-44E0-BC28-578FC3DF3703}" dt="2019-02-23T18:01:16.574" v="17635" actId="1076"/>
          <ac:spMkLst>
            <pc:docMk/>
            <pc:sldMk cId="276576014" sldId="4367"/>
            <ac:spMk id="6" creationId="{2C034511-7D8A-42B3-BD88-891A463E54EA}"/>
          </ac:spMkLst>
        </pc:spChg>
        <pc:spChg chg="del">
          <ac:chgData name="Bob Ward" userId="6da7c2dd-8e2e-469f-a216-c384312e2a2d" providerId="ADAL" clId="{CC07BEAC-85A7-44E0-BC28-578FC3DF3703}" dt="2019-02-21T14:42:48.437" v="15916" actId="478"/>
          <ac:spMkLst>
            <pc:docMk/>
            <pc:sldMk cId="276576014" sldId="4367"/>
            <ac:spMk id="7" creationId="{DB971EA3-9242-4CD2-860D-91D53C7F33FC}"/>
          </ac:spMkLst>
        </pc:spChg>
        <pc:spChg chg="del">
          <ac:chgData name="Bob Ward" userId="6da7c2dd-8e2e-469f-a216-c384312e2a2d" providerId="ADAL" clId="{CC07BEAC-85A7-44E0-BC28-578FC3DF3703}" dt="2019-02-21T14:42:48.437" v="15916" actId="478"/>
          <ac:spMkLst>
            <pc:docMk/>
            <pc:sldMk cId="276576014" sldId="4367"/>
            <ac:spMk id="9" creationId="{3141DD79-26B4-4ABA-8383-735F107CD87A}"/>
          </ac:spMkLst>
        </pc:spChg>
        <pc:spChg chg="mod">
          <ac:chgData name="Bob Ward" userId="6da7c2dd-8e2e-469f-a216-c384312e2a2d" providerId="ADAL" clId="{CC07BEAC-85A7-44E0-BC28-578FC3DF3703}" dt="2019-02-21T14:42:56.044" v="15918" actId="1076"/>
          <ac:spMkLst>
            <pc:docMk/>
            <pc:sldMk cId="276576014" sldId="4367"/>
            <ac:spMk id="10" creationId="{3F0FF318-DC7F-48E5-A671-424D48FC4818}"/>
          </ac:spMkLst>
        </pc:spChg>
        <pc:spChg chg="add mod">
          <ac:chgData name="Bob Ward" userId="6da7c2dd-8e2e-469f-a216-c384312e2a2d" providerId="ADAL" clId="{CC07BEAC-85A7-44E0-BC28-578FC3DF3703}" dt="2019-02-23T18:01:09.323" v="17633" actId="255"/>
          <ac:spMkLst>
            <pc:docMk/>
            <pc:sldMk cId="276576014" sldId="4367"/>
            <ac:spMk id="11" creationId="{957A48FD-0AA2-4348-8B19-70D665187B38}"/>
          </ac:spMkLst>
        </pc:spChg>
        <pc:spChg chg="add mod">
          <ac:chgData name="Bob Ward" userId="6da7c2dd-8e2e-469f-a216-c384312e2a2d" providerId="ADAL" clId="{CC07BEAC-85A7-44E0-BC28-578FC3DF3703}" dt="2019-02-23T18:01:13.769" v="17634" actId="1076"/>
          <ac:spMkLst>
            <pc:docMk/>
            <pc:sldMk cId="276576014" sldId="4367"/>
            <ac:spMk id="12" creationId="{9C415EE5-18A9-4C31-A1DB-D80DE0D4EEA7}"/>
          </ac:spMkLst>
        </pc:spChg>
        <pc:spChg chg="add del">
          <ac:chgData name="Bob Ward" userId="6da7c2dd-8e2e-469f-a216-c384312e2a2d" providerId="ADAL" clId="{CC07BEAC-85A7-44E0-BC28-578FC3DF3703}" dt="2019-02-21T14:48:32.023" v="16198"/>
          <ac:spMkLst>
            <pc:docMk/>
            <pc:sldMk cId="276576014" sldId="4367"/>
            <ac:spMk id="13" creationId="{44F25271-99DF-4BFC-965B-BEEE8D3F655E}"/>
          </ac:spMkLst>
        </pc:spChg>
      </pc:sldChg>
      <pc:sldChg chg="modSp add">
        <pc:chgData name="Bob Ward" userId="6da7c2dd-8e2e-469f-a216-c384312e2a2d" providerId="ADAL" clId="{CC07BEAC-85A7-44E0-BC28-578FC3DF3703}" dt="2019-02-14T00:10:56.599" v="5975" actId="1076"/>
        <pc:sldMkLst>
          <pc:docMk/>
          <pc:sldMk cId="4134612233" sldId="4375"/>
        </pc:sldMkLst>
        <pc:spChg chg="mod">
          <ac:chgData name="Bob Ward" userId="6da7c2dd-8e2e-469f-a216-c384312e2a2d" providerId="ADAL" clId="{CC07BEAC-85A7-44E0-BC28-578FC3DF3703}" dt="2019-02-14T00:10:56.599" v="5975" actId="1076"/>
          <ac:spMkLst>
            <pc:docMk/>
            <pc:sldMk cId="4134612233" sldId="4375"/>
            <ac:spMk id="6" creationId="{00000000-0000-0000-0000-000000000000}"/>
          </ac:spMkLst>
        </pc:spChg>
      </pc:sldChg>
      <pc:sldChg chg="add del modNotesTx">
        <pc:chgData name="Bob Ward" userId="6da7c2dd-8e2e-469f-a216-c384312e2a2d" providerId="ADAL" clId="{CC07BEAC-85A7-44E0-BC28-578FC3DF3703}" dt="2019-02-13T21:40:02.029" v="3544" actId="20577"/>
        <pc:sldMkLst>
          <pc:docMk/>
          <pc:sldMk cId="3020045409" sldId="4378"/>
        </pc:sldMkLst>
      </pc:sldChg>
      <pc:sldChg chg="modSp">
        <pc:chgData name="Bob Ward" userId="6da7c2dd-8e2e-469f-a216-c384312e2a2d" providerId="ADAL" clId="{CC07BEAC-85A7-44E0-BC28-578FC3DF3703}" dt="2019-02-21T01:43:32.835" v="12111" actId="1076"/>
        <pc:sldMkLst>
          <pc:docMk/>
          <pc:sldMk cId="1021704877" sldId="4379"/>
        </pc:sldMkLst>
        <pc:spChg chg="mod">
          <ac:chgData name="Bob Ward" userId="6da7c2dd-8e2e-469f-a216-c384312e2a2d" providerId="ADAL" clId="{CC07BEAC-85A7-44E0-BC28-578FC3DF3703}" dt="2019-02-21T01:43:32.835" v="12111" actId="1076"/>
          <ac:spMkLst>
            <pc:docMk/>
            <pc:sldMk cId="1021704877" sldId="4379"/>
            <ac:spMk id="6" creationId="{00000000-0000-0000-0000-000000000000}"/>
          </ac:spMkLst>
        </pc:spChg>
      </pc:sldChg>
      <pc:sldChg chg="add">
        <pc:chgData name="Bob Ward" userId="6da7c2dd-8e2e-469f-a216-c384312e2a2d" providerId="ADAL" clId="{CC07BEAC-85A7-44E0-BC28-578FC3DF3703}" dt="2019-02-13T23:55:17.367" v="5361"/>
        <pc:sldMkLst>
          <pc:docMk/>
          <pc:sldMk cId="3118443099" sldId="4387"/>
        </pc:sldMkLst>
      </pc:sldChg>
      <pc:sldChg chg="addSp modSp add modAnim">
        <pc:chgData name="Bob Ward" userId="6da7c2dd-8e2e-469f-a216-c384312e2a2d" providerId="ADAL" clId="{CC07BEAC-85A7-44E0-BC28-578FC3DF3703}" dt="2019-02-23T18:02:28.802" v="17653"/>
        <pc:sldMkLst>
          <pc:docMk/>
          <pc:sldMk cId="305593292" sldId="4389"/>
        </pc:sldMkLst>
        <pc:spChg chg="add mod">
          <ac:chgData name="Bob Ward" userId="6da7c2dd-8e2e-469f-a216-c384312e2a2d" providerId="ADAL" clId="{CC07BEAC-85A7-44E0-BC28-578FC3DF3703}" dt="2019-02-23T18:02:10.267" v="17652" actId="207"/>
          <ac:spMkLst>
            <pc:docMk/>
            <pc:sldMk cId="305593292" sldId="4389"/>
            <ac:spMk id="7" creationId="{CD9E3576-15B7-443C-9D86-128261362A25}"/>
          </ac:spMkLst>
        </pc:spChg>
      </pc:sldChg>
      <pc:sldChg chg="modSp add">
        <pc:chgData name="Bob Ward" userId="6da7c2dd-8e2e-469f-a216-c384312e2a2d" providerId="ADAL" clId="{CC07BEAC-85A7-44E0-BC28-578FC3DF3703}" dt="2019-02-21T03:38:48.039" v="14548" actId="1076"/>
        <pc:sldMkLst>
          <pc:docMk/>
          <pc:sldMk cId="1998283561" sldId="4393"/>
        </pc:sldMkLst>
        <pc:spChg chg="mod">
          <ac:chgData name="Bob Ward" userId="6da7c2dd-8e2e-469f-a216-c384312e2a2d" providerId="ADAL" clId="{CC07BEAC-85A7-44E0-BC28-578FC3DF3703}" dt="2019-02-21T03:38:48.039" v="14548" actId="1076"/>
          <ac:spMkLst>
            <pc:docMk/>
            <pc:sldMk cId="1998283561" sldId="4393"/>
            <ac:spMk id="17" creationId="{00000000-0000-0000-0000-000000000000}"/>
          </ac:spMkLst>
        </pc:spChg>
      </pc:sldChg>
      <pc:sldChg chg="addSp delSp modSp add delAnim modAnim modNotesTx">
        <pc:chgData name="Bob Ward" userId="6da7c2dd-8e2e-469f-a216-c384312e2a2d" providerId="ADAL" clId="{CC07BEAC-85A7-44E0-BC28-578FC3DF3703}" dt="2019-02-23T18:37:55.579" v="17883"/>
        <pc:sldMkLst>
          <pc:docMk/>
          <pc:sldMk cId="2309670179" sldId="4396"/>
        </pc:sldMkLst>
        <pc:spChg chg="mod">
          <ac:chgData name="Bob Ward" userId="6da7c2dd-8e2e-469f-a216-c384312e2a2d" providerId="ADAL" clId="{CC07BEAC-85A7-44E0-BC28-578FC3DF3703}" dt="2019-02-23T18:35:03.837" v="17861" actId="1076"/>
          <ac:spMkLst>
            <pc:docMk/>
            <pc:sldMk cId="2309670179" sldId="4396"/>
            <ac:spMk id="10" creationId="{D575CECC-C32C-48CB-B2D8-2854DDC38ED0}"/>
          </ac:spMkLst>
        </pc:spChg>
        <pc:spChg chg="del mod">
          <ac:chgData name="Bob Ward" userId="6da7c2dd-8e2e-469f-a216-c384312e2a2d" providerId="ADAL" clId="{CC07BEAC-85A7-44E0-BC28-578FC3DF3703}" dt="2019-02-23T18:35:14.002" v="17863" actId="478"/>
          <ac:spMkLst>
            <pc:docMk/>
            <pc:sldMk cId="2309670179" sldId="4396"/>
            <ac:spMk id="14" creationId="{8CF97A5C-1143-48D1-8B0F-5427C65B8CC3}"/>
          </ac:spMkLst>
        </pc:spChg>
        <pc:spChg chg="del mod">
          <ac:chgData name="Bob Ward" userId="6da7c2dd-8e2e-469f-a216-c384312e2a2d" providerId="ADAL" clId="{CC07BEAC-85A7-44E0-BC28-578FC3DF3703}" dt="2019-02-23T18:35:14.002" v="17863" actId="478"/>
          <ac:spMkLst>
            <pc:docMk/>
            <pc:sldMk cId="2309670179" sldId="4396"/>
            <ac:spMk id="15" creationId="{4C60649E-92EC-4C3E-8D4E-826907181170}"/>
          </ac:spMkLst>
        </pc:spChg>
        <pc:spChg chg="mod">
          <ac:chgData name="Bob Ward" userId="6da7c2dd-8e2e-469f-a216-c384312e2a2d" providerId="ADAL" clId="{CC07BEAC-85A7-44E0-BC28-578FC3DF3703}" dt="2019-02-21T03:39:54.431" v="14568" actId="20577"/>
          <ac:spMkLst>
            <pc:docMk/>
            <pc:sldMk cId="2309670179" sldId="4396"/>
            <ac:spMk id="17" creationId="{00000000-0000-0000-0000-000000000000}"/>
          </ac:spMkLst>
        </pc:spChg>
        <pc:spChg chg="add del mod">
          <ac:chgData name="Bob Ward" userId="6da7c2dd-8e2e-469f-a216-c384312e2a2d" providerId="ADAL" clId="{CC07BEAC-85A7-44E0-BC28-578FC3DF3703}" dt="2019-02-23T18:30:15.174" v="17835" actId="478"/>
          <ac:spMkLst>
            <pc:docMk/>
            <pc:sldMk cId="2309670179" sldId="4396"/>
            <ac:spMk id="22" creationId="{9CEF12FF-07F5-486A-8B28-FEDE4158E6DB}"/>
          </ac:spMkLst>
        </pc:spChg>
        <pc:spChg chg="del">
          <ac:chgData name="Bob Ward" userId="6da7c2dd-8e2e-469f-a216-c384312e2a2d" providerId="ADAL" clId="{CC07BEAC-85A7-44E0-BC28-578FC3DF3703}" dt="2019-02-23T18:35:26.408" v="17866" actId="478"/>
          <ac:spMkLst>
            <pc:docMk/>
            <pc:sldMk cId="2309670179" sldId="4396"/>
            <ac:spMk id="28" creationId="{23093855-9DF0-42FE-8F95-E5BE70319324}"/>
          </ac:spMkLst>
        </pc:spChg>
        <pc:spChg chg="ord">
          <ac:chgData name="Bob Ward" userId="6da7c2dd-8e2e-469f-a216-c384312e2a2d" providerId="ADAL" clId="{CC07BEAC-85A7-44E0-BC28-578FC3DF3703}" dt="2019-02-21T03:42:34.064" v="14596" actId="166"/>
          <ac:spMkLst>
            <pc:docMk/>
            <pc:sldMk cId="2309670179" sldId="4396"/>
            <ac:spMk id="30" creationId="{CC027076-5734-47BA-88A5-8070398EFCDE}"/>
          </ac:spMkLst>
        </pc:spChg>
        <pc:spChg chg="add del">
          <ac:chgData name="Bob Ward" userId="6da7c2dd-8e2e-469f-a216-c384312e2a2d" providerId="ADAL" clId="{CC07BEAC-85A7-44E0-BC28-578FC3DF3703}" dt="2019-02-23T18:37:00.646" v="17876" actId="478"/>
          <ac:spMkLst>
            <pc:docMk/>
            <pc:sldMk cId="2309670179" sldId="4396"/>
            <ac:spMk id="34" creationId="{BDF09942-A5F0-4333-BD88-5581DF3D530E}"/>
          </ac:spMkLst>
        </pc:spChg>
        <pc:spChg chg="del">
          <ac:chgData name="Bob Ward" userId="6da7c2dd-8e2e-469f-a216-c384312e2a2d" providerId="ADAL" clId="{CC07BEAC-85A7-44E0-BC28-578FC3DF3703}" dt="2019-02-23T18:35:21.125" v="17865" actId="478"/>
          <ac:spMkLst>
            <pc:docMk/>
            <pc:sldMk cId="2309670179" sldId="4396"/>
            <ac:spMk id="38" creationId="{B97FC264-B006-497C-84A2-B29B73B498EE}"/>
          </ac:spMkLst>
        </pc:spChg>
        <pc:spChg chg="del">
          <ac:chgData name="Bob Ward" userId="6da7c2dd-8e2e-469f-a216-c384312e2a2d" providerId="ADAL" clId="{CC07BEAC-85A7-44E0-BC28-578FC3DF3703}" dt="2019-02-23T18:35:18.635" v="17864" actId="478"/>
          <ac:spMkLst>
            <pc:docMk/>
            <pc:sldMk cId="2309670179" sldId="4396"/>
            <ac:spMk id="39" creationId="{137BE0CE-AC4E-445E-B4DB-87BD4BA8F8BF}"/>
          </ac:spMkLst>
        </pc:spChg>
        <pc:spChg chg="ord">
          <ac:chgData name="Bob Ward" userId="6da7c2dd-8e2e-469f-a216-c384312e2a2d" providerId="ADAL" clId="{CC07BEAC-85A7-44E0-BC28-578FC3DF3703}" dt="2019-02-21T03:42:26.847" v="14595" actId="166"/>
          <ac:spMkLst>
            <pc:docMk/>
            <pc:sldMk cId="2309670179" sldId="4396"/>
            <ac:spMk id="42" creationId="{A383E645-A5D4-40E5-A485-3CEA6AF8E19B}"/>
          </ac:spMkLst>
        </pc:spChg>
        <pc:spChg chg="add mod">
          <ac:chgData name="Bob Ward" userId="6da7c2dd-8e2e-469f-a216-c384312e2a2d" providerId="ADAL" clId="{CC07BEAC-85A7-44E0-BC28-578FC3DF3703}" dt="2019-02-21T03:41:52.069" v="14591" actId="1076"/>
          <ac:spMkLst>
            <pc:docMk/>
            <pc:sldMk cId="2309670179" sldId="4396"/>
            <ac:spMk id="48" creationId="{24EF2D87-D1D7-4856-A6FC-E621F45E31A1}"/>
          </ac:spMkLst>
        </pc:spChg>
        <pc:spChg chg="add del">
          <ac:chgData name="Bob Ward" userId="6da7c2dd-8e2e-469f-a216-c384312e2a2d" providerId="ADAL" clId="{CC07BEAC-85A7-44E0-BC28-578FC3DF3703}" dt="2019-02-23T18:30:03.746" v="17830"/>
          <ac:spMkLst>
            <pc:docMk/>
            <pc:sldMk cId="2309670179" sldId="4396"/>
            <ac:spMk id="50" creationId="{FEA6C406-E109-4D63-8BF9-B4B15AE0CD8B}"/>
          </ac:spMkLst>
        </pc:spChg>
        <pc:picChg chg="add mod">
          <ac:chgData name="Bob Ward" userId="6da7c2dd-8e2e-469f-a216-c384312e2a2d" providerId="ADAL" clId="{CC07BEAC-85A7-44E0-BC28-578FC3DF3703}" dt="2019-02-23T18:30:18.437" v="17836" actId="1076"/>
          <ac:picMkLst>
            <pc:docMk/>
            <pc:sldMk cId="2309670179" sldId="4396"/>
            <ac:picMk id="6" creationId="{CC320B00-366A-486B-BA27-098F80E342E4}"/>
          </ac:picMkLst>
        </pc:picChg>
        <pc:picChg chg="add del mod">
          <ac:chgData name="Bob Ward" userId="6da7c2dd-8e2e-469f-a216-c384312e2a2d" providerId="ADAL" clId="{CC07BEAC-85A7-44E0-BC28-578FC3DF3703}" dt="2019-02-23T18:30:30.374" v="17839" actId="478"/>
          <ac:picMkLst>
            <pc:docMk/>
            <pc:sldMk cId="2309670179" sldId="4396"/>
            <ac:picMk id="13" creationId="{85E12E04-CFF7-41A6-BB61-50DDFCB43B7C}"/>
          </ac:picMkLst>
        </pc:picChg>
        <pc:picChg chg="add mod">
          <ac:chgData name="Bob Ward" userId="6da7c2dd-8e2e-469f-a216-c384312e2a2d" providerId="ADAL" clId="{CC07BEAC-85A7-44E0-BC28-578FC3DF3703}" dt="2019-02-21T03:40:29.211" v="14570" actId="1076"/>
          <ac:picMkLst>
            <pc:docMk/>
            <pc:sldMk cId="2309670179" sldId="4396"/>
            <ac:picMk id="47" creationId="{7D402E50-1024-4B1D-9254-8BE3D9BD28AC}"/>
          </ac:picMkLst>
        </pc:picChg>
        <pc:picChg chg="add mod">
          <ac:chgData name="Bob Ward" userId="6da7c2dd-8e2e-469f-a216-c384312e2a2d" providerId="ADAL" clId="{CC07BEAC-85A7-44E0-BC28-578FC3DF3703}" dt="2019-02-23T18:31:58.300" v="17844" actId="1076"/>
          <ac:picMkLst>
            <pc:docMk/>
            <pc:sldMk cId="2309670179" sldId="4396"/>
            <ac:picMk id="51" creationId="{FCF2BA87-1D7F-4231-AEE3-B2A8FF27990C}"/>
          </ac:picMkLst>
        </pc:picChg>
        <pc:picChg chg="add mod">
          <ac:chgData name="Bob Ward" userId="6da7c2dd-8e2e-469f-a216-c384312e2a2d" providerId="ADAL" clId="{CC07BEAC-85A7-44E0-BC28-578FC3DF3703}" dt="2019-02-23T18:32:03.909" v="17846" actId="1076"/>
          <ac:picMkLst>
            <pc:docMk/>
            <pc:sldMk cId="2309670179" sldId="4396"/>
            <ac:picMk id="52" creationId="{FD598B24-9BD4-4DC7-9289-8659C9C71BAB}"/>
          </ac:picMkLst>
        </pc:picChg>
        <pc:picChg chg="add mod">
          <ac:chgData name="Bob Ward" userId="6da7c2dd-8e2e-469f-a216-c384312e2a2d" providerId="ADAL" clId="{CC07BEAC-85A7-44E0-BC28-578FC3DF3703}" dt="2019-02-23T18:31:52.122" v="17842" actId="1076"/>
          <ac:picMkLst>
            <pc:docMk/>
            <pc:sldMk cId="2309670179" sldId="4396"/>
            <ac:picMk id="2050" creationId="{A105F8B1-8AD3-4229-ADD7-31E61CF69FEC}"/>
          </ac:picMkLst>
        </pc:picChg>
        <pc:cxnChg chg="mod">
          <ac:chgData name="Bob Ward" userId="6da7c2dd-8e2e-469f-a216-c384312e2a2d" providerId="ADAL" clId="{CC07BEAC-85A7-44E0-BC28-578FC3DF3703}" dt="2019-02-23T18:35:21.125" v="17865" actId="478"/>
          <ac:cxnSpMkLst>
            <pc:docMk/>
            <pc:sldMk cId="2309670179" sldId="4396"/>
            <ac:cxnSpMk id="4" creationId="{DB21E19B-99E2-449E-A489-4F14D227BE20}"/>
          </ac:cxnSpMkLst>
        </pc:cxnChg>
        <pc:cxnChg chg="mod">
          <ac:chgData name="Bob Ward" userId="6da7c2dd-8e2e-469f-a216-c384312e2a2d" providerId="ADAL" clId="{CC07BEAC-85A7-44E0-BC28-578FC3DF3703}" dt="2019-02-23T18:35:21.125" v="17865" actId="478"/>
          <ac:cxnSpMkLst>
            <pc:docMk/>
            <pc:sldMk cId="2309670179" sldId="4396"/>
            <ac:cxnSpMk id="46" creationId="{7CA20319-FA35-4F08-AD0C-2EB00ED0C958}"/>
          </ac:cxnSpMkLst>
        </pc:cxnChg>
        <pc:cxnChg chg="add mod">
          <ac:chgData name="Bob Ward" userId="6da7c2dd-8e2e-469f-a216-c384312e2a2d" providerId="ADAL" clId="{CC07BEAC-85A7-44E0-BC28-578FC3DF3703}" dt="2019-02-21T03:43:15.393" v="14598" actId="14100"/>
          <ac:cxnSpMkLst>
            <pc:docMk/>
            <pc:sldMk cId="2309670179" sldId="4396"/>
            <ac:cxnSpMk id="49" creationId="{91A964A6-FE29-479C-98F4-D2A3DB6B5E49}"/>
          </ac:cxnSpMkLst>
        </pc:cxnChg>
      </pc:sldChg>
      <pc:sldChg chg="modSp">
        <pc:chgData name="Bob Ward" userId="6da7c2dd-8e2e-469f-a216-c384312e2a2d" providerId="ADAL" clId="{CC07BEAC-85A7-44E0-BC28-578FC3DF3703}" dt="2019-01-21T15:24:34.361" v="611" actId="20577"/>
        <pc:sldMkLst>
          <pc:docMk/>
          <pc:sldMk cId="537828195" sldId="4509"/>
        </pc:sldMkLst>
        <pc:spChg chg="mod">
          <ac:chgData name="Bob Ward" userId="6da7c2dd-8e2e-469f-a216-c384312e2a2d" providerId="ADAL" clId="{CC07BEAC-85A7-44E0-BC28-578FC3DF3703}" dt="2019-01-21T15:24:34.361" v="611" actId="20577"/>
          <ac:spMkLst>
            <pc:docMk/>
            <pc:sldMk cId="537828195" sldId="4509"/>
            <ac:spMk id="85" creationId="{3D54A1AD-66A3-914A-89E4-ECF2FCCC692D}"/>
          </ac:spMkLst>
        </pc:spChg>
      </pc:sldChg>
      <pc:sldChg chg="modSp add del ord">
        <pc:chgData name="Bob Ward" userId="6da7c2dd-8e2e-469f-a216-c384312e2a2d" providerId="ADAL" clId="{CC07BEAC-85A7-44E0-BC28-578FC3DF3703}" dt="2019-02-21T03:33:02.718" v="14396"/>
        <pc:sldMkLst>
          <pc:docMk/>
          <pc:sldMk cId="3044339129" sldId="4512"/>
        </pc:sldMkLst>
        <pc:spChg chg="mod">
          <ac:chgData name="Bob Ward" userId="6da7c2dd-8e2e-469f-a216-c384312e2a2d" providerId="ADAL" clId="{CC07BEAC-85A7-44E0-BC28-578FC3DF3703}" dt="2019-02-13T23:28:41.466" v="3989" actId="6549"/>
          <ac:spMkLst>
            <pc:docMk/>
            <pc:sldMk cId="3044339129" sldId="4512"/>
            <ac:spMk id="3" creationId="{0326F37C-242E-4D5C-9985-21ADC1F94314}"/>
          </ac:spMkLst>
        </pc:spChg>
      </pc:sldChg>
      <pc:sldChg chg="del">
        <pc:chgData name="Bob Ward" userId="6da7c2dd-8e2e-469f-a216-c384312e2a2d" providerId="ADAL" clId="{CC07BEAC-85A7-44E0-BC28-578FC3DF3703}" dt="2019-02-13T21:41:15.757" v="3710" actId="2696"/>
        <pc:sldMkLst>
          <pc:docMk/>
          <pc:sldMk cId="4023305083" sldId="4524"/>
        </pc:sldMkLst>
      </pc:sldChg>
      <pc:sldChg chg="add">
        <pc:chgData name="Bob Ward" userId="6da7c2dd-8e2e-469f-a216-c384312e2a2d" providerId="ADAL" clId="{CC07BEAC-85A7-44E0-BC28-578FC3DF3703}" dt="2019-02-19T20:55:09.369" v="6376"/>
        <pc:sldMkLst>
          <pc:docMk/>
          <pc:sldMk cId="557497803" sldId="4546"/>
        </pc:sldMkLst>
      </pc:sldChg>
      <pc:sldChg chg="add del">
        <pc:chgData name="Bob Ward" userId="6da7c2dd-8e2e-469f-a216-c384312e2a2d" providerId="ADAL" clId="{CC07BEAC-85A7-44E0-BC28-578FC3DF3703}" dt="2019-02-19T20:53:59.448" v="6373"/>
        <pc:sldMkLst>
          <pc:docMk/>
          <pc:sldMk cId="2774680130" sldId="4547"/>
        </pc:sldMkLst>
      </pc:sldChg>
      <pc:sldChg chg="addSp delSp modSp addAnim delAnim modAnim modNotesTx">
        <pc:chgData name="Bob Ward" userId="6da7c2dd-8e2e-469f-a216-c384312e2a2d" providerId="ADAL" clId="{CC07BEAC-85A7-44E0-BC28-578FC3DF3703}" dt="2019-02-21T02:51:46.182" v="13075" actId="6549"/>
        <pc:sldMkLst>
          <pc:docMk/>
          <pc:sldMk cId="2849558357" sldId="4670"/>
        </pc:sldMkLst>
        <pc:spChg chg="add del">
          <ac:chgData name="Bob Ward" userId="6da7c2dd-8e2e-469f-a216-c384312e2a2d" providerId="ADAL" clId="{CC07BEAC-85A7-44E0-BC28-578FC3DF3703}" dt="2019-02-19T22:52:01.923" v="7945" actId="478"/>
          <ac:spMkLst>
            <pc:docMk/>
            <pc:sldMk cId="2849558357" sldId="4670"/>
            <ac:spMk id="4" creationId="{8A62B52D-95CB-8C4E-977F-7E0141C0C1E7}"/>
          </ac:spMkLst>
        </pc:spChg>
        <pc:spChg chg="mod">
          <ac:chgData name="Bob Ward" userId="6da7c2dd-8e2e-469f-a216-c384312e2a2d" providerId="ADAL" clId="{CC07BEAC-85A7-44E0-BC28-578FC3DF3703}" dt="2019-02-19T23:44:29.776" v="7964" actId="20577"/>
          <ac:spMkLst>
            <pc:docMk/>
            <pc:sldMk cId="2849558357" sldId="4670"/>
            <ac:spMk id="6" creationId="{00000000-0000-0000-0000-000000000000}"/>
          </ac:spMkLst>
        </pc:spChg>
        <pc:spChg chg="add del">
          <ac:chgData name="Bob Ward" userId="6da7c2dd-8e2e-469f-a216-c384312e2a2d" providerId="ADAL" clId="{CC07BEAC-85A7-44E0-BC28-578FC3DF3703}" dt="2019-02-19T22:52:02.321" v="7946" actId="478"/>
          <ac:spMkLst>
            <pc:docMk/>
            <pc:sldMk cId="2849558357" sldId="4670"/>
            <ac:spMk id="7" creationId="{A304EC1A-A7CE-2647-ABB8-844B21BB62CE}"/>
          </ac:spMkLst>
        </pc:spChg>
        <pc:spChg chg="add del">
          <ac:chgData name="Bob Ward" userId="6da7c2dd-8e2e-469f-a216-c384312e2a2d" providerId="ADAL" clId="{CC07BEAC-85A7-44E0-BC28-578FC3DF3703}" dt="2019-02-19T22:52:01.923" v="7945" actId="478"/>
          <ac:spMkLst>
            <pc:docMk/>
            <pc:sldMk cId="2849558357" sldId="4670"/>
            <ac:spMk id="8" creationId="{30479CBA-FAEE-584C-8313-E41B890A8435}"/>
          </ac:spMkLst>
        </pc:spChg>
        <pc:spChg chg="add del">
          <ac:chgData name="Bob Ward" userId="6da7c2dd-8e2e-469f-a216-c384312e2a2d" providerId="ADAL" clId="{CC07BEAC-85A7-44E0-BC28-578FC3DF3703}" dt="2019-02-19T22:52:02.321" v="7946" actId="478"/>
          <ac:spMkLst>
            <pc:docMk/>
            <pc:sldMk cId="2849558357" sldId="4670"/>
            <ac:spMk id="10" creationId="{ADE20943-3BAD-4093-967B-EAAA88156D2C}"/>
          </ac:spMkLst>
        </pc:spChg>
        <pc:spChg chg="add del">
          <ac:chgData name="Bob Ward" userId="6da7c2dd-8e2e-469f-a216-c384312e2a2d" providerId="ADAL" clId="{CC07BEAC-85A7-44E0-BC28-578FC3DF3703}" dt="2019-02-19T22:52:01.923" v="7945" actId="478"/>
          <ac:spMkLst>
            <pc:docMk/>
            <pc:sldMk cId="2849558357" sldId="4670"/>
            <ac:spMk id="18" creationId="{A52E3042-0DA3-E449-BA5C-0C794C3AFCCF}"/>
          </ac:spMkLst>
        </pc:spChg>
        <pc:spChg chg="add del">
          <ac:chgData name="Bob Ward" userId="6da7c2dd-8e2e-469f-a216-c384312e2a2d" providerId="ADAL" clId="{CC07BEAC-85A7-44E0-BC28-578FC3DF3703}" dt="2019-02-19T22:52:01.923" v="7945" actId="478"/>
          <ac:spMkLst>
            <pc:docMk/>
            <pc:sldMk cId="2849558357" sldId="4670"/>
            <ac:spMk id="19" creationId="{6BB124B6-36F8-1E4D-9984-D86DE4F3E98F}"/>
          </ac:spMkLst>
        </pc:spChg>
        <pc:spChg chg="add del">
          <ac:chgData name="Bob Ward" userId="6da7c2dd-8e2e-469f-a216-c384312e2a2d" providerId="ADAL" clId="{CC07BEAC-85A7-44E0-BC28-578FC3DF3703}" dt="2019-02-19T22:52:01.923" v="7945" actId="478"/>
          <ac:spMkLst>
            <pc:docMk/>
            <pc:sldMk cId="2849558357" sldId="4670"/>
            <ac:spMk id="20" creationId="{24019F77-40A1-DC4D-91A6-44B8AF17E1A8}"/>
          </ac:spMkLst>
        </pc:spChg>
        <pc:spChg chg="add del">
          <ac:chgData name="Bob Ward" userId="6da7c2dd-8e2e-469f-a216-c384312e2a2d" providerId="ADAL" clId="{CC07BEAC-85A7-44E0-BC28-578FC3DF3703}" dt="2019-02-19T22:52:01.923" v="7945" actId="478"/>
          <ac:spMkLst>
            <pc:docMk/>
            <pc:sldMk cId="2849558357" sldId="4670"/>
            <ac:spMk id="21" creationId="{0B892F49-BC1F-3643-8F42-F7E8365387AC}"/>
          </ac:spMkLst>
        </pc:spChg>
        <pc:spChg chg="add del">
          <ac:chgData name="Bob Ward" userId="6da7c2dd-8e2e-469f-a216-c384312e2a2d" providerId="ADAL" clId="{CC07BEAC-85A7-44E0-BC28-578FC3DF3703}" dt="2019-02-19T22:52:01.923" v="7945" actId="478"/>
          <ac:spMkLst>
            <pc:docMk/>
            <pc:sldMk cId="2849558357" sldId="4670"/>
            <ac:spMk id="22" creationId="{DF8E67FE-6F00-AB47-9499-27EB5E89D833}"/>
          </ac:spMkLst>
        </pc:spChg>
        <pc:spChg chg="add del">
          <ac:chgData name="Bob Ward" userId="6da7c2dd-8e2e-469f-a216-c384312e2a2d" providerId="ADAL" clId="{CC07BEAC-85A7-44E0-BC28-578FC3DF3703}" dt="2019-02-19T22:52:01.923" v="7945" actId="478"/>
          <ac:spMkLst>
            <pc:docMk/>
            <pc:sldMk cId="2849558357" sldId="4670"/>
            <ac:spMk id="23" creationId="{0C5A24E6-E42C-EA42-B271-60A4FBA6B135}"/>
          </ac:spMkLst>
        </pc:spChg>
        <pc:spChg chg="add del">
          <ac:chgData name="Bob Ward" userId="6da7c2dd-8e2e-469f-a216-c384312e2a2d" providerId="ADAL" clId="{CC07BEAC-85A7-44E0-BC28-578FC3DF3703}" dt="2019-02-19T22:52:01.923" v="7945" actId="478"/>
          <ac:spMkLst>
            <pc:docMk/>
            <pc:sldMk cId="2849558357" sldId="4670"/>
            <ac:spMk id="34" creationId="{9927CF62-DD5B-3C40-ACE4-60F053D1BDB1}"/>
          </ac:spMkLst>
        </pc:spChg>
        <pc:spChg chg="add del">
          <ac:chgData name="Bob Ward" userId="6da7c2dd-8e2e-469f-a216-c384312e2a2d" providerId="ADAL" clId="{CC07BEAC-85A7-44E0-BC28-578FC3DF3703}" dt="2019-02-19T22:52:01.923" v="7945" actId="478"/>
          <ac:spMkLst>
            <pc:docMk/>
            <pc:sldMk cId="2849558357" sldId="4670"/>
            <ac:spMk id="35" creationId="{87706611-4869-5947-AAB1-95FC48418440}"/>
          </ac:spMkLst>
        </pc:spChg>
        <pc:spChg chg="add del">
          <ac:chgData name="Bob Ward" userId="6da7c2dd-8e2e-469f-a216-c384312e2a2d" providerId="ADAL" clId="{CC07BEAC-85A7-44E0-BC28-578FC3DF3703}" dt="2019-02-19T22:52:01.923" v="7945" actId="478"/>
          <ac:spMkLst>
            <pc:docMk/>
            <pc:sldMk cId="2849558357" sldId="4670"/>
            <ac:spMk id="38" creationId="{6F1817F9-B4C0-BF45-AAAB-538752DA81C5}"/>
          </ac:spMkLst>
        </pc:spChg>
        <pc:spChg chg="add del">
          <ac:chgData name="Bob Ward" userId="6da7c2dd-8e2e-469f-a216-c384312e2a2d" providerId="ADAL" clId="{CC07BEAC-85A7-44E0-BC28-578FC3DF3703}" dt="2019-02-19T22:52:01.923" v="7945" actId="478"/>
          <ac:spMkLst>
            <pc:docMk/>
            <pc:sldMk cId="2849558357" sldId="4670"/>
            <ac:spMk id="39" creationId="{D34AB543-9B39-7C4F-956C-3659623C879E}"/>
          </ac:spMkLst>
        </pc:spChg>
        <pc:spChg chg="add del">
          <ac:chgData name="Bob Ward" userId="6da7c2dd-8e2e-469f-a216-c384312e2a2d" providerId="ADAL" clId="{CC07BEAC-85A7-44E0-BC28-578FC3DF3703}" dt="2019-02-19T22:52:01.923" v="7945" actId="478"/>
          <ac:spMkLst>
            <pc:docMk/>
            <pc:sldMk cId="2849558357" sldId="4670"/>
            <ac:spMk id="53" creationId="{868C1014-66C6-6F40-BA6C-FB54BFBB17EF}"/>
          </ac:spMkLst>
        </pc:spChg>
        <pc:spChg chg="add del">
          <ac:chgData name="Bob Ward" userId="6da7c2dd-8e2e-469f-a216-c384312e2a2d" providerId="ADAL" clId="{CC07BEAC-85A7-44E0-BC28-578FC3DF3703}" dt="2019-02-19T22:52:01.923" v="7945" actId="478"/>
          <ac:spMkLst>
            <pc:docMk/>
            <pc:sldMk cId="2849558357" sldId="4670"/>
            <ac:spMk id="65" creationId="{9D643444-C062-3942-B31D-995A1249D836}"/>
          </ac:spMkLst>
        </pc:spChg>
        <pc:spChg chg="add del">
          <ac:chgData name="Bob Ward" userId="6da7c2dd-8e2e-469f-a216-c384312e2a2d" providerId="ADAL" clId="{CC07BEAC-85A7-44E0-BC28-578FC3DF3703}" dt="2019-02-19T22:52:01.923" v="7945" actId="478"/>
          <ac:spMkLst>
            <pc:docMk/>
            <pc:sldMk cId="2849558357" sldId="4670"/>
            <ac:spMk id="66" creationId="{0C974F9C-50C2-F84C-BA52-9C4D10929426}"/>
          </ac:spMkLst>
        </pc:spChg>
        <pc:spChg chg="add del">
          <ac:chgData name="Bob Ward" userId="6da7c2dd-8e2e-469f-a216-c384312e2a2d" providerId="ADAL" clId="{CC07BEAC-85A7-44E0-BC28-578FC3DF3703}" dt="2019-02-19T22:52:01.923" v="7945" actId="478"/>
          <ac:spMkLst>
            <pc:docMk/>
            <pc:sldMk cId="2849558357" sldId="4670"/>
            <ac:spMk id="71" creationId="{85C93B3F-59B0-7F47-B21E-0434E54B4CDE}"/>
          </ac:spMkLst>
        </pc:spChg>
        <pc:spChg chg="add del">
          <ac:chgData name="Bob Ward" userId="6da7c2dd-8e2e-469f-a216-c384312e2a2d" providerId="ADAL" clId="{CC07BEAC-85A7-44E0-BC28-578FC3DF3703}" dt="2019-02-19T22:52:01.923" v="7945" actId="478"/>
          <ac:spMkLst>
            <pc:docMk/>
            <pc:sldMk cId="2849558357" sldId="4670"/>
            <ac:spMk id="72" creationId="{90CDF9AE-15BC-0B4E-84F6-26A71F973436}"/>
          </ac:spMkLst>
        </pc:spChg>
        <pc:spChg chg="add del">
          <ac:chgData name="Bob Ward" userId="6da7c2dd-8e2e-469f-a216-c384312e2a2d" providerId="ADAL" clId="{CC07BEAC-85A7-44E0-BC28-578FC3DF3703}" dt="2019-02-19T22:52:01.923" v="7945" actId="478"/>
          <ac:spMkLst>
            <pc:docMk/>
            <pc:sldMk cId="2849558357" sldId="4670"/>
            <ac:spMk id="73" creationId="{73302909-689D-AB48-9148-37284FF22EB8}"/>
          </ac:spMkLst>
        </pc:spChg>
        <pc:spChg chg="add del">
          <ac:chgData name="Bob Ward" userId="6da7c2dd-8e2e-469f-a216-c384312e2a2d" providerId="ADAL" clId="{CC07BEAC-85A7-44E0-BC28-578FC3DF3703}" dt="2019-02-19T22:52:01.923" v="7945" actId="478"/>
          <ac:spMkLst>
            <pc:docMk/>
            <pc:sldMk cId="2849558357" sldId="4670"/>
            <ac:spMk id="74" creationId="{599BE885-3CE4-E042-9F10-DEADD0FB7159}"/>
          </ac:spMkLst>
        </pc:spChg>
        <pc:spChg chg="add del">
          <ac:chgData name="Bob Ward" userId="6da7c2dd-8e2e-469f-a216-c384312e2a2d" providerId="ADAL" clId="{CC07BEAC-85A7-44E0-BC28-578FC3DF3703}" dt="2019-02-19T22:52:01.923" v="7945" actId="478"/>
          <ac:spMkLst>
            <pc:docMk/>
            <pc:sldMk cId="2849558357" sldId="4670"/>
            <ac:spMk id="75" creationId="{906227A3-E954-4244-BE63-3DD4E8E3464F}"/>
          </ac:spMkLst>
        </pc:spChg>
        <pc:spChg chg="add del">
          <ac:chgData name="Bob Ward" userId="6da7c2dd-8e2e-469f-a216-c384312e2a2d" providerId="ADAL" clId="{CC07BEAC-85A7-44E0-BC28-578FC3DF3703}" dt="2019-02-19T22:52:01.923" v="7945" actId="478"/>
          <ac:spMkLst>
            <pc:docMk/>
            <pc:sldMk cId="2849558357" sldId="4670"/>
            <ac:spMk id="78" creationId="{450F06FE-8FEB-FD44-9175-57533EC4B178}"/>
          </ac:spMkLst>
        </pc:spChg>
        <pc:spChg chg="add del">
          <ac:chgData name="Bob Ward" userId="6da7c2dd-8e2e-469f-a216-c384312e2a2d" providerId="ADAL" clId="{CC07BEAC-85A7-44E0-BC28-578FC3DF3703}" dt="2019-02-19T22:52:01.923" v="7945" actId="478"/>
          <ac:spMkLst>
            <pc:docMk/>
            <pc:sldMk cId="2849558357" sldId="4670"/>
            <ac:spMk id="79" creationId="{4CEF4F96-B143-1E40-9F8D-D55DE4C41A19}"/>
          </ac:spMkLst>
        </pc:spChg>
        <pc:spChg chg="add del">
          <ac:chgData name="Bob Ward" userId="6da7c2dd-8e2e-469f-a216-c384312e2a2d" providerId="ADAL" clId="{CC07BEAC-85A7-44E0-BC28-578FC3DF3703}" dt="2019-02-19T22:52:01.923" v="7945" actId="478"/>
          <ac:spMkLst>
            <pc:docMk/>
            <pc:sldMk cId="2849558357" sldId="4670"/>
            <ac:spMk id="80" creationId="{7B7153A3-CF75-DB4A-96C9-ECCAECF79530}"/>
          </ac:spMkLst>
        </pc:spChg>
        <pc:spChg chg="add del">
          <ac:chgData name="Bob Ward" userId="6da7c2dd-8e2e-469f-a216-c384312e2a2d" providerId="ADAL" clId="{CC07BEAC-85A7-44E0-BC28-578FC3DF3703}" dt="2019-02-19T22:52:01.923" v="7945" actId="478"/>
          <ac:spMkLst>
            <pc:docMk/>
            <pc:sldMk cId="2849558357" sldId="4670"/>
            <ac:spMk id="81" creationId="{C11387B4-5E8D-AC40-B606-E4B521C5F301}"/>
          </ac:spMkLst>
        </pc:spChg>
        <pc:spChg chg="add del">
          <ac:chgData name="Bob Ward" userId="6da7c2dd-8e2e-469f-a216-c384312e2a2d" providerId="ADAL" clId="{CC07BEAC-85A7-44E0-BC28-578FC3DF3703}" dt="2019-02-19T22:52:01.923" v="7945" actId="478"/>
          <ac:spMkLst>
            <pc:docMk/>
            <pc:sldMk cId="2849558357" sldId="4670"/>
            <ac:spMk id="82" creationId="{7424CBBF-DEAB-694E-AA24-3BC0689B4A47}"/>
          </ac:spMkLst>
        </pc:spChg>
        <pc:spChg chg="add del">
          <ac:chgData name="Bob Ward" userId="6da7c2dd-8e2e-469f-a216-c384312e2a2d" providerId="ADAL" clId="{CC07BEAC-85A7-44E0-BC28-578FC3DF3703}" dt="2019-02-19T22:52:01.923" v="7945" actId="478"/>
          <ac:spMkLst>
            <pc:docMk/>
            <pc:sldMk cId="2849558357" sldId="4670"/>
            <ac:spMk id="83" creationId="{566738C9-E1BD-48CB-9987-6EDE32E0C229}"/>
          </ac:spMkLst>
        </pc:spChg>
        <pc:spChg chg="add del">
          <ac:chgData name="Bob Ward" userId="6da7c2dd-8e2e-469f-a216-c384312e2a2d" providerId="ADAL" clId="{CC07BEAC-85A7-44E0-BC28-578FC3DF3703}" dt="2019-02-19T22:52:01.923" v="7945" actId="478"/>
          <ac:spMkLst>
            <pc:docMk/>
            <pc:sldMk cId="2849558357" sldId="4670"/>
            <ac:spMk id="85" creationId="{EC662379-BF93-4C2B-887E-1EB0293C0DAE}"/>
          </ac:spMkLst>
        </pc:spChg>
        <pc:spChg chg="add del">
          <ac:chgData name="Bob Ward" userId="6da7c2dd-8e2e-469f-a216-c384312e2a2d" providerId="ADAL" clId="{CC07BEAC-85A7-44E0-BC28-578FC3DF3703}" dt="2019-02-19T22:52:01.923" v="7945" actId="478"/>
          <ac:spMkLst>
            <pc:docMk/>
            <pc:sldMk cId="2849558357" sldId="4670"/>
            <ac:spMk id="89" creationId="{41AF4ABE-F05A-4693-A474-D881230B68F0}"/>
          </ac:spMkLst>
        </pc:spChg>
        <pc:grpChg chg="add del">
          <ac:chgData name="Bob Ward" userId="6da7c2dd-8e2e-469f-a216-c384312e2a2d" providerId="ADAL" clId="{CC07BEAC-85A7-44E0-BC28-578FC3DF3703}" dt="2019-02-19T22:52:01.923" v="7945" actId="478"/>
          <ac:grpSpMkLst>
            <pc:docMk/>
            <pc:sldMk cId="2849558357" sldId="4670"/>
            <ac:grpSpMk id="57" creationId="{9E6DDDEF-F4F0-BD4E-9C19-8E856A54DBCD}"/>
          </ac:grpSpMkLst>
        </pc:grpChg>
        <pc:grpChg chg="add del">
          <ac:chgData name="Bob Ward" userId="6da7c2dd-8e2e-469f-a216-c384312e2a2d" providerId="ADAL" clId="{CC07BEAC-85A7-44E0-BC28-578FC3DF3703}" dt="2019-02-19T22:52:01.923" v="7945" actId="478"/>
          <ac:grpSpMkLst>
            <pc:docMk/>
            <pc:sldMk cId="2849558357" sldId="4670"/>
            <ac:grpSpMk id="58" creationId="{602F9412-A8A4-4510-8D0F-8A770C952F79}"/>
          </ac:grpSpMkLst>
        </pc:grpChg>
        <pc:grpChg chg="add del">
          <ac:chgData name="Bob Ward" userId="6da7c2dd-8e2e-469f-a216-c384312e2a2d" providerId="ADAL" clId="{CC07BEAC-85A7-44E0-BC28-578FC3DF3703}" dt="2019-02-19T22:52:01.923" v="7945" actId="478"/>
          <ac:grpSpMkLst>
            <pc:docMk/>
            <pc:sldMk cId="2849558357" sldId="4670"/>
            <ac:grpSpMk id="70" creationId="{916411EB-E209-4DBD-A89C-2D1443FADC11}"/>
          </ac:grpSpMkLst>
        </pc:grpChg>
        <pc:grpChg chg="add del">
          <ac:chgData name="Bob Ward" userId="6da7c2dd-8e2e-469f-a216-c384312e2a2d" providerId="ADAL" clId="{CC07BEAC-85A7-44E0-BC28-578FC3DF3703}" dt="2019-02-19T22:52:01.923" v="7945" actId="478"/>
          <ac:grpSpMkLst>
            <pc:docMk/>
            <pc:sldMk cId="2849558357" sldId="4670"/>
            <ac:grpSpMk id="141" creationId="{39AEC6FD-3DA7-43D2-A757-0FE4DC11CB37}"/>
          </ac:grpSpMkLst>
        </pc:grpChg>
        <pc:grpChg chg="add del">
          <ac:chgData name="Bob Ward" userId="6da7c2dd-8e2e-469f-a216-c384312e2a2d" providerId="ADAL" clId="{CC07BEAC-85A7-44E0-BC28-578FC3DF3703}" dt="2019-02-19T22:52:01.923" v="7945" actId="478"/>
          <ac:grpSpMkLst>
            <pc:docMk/>
            <pc:sldMk cId="2849558357" sldId="4670"/>
            <ac:grpSpMk id="142" creationId="{B2D4E7EF-FF68-461C-9664-A153C298CC21}"/>
          </ac:grpSpMkLst>
        </pc:grpChg>
        <pc:cxnChg chg="add del mod">
          <ac:chgData name="Bob Ward" userId="6da7c2dd-8e2e-469f-a216-c384312e2a2d" providerId="ADAL" clId="{CC07BEAC-85A7-44E0-BC28-578FC3DF3703}" dt="2019-02-19T22:52:01.923" v="7945" actId="478"/>
          <ac:cxnSpMkLst>
            <pc:docMk/>
            <pc:sldMk cId="2849558357" sldId="4670"/>
            <ac:cxnSpMk id="25" creationId="{1A42EA53-AD29-4FFB-ACFF-58C8A657938F}"/>
          </ac:cxnSpMkLst>
        </pc:cxnChg>
        <pc:cxnChg chg="add del mod">
          <ac:chgData name="Bob Ward" userId="6da7c2dd-8e2e-469f-a216-c384312e2a2d" providerId="ADAL" clId="{CC07BEAC-85A7-44E0-BC28-578FC3DF3703}" dt="2019-02-19T22:52:01.923" v="7945" actId="478"/>
          <ac:cxnSpMkLst>
            <pc:docMk/>
            <pc:sldMk cId="2849558357" sldId="4670"/>
            <ac:cxnSpMk id="40" creationId="{F2CEFD97-E100-2344-8D11-ED84C72D9AF4}"/>
          </ac:cxnSpMkLst>
        </pc:cxnChg>
        <pc:cxnChg chg="add del">
          <ac:chgData name="Bob Ward" userId="6da7c2dd-8e2e-469f-a216-c384312e2a2d" providerId="ADAL" clId="{CC07BEAC-85A7-44E0-BC28-578FC3DF3703}" dt="2019-02-19T22:52:01.923" v="7945" actId="478"/>
          <ac:cxnSpMkLst>
            <pc:docMk/>
            <pc:sldMk cId="2849558357" sldId="4670"/>
            <ac:cxnSpMk id="42" creationId="{BD72A5ED-6366-D54F-AFCC-D1E91173A896}"/>
          </ac:cxnSpMkLst>
        </pc:cxnChg>
        <pc:cxnChg chg="add del">
          <ac:chgData name="Bob Ward" userId="6da7c2dd-8e2e-469f-a216-c384312e2a2d" providerId="ADAL" clId="{CC07BEAC-85A7-44E0-BC28-578FC3DF3703}" dt="2019-02-19T22:52:01.923" v="7945" actId="478"/>
          <ac:cxnSpMkLst>
            <pc:docMk/>
            <pc:sldMk cId="2849558357" sldId="4670"/>
            <ac:cxnSpMk id="44" creationId="{8B580124-ECA6-9349-A9E9-C1A5233E3184}"/>
          </ac:cxnSpMkLst>
        </pc:cxnChg>
        <pc:cxnChg chg="add del mod">
          <ac:chgData name="Bob Ward" userId="6da7c2dd-8e2e-469f-a216-c384312e2a2d" providerId="ADAL" clId="{CC07BEAC-85A7-44E0-BC28-578FC3DF3703}" dt="2019-02-19T22:52:01.923" v="7945" actId="478"/>
          <ac:cxnSpMkLst>
            <pc:docMk/>
            <pc:sldMk cId="2849558357" sldId="4670"/>
            <ac:cxnSpMk id="45" creationId="{71BB703E-EBB5-9D44-B0EC-054915C2FE64}"/>
          </ac:cxnSpMkLst>
        </pc:cxnChg>
        <pc:cxnChg chg="add del mod">
          <ac:chgData name="Bob Ward" userId="6da7c2dd-8e2e-469f-a216-c384312e2a2d" providerId="ADAL" clId="{CC07BEAC-85A7-44E0-BC28-578FC3DF3703}" dt="2019-02-19T22:52:01.923" v="7945" actId="478"/>
          <ac:cxnSpMkLst>
            <pc:docMk/>
            <pc:sldMk cId="2849558357" sldId="4670"/>
            <ac:cxnSpMk id="59" creationId="{4298A196-1D94-4F61-BC74-8A41809BA852}"/>
          </ac:cxnSpMkLst>
        </pc:cxnChg>
        <pc:cxnChg chg="add del mod">
          <ac:chgData name="Bob Ward" userId="6da7c2dd-8e2e-469f-a216-c384312e2a2d" providerId="ADAL" clId="{CC07BEAC-85A7-44E0-BC28-578FC3DF3703}" dt="2019-02-19T22:52:01.923" v="7945" actId="478"/>
          <ac:cxnSpMkLst>
            <pc:docMk/>
            <pc:sldMk cId="2849558357" sldId="4670"/>
            <ac:cxnSpMk id="76" creationId="{EDB4966A-25C5-4B5C-8174-E7E23A83CA92}"/>
          </ac:cxnSpMkLst>
        </pc:cxnChg>
        <pc:cxnChg chg="add del mod">
          <ac:chgData name="Bob Ward" userId="6da7c2dd-8e2e-469f-a216-c384312e2a2d" providerId="ADAL" clId="{CC07BEAC-85A7-44E0-BC28-578FC3DF3703}" dt="2019-02-19T22:52:01.923" v="7945" actId="478"/>
          <ac:cxnSpMkLst>
            <pc:docMk/>
            <pc:sldMk cId="2849558357" sldId="4670"/>
            <ac:cxnSpMk id="97" creationId="{29CE2F97-D213-C440-92EE-EA41762568CD}"/>
          </ac:cxnSpMkLst>
        </pc:cxnChg>
        <pc:cxnChg chg="mod">
          <ac:chgData name="Bob Ward" userId="6da7c2dd-8e2e-469f-a216-c384312e2a2d" providerId="ADAL" clId="{CC07BEAC-85A7-44E0-BC28-578FC3DF3703}" dt="2019-02-19T22:52:01.923" v="7945" actId="478"/>
          <ac:cxnSpMkLst>
            <pc:docMk/>
            <pc:sldMk cId="2849558357" sldId="4670"/>
            <ac:cxnSpMk id="114" creationId="{CBC3401E-A63A-4E8A-8745-2D93F37AFF0D}"/>
          </ac:cxnSpMkLst>
        </pc:cxnChg>
      </pc:sldChg>
      <pc:sldChg chg="modSp add del modNotesTx">
        <pc:chgData name="Bob Ward" userId="6da7c2dd-8e2e-469f-a216-c384312e2a2d" providerId="ADAL" clId="{CC07BEAC-85A7-44E0-BC28-578FC3DF3703}" dt="2019-02-21T19:26:09.796" v="17069" actId="20577"/>
        <pc:sldMkLst>
          <pc:docMk/>
          <pc:sldMk cId="462353666" sldId="4671"/>
        </pc:sldMkLst>
        <pc:spChg chg="mod">
          <ac:chgData name="Bob Ward" userId="6da7c2dd-8e2e-469f-a216-c384312e2a2d" providerId="ADAL" clId="{CC07BEAC-85A7-44E0-BC28-578FC3DF3703}" dt="2019-02-13T20:39:54.393" v="2911" actId="20577"/>
          <ac:spMkLst>
            <pc:docMk/>
            <pc:sldMk cId="462353666" sldId="4671"/>
            <ac:spMk id="4" creationId="{3FD460F1-8934-4D85-9E6B-F2F97B124D32}"/>
          </ac:spMkLst>
        </pc:spChg>
      </pc:sldChg>
      <pc:sldChg chg="modNotesTx">
        <pc:chgData name="Bob Ward" userId="6da7c2dd-8e2e-469f-a216-c384312e2a2d" providerId="ADAL" clId="{CC07BEAC-85A7-44E0-BC28-578FC3DF3703}" dt="2019-02-21T19:20:01.380" v="16637" actId="6549"/>
        <pc:sldMkLst>
          <pc:docMk/>
          <pc:sldMk cId="3986034393" sldId="4672"/>
        </pc:sldMkLst>
      </pc:sldChg>
      <pc:sldChg chg="modSp ord modNotesTx">
        <pc:chgData name="Bob Ward" userId="6da7c2dd-8e2e-469f-a216-c384312e2a2d" providerId="ADAL" clId="{CC07BEAC-85A7-44E0-BC28-578FC3DF3703}" dt="2019-02-21T03:05:13.899" v="13429" actId="6549"/>
        <pc:sldMkLst>
          <pc:docMk/>
          <pc:sldMk cId="4126442811" sldId="4673"/>
        </pc:sldMkLst>
        <pc:spChg chg="mod">
          <ac:chgData name="Bob Ward" userId="6da7c2dd-8e2e-469f-a216-c384312e2a2d" providerId="ADAL" clId="{CC07BEAC-85A7-44E0-BC28-578FC3DF3703}" dt="2019-02-13T21:41:42.287" v="3753" actId="20577"/>
          <ac:spMkLst>
            <pc:docMk/>
            <pc:sldMk cId="4126442811" sldId="4673"/>
            <ac:spMk id="2" creationId="{131DE104-D85B-43D4-AC99-58903696A798}"/>
          </ac:spMkLst>
        </pc:spChg>
      </pc:sldChg>
      <pc:sldChg chg="modSp">
        <pc:chgData name="Bob Ward" userId="6da7c2dd-8e2e-469f-a216-c384312e2a2d" providerId="ADAL" clId="{CC07BEAC-85A7-44E0-BC28-578FC3DF3703}" dt="2019-02-13T20:42:25.648" v="2915" actId="20577"/>
        <pc:sldMkLst>
          <pc:docMk/>
          <pc:sldMk cId="1126219469" sldId="4674"/>
        </pc:sldMkLst>
        <pc:spChg chg="mod">
          <ac:chgData name="Bob Ward" userId="6da7c2dd-8e2e-469f-a216-c384312e2a2d" providerId="ADAL" clId="{CC07BEAC-85A7-44E0-BC28-578FC3DF3703}" dt="2019-02-13T20:42:25.648" v="2915" actId="20577"/>
          <ac:spMkLst>
            <pc:docMk/>
            <pc:sldMk cId="1126219469" sldId="4674"/>
            <ac:spMk id="2" creationId="{131DE104-D85B-43D4-AC99-58903696A798}"/>
          </ac:spMkLst>
        </pc:spChg>
      </pc:sldChg>
      <pc:sldChg chg="modSp">
        <pc:chgData name="Bob Ward" userId="6da7c2dd-8e2e-469f-a216-c384312e2a2d" providerId="ADAL" clId="{CC07BEAC-85A7-44E0-BC28-578FC3DF3703}" dt="2019-02-13T21:30:10.196" v="2996" actId="6549"/>
        <pc:sldMkLst>
          <pc:docMk/>
          <pc:sldMk cId="1489928992" sldId="4675"/>
        </pc:sldMkLst>
        <pc:spChg chg="mod">
          <ac:chgData name="Bob Ward" userId="6da7c2dd-8e2e-469f-a216-c384312e2a2d" providerId="ADAL" clId="{CC07BEAC-85A7-44E0-BC28-578FC3DF3703}" dt="2019-02-13T21:30:10.196" v="2996" actId="6549"/>
          <ac:spMkLst>
            <pc:docMk/>
            <pc:sldMk cId="1489928992" sldId="4675"/>
            <ac:spMk id="2" creationId="{131DE104-D85B-43D4-AC99-58903696A798}"/>
          </ac:spMkLst>
        </pc:spChg>
      </pc:sldChg>
      <pc:sldChg chg="modSp">
        <pc:chgData name="Bob Ward" userId="6da7c2dd-8e2e-469f-a216-c384312e2a2d" providerId="ADAL" clId="{CC07BEAC-85A7-44E0-BC28-578FC3DF3703}" dt="2019-02-13T21:37:02.869" v="3120" actId="20577"/>
        <pc:sldMkLst>
          <pc:docMk/>
          <pc:sldMk cId="2723179339" sldId="4676"/>
        </pc:sldMkLst>
        <pc:spChg chg="mod">
          <ac:chgData name="Bob Ward" userId="6da7c2dd-8e2e-469f-a216-c384312e2a2d" providerId="ADAL" clId="{CC07BEAC-85A7-44E0-BC28-578FC3DF3703}" dt="2019-02-13T21:37:02.869" v="3120" actId="20577"/>
          <ac:spMkLst>
            <pc:docMk/>
            <pc:sldMk cId="2723179339" sldId="4676"/>
            <ac:spMk id="2" creationId="{131DE104-D85B-43D4-AC99-58903696A798}"/>
          </ac:spMkLst>
        </pc:spChg>
      </pc:sldChg>
      <pc:sldChg chg="modSp">
        <pc:chgData name="Bob Ward" userId="6da7c2dd-8e2e-469f-a216-c384312e2a2d" providerId="ADAL" clId="{CC07BEAC-85A7-44E0-BC28-578FC3DF3703}" dt="2019-02-13T21:39:18.808" v="3460" actId="20577"/>
        <pc:sldMkLst>
          <pc:docMk/>
          <pc:sldMk cId="3139904282" sldId="4677"/>
        </pc:sldMkLst>
        <pc:spChg chg="mod">
          <ac:chgData name="Bob Ward" userId="6da7c2dd-8e2e-469f-a216-c384312e2a2d" providerId="ADAL" clId="{CC07BEAC-85A7-44E0-BC28-578FC3DF3703}" dt="2019-02-13T21:39:18.808" v="3460" actId="20577"/>
          <ac:spMkLst>
            <pc:docMk/>
            <pc:sldMk cId="3139904282" sldId="4677"/>
            <ac:spMk id="2" creationId="{131DE104-D85B-43D4-AC99-58903696A798}"/>
          </ac:spMkLst>
        </pc:spChg>
      </pc:sldChg>
      <pc:sldChg chg="modSp">
        <pc:chgData name="Bob Ward" userId="6da7c2dd-8e2e-469f-a216-c384312e2a2d" providerId="ADAL" clId="{CC07BEAC-85A7-44E0-BC28-578FC3DF3703}" dt="2019-02-13T21:41:11.269" v="3709" actId="6549"/>
        <pc:sldMkLst>
          <pc:docMk/>
          <pc:sldMk cId="2957100619" sldId="4678"/>
        </pc:sldMkLst>
        <pc:spChg chg="mod">
          <ac:chgData name="Bob Ward" userId="6da7c2dd-8e2e-469f-a216-c384312e2a2d" providerId="ADAL" clId="{CC07BEAC-85A7-44E0-BC28-578FC3DF3703}" dt="2019-02-13T21:41:11.269" v="3709" actId="6549"/>
          <ac:spMkLst>
            <pc:docMk/>
            <pc:sldMk cId="2957100619" sldId="4678"/>
            <ac:spMk id="2" creationId="{131DE104-D85B-43D4-AC99-58903696A798}"/>
          </ac:spMkLst>
        </pc:spChg>
      </pc:sldChg>
      <pc:sldChg chg="modSp">
        <pc:chgData name="Bob Ward" userId="6da7c2dd-8e2e-469f-a216-c384312e2a2d" providerId="ADAL" clId="{CC07BEAC-85A7-44E0-BC28-578FC3DF3703}" dt="2019-02-14T00:01:06.219" v="5854" actId="20577"/>
        <pc:sldMkLst>
          <pc:docMk/>
          <pc:sldMk cId="1195019611" sldId="4679"/>
        </pc:sldMkLst>
        <pc:spChg chg="mod">
          <ac:chgData name="Bob Ward" userId="6da7c2dd-8e2e-469f-a216-c384312e2a2d" providerId="ADAL" clId="{CC07BEAC-85A7-44E0-BC28-578FC3DF3703}" dt="2019-02-14T00:01:06.219" v="5854" actId="20577"/>
          <ac:spMkLst>
            <pc:docMk/>
            <pc:sldMk cId="1195019611" sldId="4679"/>
            <ac:spMk id="2" creationId="{131DE104-D85B-43D4-AC99-58903696A798}"/>
          </ac:spMkLst>
        </pc:spChg>
      </pc:sldChg>
      <pc:sldChg chg="modSp modNotesTx">
        <pc:chgData name="Bob Ward" userId="6da7c2dd-8e2e-469f-a216-c384312e2a2d" providerId="ADAL" clId="{CC07BEAC-85A7-44E0-BC28-578FC3DF3703}" dt="2019-02-23T19:57:56.676" v="18464" actId="20577"/>
        <pc:sldMkLst>
          <pc:docMk/>
          <pc:sldMk cId="737723831" sldId="4680"/>
        </pc:sldMkLst>
        <pc:spChg chg="mod">
          <ac:chgData name="Bob Ward" userId="6da7c2dd-8e2e-469f-a216-c384312e2a2d" providerId="ADAL" clId="{CC07BEAC-85A7-44E0-BC28-578FC3DF3703}" dt="2019-02-22T01:45:35.867" v="17121" actId="20577"/>
          <ac:spMkLst>
            <pc:docMk/>
            <pc:sldMk cId="737723831" sldId="4680"/>
            <ac:spMk id="3" creationId="{00000000-0000-0000-0000-000000000000}"/>
          </ac:spMkLst>
        </pc:spChg>
        <pc:spChg chg="mod">
          <ac:chgData name="Bob Ward" userId="6da7c2dd-8e2e-469f-a216-c384312e2a2d" providerId="ADAL" clId="{CC07BEAC-85A7-44E0-BC28-578FC3DF3703}" dt="2019-02-19T22:24:33.710" v="7448" actId="20577"/>
          <ac:spMkLst>
            <pc:docMk/>
            <pc:sldMk cId="737723831" sldId="4680"/>
            <ac:spMk id="4" creationId="{00000000-0000-0000-0000-000000000000}"/>
          </ac:spMkLst>
        </pc:spChg>
      </pc:sldChg>
      <pc:sldChg chg="modSp modNotesTx">
        <pc:chgData name="Bob Ward" userId="6da7c2dd-8e2e-469f-a216-c384312e2a2d" providerId="ADAL" clId="{CC07BEAC-85A7-44E0-BC28-578FC3DF3703}" dt="2019-02-23T19:58:20.702" v="18491" actId="20577"/>
        <pc:sldMkLst>
          <pc:docMk/>
          <pc:sldMk cId="3844499360" sldId="4681"/>
        </pc:sldMkLst>
        <pc:spChg chg="mod">
          <ac:chgData name="Bob Ward" userId="6da7c2dd-8e2e-469f-a216-c384312e2a2d" providerId="ADAL" clId="{CC07BEAC-85A7-44E0-BC28-578FC3DF3703}" dt="2019-02-22T02:04:43.321" v="17150" actId="20577"/>
          <ac:spMkLst>
            <pc:docMk/>
            <pc:sldMk cId="3844499360" sldId="4681"/>
            <ac:spMk id="3" creationId="{00000000-0000-0000-0000-000000000000}"/>
          </ac:spMkLst>
        </pc:spChg>
        <pc:spChg chg="mod">
          <ac:chgData name="Bob Ward" userId="6da7c2dd-8e2e-469f-a216-c384312e2a2d" providerId="ADAL" clId="{CC07BEAC-85A7-44E0-BC28-578FC3DF3703}" dt="2019-02-21T04:32:20.215" v="15177" actId="20577"/>
          <ac:spMkLst>
            <pc:docMk/>
            <pc:sldMk cId="3844499360" sldId="4681"/>
            <ac:spMk id="4" creationId="{00000000-0000-0000-0000-000000000000}"/>
          </ac:spMkLst>
        </pc:spChg>
      </pc:sldChg>
      <pc:sldChg chg="modSp ord modNotesTx">
        <pc:chgData name="Bob Ward" userId="6da7c2dd-8e2e-469f-a216-c384312e2a2d" providerId="ADAL" clId="{CC07BEAC-85A7-44E0-BC28-578FC3DF3703}" dt="2019-02-23T19:59:11.562" v="18550" actId="20577"/>
        <pc:sldMkLst>
          <pc:docMk/>
          <pc:sldMk cId="1846894708" sldId="4682"/>
        </pc:sldMkLst>
        <pc:spChg chg="mod">
          <ac:chgData name="Bob Ward" userId="6da7c2dd-8e2e-469f-a216-c384312e2a2d" providerId="ADAL" clId="{CC07BEAC-85A7-44E0-BC28-578FC3DF3703}" dt="2019-02-21T03:09:33.786" v="13529" actId="20577"/>
          <ac:spMkLst>
            <pc:docMk/>
            <pc:sldMk cId="1846894708" sldId="4682"/>
            <ac:spMk id="3" creationId="{00000000-0000-0000-0000-000000000000}"/>
          </ac:spMkLst>
        </pc:spChg>
        <pc:spChg chg="mod">
          <ac:chgData name="Bob Ward" userId="6da7c2dd-8e2e-469f-a216-c384312e2a2d" providerId="ADAL" clId="{CC07BEAC-85A7-44E0-BC28-578FC3DF3703}" dt="2019-02-23T19:53:17.722" v="18394" actId="20577"/>
          <ac:spMkLst>
            <pc:docMk/>
            <pc:sldMk cId="1846894708" sldId="4682"/>
            <ac:spMk id="4" creationId="{00000000-0000-0000-0000-000000000000}"/>
          </ac:spMkLst>
        </pc:spChg>
      </pc:sldChg>
      <pc:sldChg chg="modSp ord modNotesTx">
        <pc:chgData name="Bob Ward" userId="6da7c2dd-8e2e-469f-a216-c384312e2a2d" providerId="ADAL" clId="{CC07BEAC-85A7-44E0-BC28-578FC3DF3703}" dt="2019-02-23T19:59:31.340" v="18580" actId="20577"/>
        <pc:sldMkLst>
          <pc:docMk/>
          <pc:sldMk cId="3046267396" sldId="4683"/>
        </pc:sldMkLst>
        <pc:spChg chg="mod">
          <ac:chgData name="Bob Ward" userId="6da7c2dd-8e2e-469f-a216-c384312e2a2d" providerId="ADAL" clId="{CC07BEAC-85A7-44E0-BC28-578FC3DF3703}" dt="2019-02-21T03:09:49.947" v="13544" actId="20577"/>
          <ac:spMkLst>
            <pc:docMk/>
            <pc:sldMk cId="3046267396" sldId="4683"/>
            <ac:spMk id="3" creationId="{00000000-0000-0000-0000-000000000000}"/>
          </ac:spMkLst>
        </pc:spChg>
        <pc:spChg chg="mod">
          <ac:chgData name="Bob Ward" userId="6da7c2dd-8e2e-469f-a216-c384312e2a2d" providerId="ADAL" clId="{CC07BEAC-85A7-44E0-BC28-578FC3DF3703}" dt="2019-02-13T23:57:38.809" v="5592" actId="20577"/>
          <ac:spMkLst>
            <pc:docMk/>
            <pc:sldMk cId="3046267396" sldId="4683"/>
            <ac:spMk id="4" creationId="{00000000-0000-0000-0000-000000000000}"/>
          </ac:spMkLst>
        </pc:spChg>
      </pc:sldChg>
      <pc:sldChg chg="modSp add">
        <pc:chgData name="Bob Ward" userId="6da7c2dd-8e2e-469f-a216-c384312e2a2d" providerId="ADAL" clId="{CC07BEAC-85A7-44E0-BC28-578FC3DF3703}" dt="2019-01-21T15:20:50.133" v="358" actId="20577"/>
        <pc:sldMkLst>
          <pc:docMk/>
          <pc:sldMk cId="1938735402" sldId="4684"/>
        </pc:sldMkLst>
        <pc:spChg chg="mod">
          <ac:chgData name="Bob Ward" userId="6da7c2dd-8e2e-469f-a216-c384312e2a2d" providerId="ADAL" clId="{CC07BEAC-85A7-44E0-BC28-578FC3DF3703}" dt="2019-01-21T15:20:50.133" v="358" actId="20577"/>
          <ac:spMkLst>
            <pc:docMk/>
            <pc:sldMk cId="1938735402" sldId="4684"/>
            <ac:spMk id="2" creationId="{B2BC7EC9-D939-4A1B-B4EB-4B343A2F07A8}"/>
          </ac:spMkLst>
        </pc:spChg>
      </pc:sldChg>
      <pc:sldChg chg="add del">
        <pc:chgData name="Bob Ward" userId="6da7c2dd-8e2e-469f-a216-c384312e2a2d" providerId="ADAL" clId="{CC07BEAC-85A7-44E0-BC28-578FC3DF3703}" dt="2019-01-21T15:11:29.853" v="199" actId="2696"/>
        <pc:sldMkLst>
          <pc:docMk/>
          <pc:sldMk cId="2459847397" sldId="4684"/>
        </pc:sldMkLst>
      </pc:sldChg>
      <pc:sldChg chg="addSp modSp add">
        <pc:chgData name="Bob Ward" userId="6da7c2dd-8e2e-469f-a216-c384312e2a2d" providerId="ADAL" clId="{CC07BEAC-85A7-44E0-BC28-578FC3DF3703}" dt="2019-02-19T21:14:02.719" v="7142" actId="1076"/>
        <pc:sldMkLst>
          <pc:docMk/>
          <pc:sldMk cId="863116531" sldId="4685"/>
        </pc:sldMkLst>
        <pc:spChg chg="mod">
          <ac:chgData name="Bob Ward" userId="6da7c2dd-8e2e-469f-a216-c384312e2a2d" providerId="ADAL" clId="{CC07BEAC-85A7-44E0-BC28-578FC3DF3703}" dt="2019-02-19T21:14:02.719" v="7142" actId="1076"/>
          <ac:spMkLst>
            <pc:docMk/>
            <pc:sldMk cId="863116531" sldId="4685"/>
            <ac:spMk id="2" creationId="{39DC31C2-8E64-4E6B-BEF4-5E8D510C4D6F}"/>
          </ac:spMkLst>
        </pc:spChg>
        <pc:graphicFrameChg chg="add mod">
          <ac:chgData name="Bob Ward" userId="6da7c2dd-8e2e-469f-a216-c384312e2a2d" providerId="ADAL" clId="{CC07BEAC-85A7-44E0-BC28-578FC3DF3703}" dt="2019-01-21T23:20:08.377" v="1116"/>
          <ac:graphicFrameMkLst>
            <pc:docMk/>
            <pc:sldMk cId="863116531" sldId="4685"/>
            <ac:graphicFrameMk id="4" creationId="{EA9A1CEE-F5DA-407A-8579-C1702D65B552}"/>
          </ac:graphicFrameMkLst>
        </pc:graphicFrameChg>
      </pc:sldChg>
      <pc:sldChg chg="addSp delSp modSp add modAnim">
        <pc:chgData name="Bob Ward" userId="6da7c2dd-8e2e-469f-a216-c384312e2a2d" providerId="ADAL" clId="{CC07BEAC-85A7-44E0-BC28-578FC3DF3703}" dt="2019-02-23T19:47:56.299" v="18322"/>
        <pc:sldMkLst>
          <pc:docMk/>
          <pc:sldMk cId="3314051149" sldId="4686"/>
        </pc:sldMkLst>
        <pc:spChg chg="mod">
          <ac:chgData name="Bob Ward" userId="6da7c2dd-8e2e-469f-a216-c384312e2a2d" providerId="ADAL" clId="{CC07BEAC-85A7-44E0-BC28-578FC3DF3703}" dt="2019-01-22T00:04:22.313" v="1885"/>
          <ac:spMkLst>
            <pc:docMk/>
            <pc:sldMk cId="3314051149" sldId="4686"/>
            <ac:spMk id="3" creationId="{2E481EB0-37E1-4064-8040-44D1585F2EFC}"/>
          </ac:spMkLst>
        </pc:spChg>
        <pc:spChg chg="add mod">
          <ac:chgData name="Bob Ward" userId="6da7c2dd-8e2e-469f-a216-c384312e2a2d" providerId="ADAL" clId="{CC07BEAC-85A7-44E0-BC28-578FC3DF3703}" dt="2019-02-21T04:21:32.425" v="14989" actId="1076"/>
          <ac:spMkLst>
            <pc:docMk/>
            <pc:sldMk cId="3314051149" sldId="4686"/>
            <ac:spMk id="4" creationId="{7CA8DF96-DDDC-4191-80BA-36B5882A9897}"/>
          </ac:spMkLst>
        </pc:spChg>
        <pc:spChg chg="add mod">
          <ac:chgData name="Bob Ward" userId="6da7c2dd-8e2e-469f-a216-c384312e2a2d" providerId="ADAL" clId="{CC07BEAC-85A7-44E0-BC28-578FC3DF3703}" dt="2019-02-21T04:21:06.752" v="14984" actId="1076"/>
          <ac:spMkLst>
            <pc:docMk/>
            <pc:sldMk cId="3314051149" sldId="4686"/>
            <ac:spMk id="6" creationId="{E42D8F96-3F1D-49A2-8E65-4501ABAD3F0E}"/>
          </ac:spMkLst>
        </pc:spChg>
        <pc:graphicFrameChg chg="add del mod">
          <ac:chgData name="Bob Ward" userId="6da7c2dd-8e2e-469f-a216-c384312e2a2d" providerId="ADAL" clId="{CC07BEAC-85A7-44E0-BC28-578FC3DF3703}" dt="2019-02-21T03:50:33.180" v="14862" actId="478"/>
          <ac:graphicFrameMkLst>
            <pc:docMk/>
            <pc:sldMk cId="3314051149" sldId="4686"/>
            <ac:graphicFrameMk id="3" creationId="{C9DC7522-79B4-472C-9460-39A61DC4929F}"/>
          </ac:graphicFrameMkLst>
        </pc:graphicFrameChg>
        <pc:graphicFrameChg chg="add mod">
          <ac:chgData name="Bob Ward" userId="6da7c2dd-8e2e-469f-a216-c384312e2a2d" providerId="ADAL" clId="{CC07BEAC-85A7-44E0-BC28-578FC3DF3703}" dt="2019-02-21T04:21:28.313" v="14988" actId="1076"/>
          <ac:graphicFrameMkLst>
            <pc:docMk/>
            <pc:sldMk cId="3314051149" sldId="4686"/>
            <ac:graphicFrameMk id="5" creationId="{88870884-CE2E-435A-9DD6-8CFCEBE3F9B5}"/>
          </ac:graphicFrameMkLst>
        </pc:graphicFrameChg>
        <pc:graphicFrameChg chg="add del">
          <ac:chgData name="Bob Ward" userId="6da7c2dd-8e2e-469f-a216-c384312e2a2d" providerId="ADAL" clId="{CC07BEAC-85A7-44E0-BC28-578FC3DF3703}" dt="2019-01-22T00:06:08.008" v="1935"/>
          <ac:graphicFrameMkLst>
            <pc:docMk/>
            <pc:sldMk cId="3314051149" sldId="4686"/>
            <ac:graphicFrameMk id="6" creationId="{CC82DB18-A8F9-4C23-997E-D27AE5979B25}"/>
          </ac:graphicFrameMkLst>
        </pc:graphicFrameChg>
        <pc:picChg chg="add mod">
          <ac:chgData name="Bob Ward" userId="6da7c2dd-8e2e-469f-a216-c384312e2a2d" providerId="ADAL" clId="{CC07BEAC-85A7-44E0-BC28-578FC3DF3703}" dt="2019-02-21T04:11:51.033" v="14976" actId="1076"/>
          <ac:picMkLst>
            <pc:docMk/>
            <pc:sldMk cId="3314051149" sldId="4686"/>
            <ac:picMk id="7" creationId="{234D664B-741C-4BEE-9327-FE7E131D31C9}"/>
          </ac:picMkLst>
        </pc:picChg>
      </pc:sldChg>
      <pc:sldChg chg="addSp delSp modSp add modAnim">
        <pc:chgData name="Bob Ward" userId="6da7c2dd-8e2e-469f-a216-c384312e2a2d" providerId="ADAL" clId="{CC07BEAC-85A7-44E0-BC28-578FC3DF3703}" dt="2019-02-24T15:58:44.895" v="18703" actId="1582"/>
        <pc:sldMkLst>
          <pc:docMk/>
          <pc:sldMk cId="43331595" sldId="4687"/>
        </pc:sldMkLst>
        <pc:spChg chg="mod">
          <ac:chgData name="Bob Ward" userId="6da7c2dd-8e2e-469f-a216-c384312e2a2d" providerId="ADAL" clId="{CC07BEAC-85A7-44E0-BC28-578FC3DF3703}" dt="2019-02-22T22:18:40.456" v="17496" actId="1076"/>
          <ac:spMkLst>
            <pc:docMk/>
            <pc:sldMk cId="43331595" sldId="4687"/>
            <ac:spMk id="2" creationId="{3FBE4E4F-F043-4680-BF2D-3F009CF786DA}"/>
          </ac:spMkLst>
        </pc:spChg>
        <pc:spChg chg="del">
          <ac:chgData name="Bob Ward" userId="6da7c2dd-8e2e-469f-a216-c384312e2a2d" providerId="ADAL" clId="{CC07BEAC-85A7-44E0-BC28-578FC3DF3703}" dt="2019-02-21T04:22:18.396" v="15008" actId="478"/>
          <ac:spMkLst>
            <pc:docMk/>
            <pc:sldMk cId="43331595" sldId="4687"/>
            <ac:spMk id="3" creationId="{0B5BFF90-8E1C-44F0-965C-4C6961762E2A}"/>
          </ac:spMkLst>
        </pc:spChg>
        <pc:spChg chg="add del mod">
          <ac:chgData name="Bob Ward" userId="6da7c2dd-8e2e-469f-a216-c384312e2a2d" providerId="ADAL" clId="{CC07BEAC-85A7-44E0-BC28-578FC3DF3703}" dt="2019-02-21T04:22:20.781" v="15009" actId="478"/>
          <ac:spMkLst>
            <pc:docMk/>
            <pc:sldMk cId="43331595" sldId="4687"/>
            <ac:spMk id="5" creationId="{7C8A26FD-09D3-41CE-896C-A4385F222F6A}"/>
          </ac:spMkLst>
        </pc:spChg>
        <pc:spChg chg="add mod">
          <ac:chgData name="Bob Ward" userId="6da7c2dd-8e2e-469f-a216-c384312e2a2d" providerId="ADAL" clId="{CC07BEAC-85A7-44E0-BC28-578FC3DF3703}" dt="2019-02-23T17:58:54.590" v="17525" actId="1076"/>
          <ac:spMkLst>
            <pc:docMk/>
            <pc:sldMk cId="43331595" sldId="4687"/>
            <ac:spMk id="6" creationId="{DFA8BC7B-07E0-46E4-89D7-1D0002121CDC}"/>
          </ac:spMkLst>
        </pc:spChg>
        <pc:spChg chg="add mod">
          <ac:chgData name="Bob Ward" userId="6da7c2dd-8e2e-469f-a216-c384312e2a2d" providerId="ADAL" clId="{CC07BEAC-85A7-44E0-BC28-578FC3DF3703}" dt="2019-02-23T17:57:24.429" v="17507" actId="1076"/>
          <ac:spMkLst>
            <pc:docMk/>
            <pc:sldMk cId="43331595" sldId="4687"/>
            <ac:spMk id="7" creationId="{69F8221C-BE4C-4E6A-B3D4-894DFA162F05}"/>
          </ac:spMkLst>
        </pc:spChg>
        <pc:spChg chg="add mod">
          <ac:chgData name="Bob Ward" userId="6da7c2dd-8e2e-469f-a216-c384312e2a2d" providerId="ADAL" clId="{CC07BEAC-85A7-44E0-BC28-578FC3DF3703}" dt="2019-02-23T17:57:51.114" v="17516" actId="1076"/>
          <ac:spMkLst>
            <pc:docMk/>
            <pc:sldMk cId="43331595" sldId="4687"/>
            <ac:spMk id="8" creationId="{4E217E1E-C86C-49ED-85AF-EC8CB66290DE}"/>
          </ac:spMkLst>
        </pc:spChg>
        <pc:spChg chg="add mod">
          <ac:chgData name="Bob Ward" userId="6da7c2dd-8e2e-469f-a216-c384312e2a2d" providerId="ADAL" clId="{CC07BEAC-85A7-44E0-BC28-578FC3DF3703}" dt="2019-02-23T17:59:31.349" v="17527" actId="207"/>
          <ac:spMkLst>
            <pc:docMk/>
            <pc:sldMk cId="43331595" sldId="4687"/>
            <ac:spMk id="9" creationId="{BB76824A-34D0-4E04-81C2-C9CF52EE5496}"/>
          </ac:spMkLst>
        </pc:spChg>
        <pc:spChg chg="add mod">
          <ac:chgData name="Bob Ward" userId="6da7c2dd-8e2e-469f-a216-c384312e2a2d" providerId="ADAL" clId="{CC07BEAC-85A7-44E0-BC28-578FC3DF3703}" dt="2019-02-23T17:59:31.349" v="17527" actId="207"/>
          <ac:spMkLst>
            <pc:docMk/>
            <pc:sldMk cId="43331595" sldId="4687"/>
            <ac:spMk id="11" creationId="{2878DF6D-3469-424E-B0EA-349C753B684F}"/>
          </ac:spMkLst>
        </pc:spChg>
        <pc:spChg chg="add mod">
          <ac:chgData name="Bob Ward" userId="6da7c2dd-8e2e-469f-a216-c384312e2a2d" providerId="ADAL" clId="{CC07BEAC-85A7-44E0-BC28-578FC3DF3703}" dt="2019-02-22T22:13:47.231" v="17293" actId="20577"/>
          <ac:spMkLst>
            <pc:docMk/>
            <pc:sldMk cId="43331595" sldId="4687"/>
            <ac:spMk id="12" creationId="{338163E6-7809-4A78-BFED-C749FFA4254C}"/>
          </ac:spMkLst>
        </pc:spChg>
        <pc:spChg chg="add mod">
          <ac:chgData name="Bob Ward" userId="6da7c2dd-8e2e-469f-a216-c384312e2a2d" providerId="ADAL" clId="{CC07BEAC-85A7-44E0-BC28-578FC3DF3703}" dt="2019-02-23T18:00:05.047" v="17531" actId="208"/>
          <ac:spMkLst>
            <pc:docMk/>
            <pc:sldMk cId="43331595" sldId="4687"/>
            <ac:spMk id="17" creationId="{87BCCC90-CA43-4303-89C6-DA22DC59C3EB}"/>
          </ac:spMkLst>
        </pc:spChg>
        <pc:spChg chg="add mod">
          <ac:chgData name="Bob Ward" userId="6da7c2dd-8e2e-469f-a216-c384312e2a2d" providerId="ADAL" clId="{CC07BEAC-85A7-44E0-BC28-578FC3DF3703}" dt="2019-02-23T18:00:08.812" v="17532" actId="208"/>
          <ac:spMkLst>
            <pc:docMk/>
            <pc:sldMk cId="43331595" sldId="4687"/>
            <ac:spMk id="18" creationId="{6F9992A8-8DED-470C-83EE-0ED241B93C74}"/>
          </ac:spMkLst>
        </pc:spChg>
        <pc:spChg chg="add mod">
          <ac:chgData name="Bob Ward" userId="6da7c2dd-8e2e-469f-a216-c384312e2a2d" providerId="ADAL" clId="{CC07BEAC-85A7-44E0-BC28-578FC3DF3703}" dt="2019-02-22T22:13:56.155" v="17309" actId="1076"/>
          <ac:spMkLst>
            <pc:docMk/>
            <pc:sldMk cId="43331595" sldId="4687"/>
            <ac:spMk id="20" creationId="{E11030E0-AE92-458D-80D7-0B92A6756540}"/>
          </ac:spMkLst>
        </pc:spChg>
        <pc:spChg chg="add mod">
          <ac:chgData name="Bob Ward" userId="6da7c2dd-8e2e-469f-a216-c384312e2a2d" providerId="ADAL" clId="{CC07BEAC-85A7-44E0-BC28-578FC3DF3703}" dt="2019-02-23T17:59:39.869" v="17528" actId="207"/>
          <ac:spMkLst>
            <pc:docMk/>
            <pc:sldMk cId="43331595" sldId="4687"/>
            <ac:spMk id="22" creationId="{9627208B-ABC6-4545-8F9E-3AA594DAD941}"/>
          </ac:spMkLst>
        </pc:spChg>
        <pc:spChg chg="add del mod">
          <ac:chgData name="Bob Ward" userId="6da7c2dd-8e2e-469f-a216-c384312e2a2d" providerId="ADAL" clId="{CC07BEAC-85A7-44E0-BC28-578FC3DF3703}" dt="2019-02-22T22:15:43.204" v="17430" actId="478"/>
          <ac:spMkLst>
            <pc:docMk/>
            <pc:sldMk cId="43331595" sldId="4687"/>
            <ac:spMk id="23" creationId="{4D73AE4E-E901-473E-8DDE-07C1D77C76B9}"/>
          </ac:spMkLst>
        </pc:spChg>
        <pc:spChg chg="add mod">
          <ac:chgData name="Bob Ward" userId="6da7c2dd-8e2e-469f-a216-c384312e2a2d" providerId="ADAL" clId="{CC07BEAC-85A7-44E0-BC28-578FC3DF3703}" dt="2019-02-23T17:59:39.869" v="17528" actId="207"/>
          <ac:spMkLst>
            <pc:docMk/>
            <pc:sldMk cId="43331595" sldId="4687"/>
            <ac:spMk id="24" creationId="{101F376A-ED84-42CC-B886-F3FB9FF224EA}"/>
          </ac:spMkLst>
        </pc:spChg>
        <pc:spChg chg="add mod">
          <ac:chgData name="Bob Ward" userId="6da7c2dd-8e2e-469f-a216-c384312e2a2d" providerId="ADAL" clId="{CC07BEAC-85A7-44E0-BC28-578FC3DF3703}" dt="2019-02-23T17:59:58.225" v="17530" actId="208"/>
          <ac:spMkLst>
            <pc:docMk/>
            <pc:sldMk cId="43331595" sldId="4687"/>
            <ac:spMk id="38" creationId="{DB20ADF1-F6F0-48C9-91EE-8BFF893BCB5F}"/>
          </ac:spMkLst>
        </pc:spChg>
        <pc:spChg chg="add del mod">
          <ac:chgData name="Bob Ward" userId="6da7c2dd-8e2e-469f-a216-c384312e2a2d" providerId="ADAL" clId="{CC07BEAC-85A7-44E0-BC28-578FC3DF3703}" dt="2019-02-22T22:17:22.100" v="17451" actId="478"/>
          <ac:spMkLst>
            <pc:docMk/>
            <pc:sldMk cId="43331595" sldId="4687"/>
            <ac:spMk id="39" creationId="{F793B243-E514-426B-B29D-6807D4063EB4}"/>
          </ac:spMkLst>
        </pc:spChg>
        <pc:spChg chg="add mod">
          <ac:chgData name="Bob Ward" userId="6da7c2dd-8e2e-469f-a216-c384312e2a2d" providerId="ADAL" clId="{CC07BEAC-85A7-44E0-BC28-578FC3DF3703}" dt="2019-02-23T17:59:47.580" v="17529" actId="207"/>
          <ac:spMkLst>
            <pc:docMk/>
            <pc:sldMk cId="43331595" sldId="4687"/>
            <ac:spMk id="40" creationId="{7E3A177F-32DB-4E8E-B1C6-655819444B0B}"/>
          </ac:spMkLst>
        </pc:spChg>
        <pc:spChg chg="add mod">
          <ac:chgData name="Bob Ward" userId="6da7c2dd-8e2e-469f-a216-c384312e2a2d" providerId="ADAL" clId="{CC07BEAC-85A7-44E0-BC28-578FC3DF3703}" dt="2019-02-22T22:18:33.663" v="17495" actId="20577"/>
          <ac:spMkLst>
            <pc:docMk/>
            <pc:sldMk cId="43331595" sldId="4687"/>
            <ac:spMk id="48" creationId="{BEFC858A-5243-4DC0-B5FB-175194B6CDD6}"/>
          </ac:spMkLst>
        </pc:spChg>
        <pc:spChg chg="add mod">
          <ac:chgData name="Bob Ward" userId="6da7c2dd-8e2e-469f-a216-c384312e2a2d" providerId="ADAL" clId="{CC07BEAC-85A7-44E0-BC28-578FC3DF3703}" dt="2019-02-23T17:57:19.584" v="17505" actId="1076"/>
          <ac:spMkLst>
            <pc:docMk/>
            <pc:sldMk cId="43331595" sldId="4687"/>
            <ac:spMk id="49" creationId="{8E1D3DF0-9F59-4A93-90E2-3313C2114F52}"/>
          </ac:spMkLst>
        </pc:spChg>
        <pc:spChg chg="add mod">
          <ac:chgData name="Bob Ward" userId="6da7c2dd-8e2e-469f-a216-c384312e2a2d" providerId="ADAL" clId="{CC07BEAC-85A7-44E0-BC28-578FC3DF3703}" dt="2019-02-23T17:57:38.397" v="17511" actId="1076"/>
          <ac:spMkLst>
            <pc:docMk/>
            <pc:sldMk cId="43331595" sldId="4687"/>
            <ac:spMk id="50" creationId="{2645C459-DF5E-4603-A691-FFB676F284AC}"/>
          </ac:spMkLst>
        </pc:spChg>
        <pc:spChg chg="add mod">
          <ac:chgData name="Bob Ward" userId="6da7c2dd-8e2e-469f-a216-c384312e2a2d" providerId="ADAL" clId="{CC07BEAC-85A7-44E0-BC28-578FC3DF3703}" dt="2019-02-22T22:17:58.120" v="17457" actId="1076"/>
          <ac:spMkLst>
            <pc:docMk/>
            <pc:sldMk cId="43331595" sldId="4687"/>
            <ac:spMk id="1030" creationId="{B0273DF2-C1CD-406C-9375-CDC3CBBC5953}"/>
          </ac:spMkLst>
        </pc:spChg>
        <pc:picChg chg="add mod">
          <ac:chgData name="Bob Ward" userId="6da7c2dd-8e2e-469f-a216-c384312e2a2d" providerId="ADAL" clId="{CC07BEAC-85A7-44E0-BC28-578FC3DF3703}" dt="2019-02-22T22:11:15.398" v="17166" actId="1076"/>
          <ac:picMkLst>
            <pc:docMk/>
            <pc:sldMk cId="43331595" sldId="4687"/>
            <ac:picMk id="1026" creationId="{33036E6B-F3DA-4559-A6FC-0845399CD255}"/>
          </ac:picMkLst>
        </pc:picChg>
        <pc:cxnChg chg="add mod">
          <ac:chgData name="Bob Ward" userId="6da7c2dd-8e2e-469f-a216-c384312e2a2d" providerId="ADAL" clId="{CC07BEAC-85A7-44E0-BC28-578FC3DF3703}" dt="2019-02-23T17:57:22.625" v="17506" actId="14100"/>
          <ac:cxnSpMkLst>
            <pc:docMk/>
            <pc:sldMk cId="43331595" sldId="4687"/>
            <ac:cxnSpMk id="4" creationId="{E0E12DBF-9447-4562-9063-66E37B0BB7B7}"/>
          </ac:cxnSpMkLst>
        </pc:cxnChg>
        <pc:cxnChg chg="add mod">
          <ac:chgData name="Bob Ward" userId="6da7c2dd-8e2e-469f-a216-c384312e2a2d" providerId="ADAL" clId="{CC07BEAC-85A7-44E0-BC28-578FC3DF3703}" dt="2019-02-22T22:12:52.805" v="17245" actId="14100"/>
          <ac:cxnSpMkLst>
            <pc:docMk/>
            <pc:sldMk cId="43331595" sldId="4687"/>
            <ac:cxnSpMk id="10" creationId="{A42C07AE-BB79-485D-8FEA-667983841A86}"/>
          </ac:cxnSpMkLst>
        </pc:cxnChg>
        <pc:cxnChg chg="add mod">
          <ac:chgData name="Bob Ward" userId="6da7c2dd-8e2e-469f-a216-c384312e2a2d" providerId="ADAL" clId="{CC07BEAC-85A7-44E0-BC28-578FC3DF3703}" dt="2019-02-22T22:13:20.520" v="17253" actId="14100"/>
          <ac:cxnSpMkLst>
            <pc:docMk/>
            <pc:sldMk cId="43331595" sldId="4687"/>
            <ac:cxnSpMk id="19" creationId="{B12BFF7E-BD53-4B20-A78C-E55B181FF1B1}"/>
          </ac:cxnSpMkLst>
        </pc:cxnChg>
        <pc:cxnChg chg="add del mod">
          <ac:chgData name="Bob Ward" userId="6da7c2dd-8e2e-469f-a216-c384312e2a2d" providerId="ADAL" clId="{CC07BEAC-85A7-44E0-BC28-578FC3DF3703}" dt="2019-02-22T22:16:40.789" v="17437" actId="478"/>
          <ac:cxnSpMkLst>
            <pc:docMk/>
            <pc:sldMk cId="43331595" sldId="4687"/>
            <ac:cxnSpMk id="26" creationId="{5C825B91-2809-41EA-B5AA-81FC16560FF5}"/>
          </ac:cxnSpMkLst>
        </pc:cxnChg>
        <pc:cxnChg chg="add del mod">
          <ac:chgData name="Bob Ward" userId="6da7c2dd-8e2e-469f-a216-c384312e2a2d" providerId="ADAL" clId="{CC07BEAC-85A7-44E0-BC28-578FC3DF3703}" dt="2019-02-22T22:17:26.496" v="17452" actId="478"/>
          <ac:cxnSpMkLst>
            <pc:docMk/>
            <pc:sldMk cId="43331595" sldId="4687"/>
            <ac:cxnSpMk id="28" creationId="{F2C1844F-6D35-46FA-BD56-0EF40B5AAAAE}"/>
          </ac:cxnSpMkLst>
        </pc:cxnChg>
        <pc:cxnChg chg="add mod">
          <ac:chgData name="Bob Ward" userId="6da7c2dd-8e2e-469f-a216-c384312e2a2d" providerId="ADAL" clId="{CC07BEAC-85A7-44E0-BC28-578FC3DF3703}" dt="2019-02-22T22:16:13.352" v="17433" actId="11529"/>
          <ac:cxnSpMkLst>
            <pc:docMk/>
            <pc:sldMk cId="43331595" sldId="4687"/>
            <ac:cxnSpMk id="30" creationId="{0EEC5918-006F-4BB4-A587-7A94F4D46FF8}"/>
          </ac:cxnSpMkLst>
        </pc:cxnChg>
        <pc:cxnChg chg="add mod">
          <ac:chgData name="Bob Ward" userId="6da7c2dd-8e2e-469f-a216-c384312e2a2d" providerId="ADAL" clId="{CC07BEAC-85A7-44E0-BC28-578FC3DF3703}" dt="2019-02-22T22:17:40.922" v="17454" actId="14100"/>
          <ac:cxnSpMkLst>
            <pc:docMk/>
            <pc:sldMk cId="43331595" sldId="4687"/>
            <ac:cxnSpMk id="36" creationId="{4D18C3C9-E473-46EE-A081-AD99E2FD2C4E}"/>
          </ac:cxnSpMkLst>
        </pc:cxnChg>
        <pc:cxnChg chg="add mod">
          <ac:chgData name="Bob Ward" userId="6da7c2dd-8e2e-469f-a216-c384312e2a2d" providerId="ADAL" clId="{CC07BEAC-85A7-44E0-BC28-578FC3DF3703}" dt="2019-02-24T15:58:44.895" v="18703" actId="1582"/>
          <ac:cxnSpMkLst>
            <pc:docMk/>
            <pc:sldMk cId="43331595" sldId="4687"/>
            <ac:cxnSpMk id="46" creationId="{26084345-1D4B-40D5-BC02-8B7F75354668}"/>
          </ac:cxnSpMkLst>
        </pc:cxnChg>
        <pc:cxnChg chg="add mod">
          <ac:chgData name="Bob Ward" userId="6da7c2dd-8e2e-469f-a216-c384312e2a2d" providerId="ADAL" clId="{CC07BEAC-85A7-44E0-BC28-578FC3DF3703}" dt="2019-02-23T17:57:40.848" v="17512" actId="14100"/>
          <ac:cxnSpMkLst>
            <pc:docMk/>
            <pc:sldMk cId="43331595" sldId="4687"/>
            <ac:cxnSpMk id="52" creationId="{0CB6EB0C-A31A-43DF-B9C7-2E83223EA2BA}"/>
          </ac:cxnSpMkLst>
        </pc:cxnChg>
        <pc:cxnChg chg="add mod">
          <ac:chgData name="Bob Ward" userId="6da7c2dd-8e2e-469f-a216-c384312e2a2d" providerId="ADAL" clId="{CC07BEAC-85A7-44E0-BC28-578FC3DF3703}" dt="2019-02-23T17:58:58.998" v="17526" actId="14100"/>
          <ac:cxnSpMkLst>
            <pc:docMk/>
            <pc:sldMk cId="43331595" sldId="4687"/>
            <ac:cxnSpMk id="55" creationId="{43346EE2-CB19-4EE9-8D37-A02DA3996C83}"/>
          </ac:cxnSpMkLst>
        </pc:cxnChg>
        <pc:cxnChg chg="add mod">
          <ac:chgData name="Bob Ward" userId="6da7c2dd-8e2e-469f-a216-c384312e2a2d" providerId="ADAL" clId="{CC07BEAC-85A7-44E0-BC28-578FC3DF3703}" dt="2019-02-23T17:58:36.911" v="17523" actId="14100"/>
          <ac:cxnSpMkLst>
            <pc:docMk/>
            <pc:sldMk cId="43331595" sldId="4687"/>
            <ac:cxnSpMk id="57" creationId="{3AB6EBEC-BD8A-4CA1-838A-343C7F3C851D}"/>
          </ac:cxnSpMkLst>
        </pc:cxnChg>
        <pc:cxnChg chg="add del mod">
          <ac:chgData name="Bob Ward" userId="6da7c2dd-8e2e-469f-a216-c384312e2a2d" providerId="ADAL" clId="{CC07BEAC-85A7-44E0-BC28-578FC3DF3703}" dt="2019-02-22T22:16:30.265" v="17436" actId="478"/>
          <ac:cxnSpMkLst>
            <pc:docMk/>
            <pc:sldMk cId="43331595" sldId="4687"/>
            <ac:cxnSpMk id="1024" creationId="{FC537FFC-775E-4ABB-84AF-04E2E8BBF91F}"/>
          </ac:cxnSpMkLst>
        </pc:cxnChg>
        <pc:cxnChg chg="add mod">
          <ac:chgData name="Bob Ward" userId="6da7c2dd-8e2e-469f-a216-c384312e2a2d" providerId="ADAL" clId="{CC07BEAC-85A7-44E0-BC28-578FC3DF3703}" dt="2019-02-22T22:16:49.803" v="17438" actId="11529"/>
          <ac:cxnSpMkLst>
            <pc:docMk/>
            <pc:sldMk cId="43331595" sldId="4687"/>
            <ac:cxnSpMk id="1027" creationId="{A90C4B6B-303C-4034-AD65-F47F9AA45FAA}"/>
          </ac:cxnSpMkLst>
        </pc:cxnChg>
        <pc:cxnChg chg="add mod">
          <ac:chgData name="Bob Ward" userId="6da7c2dd-8e2e-469f-a216-c384312e2a2d" providerId="ADAL" clId="{CC07BEAC-85A7-44E0-BC28-578FC3DF3703}" dt="2019-02-24T15:58:44.895" v="18703" actId="1582"/>
          <ac:cxnSpMkLst>
            <pc:docMk/>
            <pc:sldMk cId="43331595" sldId="4687"/>
            <ac:cxnSpMk id="1032" creationId="{A6D55AF7-33A1-4CB9-B2F9-3A4E0AA4B09A}"/>
          </ac:cxnSpMkLst>
        </pc:cxnChg>
      </pc:sldChg>
      <pc:sldChg chg="addSp modSp add modAnim">
        <pc:chgData name="Bob Ward" userId="6da7c2dd-8e2e-469f-a216-c384312e2a2d" providerId="ADAL" clId="{CC07BEAC-85A7-44E0-BC28-578FC3DF3703}" dt="2019-02-23T19:50:19.694" v="18330"/>
        <pc:sldMkLst>
          <pc:docMk/>
          <pc:sldMk cId="1808960687" sldId="4688"/>
        </pc:sldMkLst>
        <pc:spChg chg="mod">
          <ac:chgData name="Bob Ward" userId="6da7c2dd-8e2e-469f-a216-c384312e2a2d" providerId="ADAL" clId="{CC07BEAC-85A7-44E0-BC28-578FC3DF3703}" dt="2019-02-19T21:14:46.621" v="7153" actId="1076"/>
          <ac:spMkLst>
            <pc:docMk/>
            <pc:sldMk cId="1808960687" sldId="4688"/>
            <ac:spMk id="2" creationId="{9C886538-4736-4174-9D45-00834D141968}"/>
          </ac:spMkLst>
        </pc:spChg>
        <pc:spChg chg="mod">
          <ac:chgData name="Bob Ward" userId="6da7c2dd-8e2e-469f-a216-c384312e2a2d" providerId="ADAL" clId="{CC07BEAC-85A7-44E0-BC28-578FC3DF3703}" dt="2019-02-19T22:47:13.270" v="7801" actId="207"/>
          <ac:spMkLst>
            <pc:docMk/>
            <pc:sldMk cId="1808960687" sldId="4688"/>
            <ac:spMk id="3" creationId="{39CDF79B-C37B-496F-9F6B-99A3CABC3DD9}"/>
          </ac:spMkLst>
        </pc:spChg>
        <pc:spChg chg="add mod">
          <ac:chgData name="Bob Ward" userId="6da7c2dd-8e2e-469f-a216-c384312e2a2d" providerId="ADAL" clId="{CC07BEAC-85A7-44E0-BC28-578FC3DF3703}" dt="2019-02-13T20:50:31.815" v="2935" actId="1582"/>
          <ac:spMkLst>
            <pc:docMk/>
            <pc:sldMk cId="1808960687" sldId="4688"/>
            <ac:spMk id="6" creationId="{0975F6C6-09ED-410E-9E3A-CA345BFFCBEE}"/>
          </ac:spMkLst>
        </pc:spChg>
        <pc:graphicFrameChg chg="add mod">
          <ac:chgData name="Bob Ward" userId="6da7c2dd-8e2e-469f-a216-c384312e2a2d" providerId="ADAL" clId="{CC07BEAC-85A7-44E0-BC28-578FC3DF3703}" dt="2019-01-21T23:56:54.893" v="1818" actId="1076"/>
          <ac:graphicFrameMkLst>
            <pc:docMk/>
            <pc:sldMk cId="1808960687" sldId="4688"/>
            <ac:graphicFrameMk id="4" creationId="{70D06CC2-37E7-45D1-98CE-4474C24F8CD8}"/>
          </ac:graphicFrameMkLst>
        </pc:graphicFrameChg>
        <pc:graphicFrameChg chg="add mod">
          <ac:chgData name="Bob Ward" userId="6da7c2dd-8e2e-469f-a216-c384312e2a2d" providerId="ADAL" clId="{CC07BEAC-85A7-44E0-BC28-578FC3DF3703}" dt="2019-01-22T00:03:47.657" v="1883" actId="20577"/>
          <ac:graphicFrameMkLst>
            <pc:docMk/>
            <pc:sldMk cId="1808960687" sldId="4688"/>
            <ac:graphicFrameMk id="5" creationId="{DED38AEA-3BE5-473E-80B9-40C12A91D98D}"/>
          </ac:graphicFrameMkLst>
        </pc:graphicFrameChg>
      </pc:sldChg>
      <pc:sldChg chg="addSp modSp add ord modAnim">
        <pc:chgData name="Bob Ward" userId="6da7c2dd-8e2e-469f-a216-c384312e2a2d" providerId="ADAL" clId="{CC07BEAC-85A7-44E0-BC28-578FC3DF3703}" dt="2019-02-23T19:47:47.120" v="18321"/>
        <pc:sldMkLst>
          <pc:docMk/>
          <pc:sldMk cId="2247991029" sldId="4689"/>
        </pc:sldMkLst>
        <pc:spChg chg="mod">
          <ac:chgData name="Bob Ward" userId="6da7c2dd-8e2e-469f-a216-c384312e2a2d" providerId="ADAL" clId="{CC07BEAC-85A7-44E0-BC28-578FC3DF3703}" dt="2019-02-21T01:45:03.492" v="12187" actId="1076"/>
          <ac:spMkLst>
            <pc:docMk/>
            <pc:sldMk cId="2247991029" sldId="4689"/>
            <ac:spMk id="2" creationId="{BB06D616-A928-450B-B4C1-501792403483}"/>
          </ac:spMkLst>
        </pc:spChg>
        <pc:spChg chg="mod">
          <ac:chgData name="Bob Ward" userId="6da7c2dd-8e2e-469f-a216-c384312e2a2d" providerId="ADAL" clId="{CC07BEAC-85A7-44E0-BC28-578FC3DF3703}" dt="2019-01-22T00:19:39.169" v="2307"/>
          <ac:spMkLst>
            <pc:docMk/>
            <pc:sldMk cId="2247991029" sldId="4689"/>
            <ac:spMk id="3" creationId="{2E481EB0-37E1-4064-8040-44D1585F2EFC}"/>
          </ac:spMkLst>
        </pc:spChg>
        <pc:spChg chg="add mod">
          <ac:chgData name="Bob Ward" userId="6da7c2dd-8e2e-469f-a216-c384312e2a2d" providerId="ADAL" clId="{CC07BEAC-85A7-44E0-BC28-578FC3DF3703}" dt="2019-02-21T04:22:04.086" v="15007" actId="6549"/>
          <ac:spMkLst>
            <pc:docMk/>
            <pc:sldMk cId="2247991029" sldId="4689"/>
            <ac:spMk id="4" creationId="{A8242765-A8D1-40E8-BB41-DEBF2D96353C}"/>
          </ac:spMkLst>
        </pc:spChg>
        <pc:spChg chg="add mod">
          <ac:chgData name="Bob Ward" userId="6da7c2dd-8e2e-469f-a216-c384312e2a2d" providerId="ADAL" clId="{CC07BEAC-85A7-44E0-BC28-578FC3DF3703}" dt="2019-02-13T20:48:44.884" v="2923" actId="1076"/>
          <ac:spMkLst>
            <pc:docMk/>
            <pc:sldMk cId="2247991029" sldId="4689"/>
            <ac:spMk id="17" creationId="{969B3A57-BDD7-4640-823C-EF0DA391F127}"/>
          </ac:spMkLst>
        </pc:spChg>
        <pc:spChg chg="add mod">
          <ac:chgData name="Bob Ward" userId="6da7c2dd-8e2e-469f-a216-c384312e2a2d" providerId="ADAL" clId="{CC07BEAC-85A7-44E0-BC28-578FC3DF3703}" dt="2019-02-13T20:48:44.884" v="2923" actId="1076"/>
          <ac:spMkLst>
            <pc:docMk/>
            <pc:sldMk cId="2247991029" sldId="4689"/>
            <ac:spMk id="18" creationId="{AC875067-6E5B-4BA6-9040-3C23457B4ABB}"/>
          </ac:spMkLst>
        </pc:spChg>
        <pc:spChg chg="add mod">
          <ac:chgData name="Bob Ward" userId="6da7c2dd-8e2e-469f-a216-c384312e2a2d" providerId="ADAL" clId="{CC07BEAC-85A7-44E0-BC28-578FC3DF3703}" dt="2019-02-13T20:48:44.884" v="2923" actId="1076"/>
          <ac:spMkLst>
            <pc:docMk/>
            <pc:sldMk cId="2247991029" sldId="4689"/>
            <ac:spMk id="21" creationId="{DF09DCF5-3F23-49F7-904A-D667EA341707}"/>
          </ac:spMkLst>
        </pc:spChg>
        <pc:spChg chg="add mod">
          <ac:chgData name="Bob Ward" userId="6da7c2dd-8e2e-469f-a216-c384312e2a2d" providerId="ADAL" clId="{CC07BEAC-85A7-44E0-BC28-578FC3DF3703}" dt="2019-02-13T20:48:44.884" v="2923" actId="1076"/>
          <ac:spMkLst>
            <pc:docMk/>
            <pc:sldMk cId="2247991029" sldId="4689"/>
            <ac:spMk id="23" creationId="{21C1FB8D-CC85-4C61-A913-BB9F775C631A}"/>
          </ac:spMkLst>
        </pc:spChg>
        <pc:spChg chg="add mod">
          <ac:chgData name="Bob Ward" userId="6da7c2dd-8e2e-469f-a216-c384312e2a2d" providerId="ADAL" clId="{CC07BEAC-85A7-44E0-BC28-578FC3DF3703}" dt="2019-02-13T20:48:44.884" v="2923" actId="1076"/>
          <ac:spMkLst>
            <pc:docMk/>
            <pc:sldMk cId="2247991029" sldId="4689"/>
            <ac:spMk id="24" creationId="{48126318-057D-49A7-88CA-6E6B491340DD}"/>
          </ac:spMkLst>
        </pc:spChg>
        <pc:spChg chg="add mod">
          <ac:chgData name="Bob Ward" userId="6da7c2dd-8e2e-469f-a216-c384312e2a2d" providerId="ADAL" clId="{CC07BEAC-85A7-44E0-BC28-578FC3DF3703}" dt="2019-02-13T20:48:44.884" v="2923" actId="1076"/>
          <ac:spMkLst>
            <pc:docMk/>
            <pc:sldMk cId="2247991029" sldId="4689"/>
            <ac:spMk id="25" creationId="{9D92F06B-14B4-4241-BE69-CAC742C738E5}"/>
          </ac:spMkLst>
        </pc:spChg>
        <pc:spChg chg="add mod">
          <ac:chgData name="Bob Ward" userId="6da7c2dd-8e2e-469f-a216-c384312e2a2d" providerId="ADAL" clId="{CC07BEAC-85A7-44E0-BC28-578FC3DF3703}" dt="2019-02-13T20:48:44.884" v="2923" actId="1076"/>
          <ac:spMkLst>
            <pc:docMk/>
            <pc:sldMk cId="2247991029" sldId="4689"/>
            <ac:spMk id="30" creationId="{8009D427-6E19-4E93-AA37-AD1B922BFBDC}"/>
          </ac:spMkLst>
        </pc:spChg>
        <pc:spChg chg="add mod">
          <ac:chgData name="Bob Ward" userId="6da7c2dd-8e2e-469f-a216-c384312e2a2d" providerId="ADAL" clId="{CC07BEAC-85A7-44E0-BC28-578FC3DF3703}" dt="2019-02-13T20:48:44.884" v="2923" actId="1076"/>
          <ac:spMkLst>
            <pc:docMk/>
            <pc:sldMk cId="2247991029" sldId="4689"/>
            <ac:spMk id="31" creationId="{9F9B9F62-1FCA-4AC7-8EE1-A13E400B4C04}"/>
          </ac:spMkLst>
        </pc:spChg>
        <pc:spChg chg="add mod">
          <ac:chgData name="Bob Ward" userId="6da7c2dd-8e2e-469f-a216-c384312e2a2d" providerId="ADAL" clId="{CC07BEAC-85A7-44E0-BC28-578FC3DF3703}" dt="2019-02-13T20:48:44.884" v="2923" actId="1076"/>
          <ac:spMkLst>
            <pc:docMk/>
            <pc:sldMk cId="2247991029" sldId="4689"/>
            <ac:spMk id="32" creationId="{EBA399C5-500D-45E4-B85A-CE7B7501A1DF}"/>
          </ac:spMkLst>
        </pc:spChg>
        <pc:spChg chg="add mod">
          <ac:chgData name="Bob Ward" userId="6da7c2dd-8e2e-469f-a216-c384312e2a2d" providerId="ADAL" clId="{CC07BEAC-85A7-44E0-BC28-578FC3DF3703}" dt="2019-02-13T20:48:44.884" v="2923" actId="1076"/>
          <ac:spMkLst>
            <pc:docMk/>
            <pc:sldMk cId="2247991029" sldId="4689"/>
            <ac:spMk id="33" creationId="{52892F0B-8C0E-4F91-80ED-A49DB1FBBE21}"/>
          </ac:spMkLst>
        </pc:spChg>
        <pc:spChg chg="add mod">
          <ac:chgData name="Bob Ward" userId="6da7c2dd-8e2e-469f-a216-c384312e2a2d" providerId="ADAL" clId="{CC07BEAC-85A7-44E0-BC28-578FC3DF3703}" dt="2019-02-13T20:48:44.884" v="2923" actId="1076"/>
          <ac:spMkLst>
            <pc:docMk/>
            <pc:sldMk cId="2247991029" sldId="4689"/>
            <ac:spMk id="34" creationId="{81C84B40-1FB7-4CD7-B118-E115CE2DE3F7}"/>
          </ac:spMkLst>
        </pc:spChg>
        <pc:spChg chg="add mod">
          <ac:chgData name="Bob Ward" userId="6da7c2dd-8e2e-469f-a216-c384312e2a2d" providerId="ADAL" clId="{CC07BEAC-85A7-44E0-BC28-578FC3DF3703}" dt="2019-02-13T20:48:44.884" v="2923" actId="1076"/>
          <ac:spMkLst>
            <pc:docMk/>
            <pc:sldMk cId="2247991029" sldId="4689"/>
            <ac:spMk id="35" creationId="{B57F6A72-5D52-4AB8-965D-87DBE00DABCA}"/>
          </ac:spMkLst>
        </pc:spChg>
        <pc:spChg chg="add mod">
          <ac:chgData name="Bob Ward" userId="6da7c2dd-8e2e-469f-a216-c384312e2a2d" providerId="ADAL" clId="{CC07BEAC-85A7-44E0-BC28-578FC3DF3703}" dt="2019-02-13T20:48:44.884" v="2923" actId="1076"/>
          <ac:spMkLst>
            <pc:docMk/>
            <pc:sldMk cId="2247991029" sldId="4689"/>
            <ac:spMk id="36" creationId="{283BE658-19C0-4208-97EB-1923FDCD387B}"/>
          </ac:spMkLst>
        </pc:spChg>
        <pc:spChg chg="add mod">
          <ac:chgData name="Bob Ward" userId="6da7c2dd-8e2e-469f-a216-c384312e2a2d" providerId="ADAL" clId="{CC07BEAC-85A7-44E0-BC28-578FC3DF3703}" dt="2019-02-13T20:48:44.884" v="2923" actId="1076"/>
          <ac:spMkLst>
            <pc:docMk/>
            <pc:sldMk cId="2247991029" sldId="4689"/>
            <ac:spMk id="37" creationId="{419C65B1-FAC1-4E7A-A373-157143274046}"/>
          </ac:spMkLst>
        </pc:spChg>
        <pc:spChg chg="add mod">
          <ac:chgData name="Bob Ward" userId="6da7c2dd-8e2e-469f-a216-c384312e2a2d" providerId="ADAL" clId="{CC07BEAC-85A7-44E0-BC28-578FC3DF3703}" dt="2019-02-13T20:48:44.884" v="2923" actId="1076"/>
          <ac:spMkLst>
            <pc:docMk/>
            <pc:sldMk cId="2247991029" sldId="4689"/>
            <ac:spMk id="38" creationId="{13064CB9-93B4-411F-8D13-74D0B25D4A46}"/>
          </ac:spMkLst>
        </pc:spChg>
        <pc:spChg chg="add mod">
          <ac:chgData name="Bob Ward" userId="6da7c2dd-8e2e-469f-a216-c384312e2a2d" providerId="ADAL" clId="{CC07BEAC-85A7-44E0-BC28-578FC3DF3703}" dt="2019-02-13T20:48:44.884" v="2923" actId="1076"/>
          <ac:spMkLst>
            <pc:docMk/>
            <pc:sldMk cId="2247991029" sldId="4689"/>
            <ac:spMk id="39" creationId="{9D9AF2FB-AF0C-47A1-A9FF-1212B6CAA38C}"/>
          </ac:spMkLst>
        </pc:spChg>
        <pc:spChg chg="add mod">
          <ac:chgData name="Bob Ward" userId="6da7c2dd-8e2e-469f-a216-c384312e2a2d" providerId="ADAL" clId="{CC07BEAC-85A7-44E0-BC28-578FC3DF3703}" dt="2019-02-13T20:48:44.884" v="2923" actId="1076"/>
          <ac:spMkLst>
            <pc:docMk/>
            <pc:sldMk cId="2247991029" sldId="4689"/>
            <ac:spMk id="40" creationId="{F95BF0E3-2795-48AC-AE4C-611F5633A1D8}"/>
          </ac:spMkLst>
        </pc:spChg>
        <pc:spChg chg="add mod">
          <ac:chgData name="Bob Ward" userId="6da7c2dd-8e2e-469f-a216-c384312e2a2d" providerId="ADAL" clId="{CC07BEAC-85A7-44E0-BC28-578FC3DF3703}" dt="2019-02-13T20:48:44.884" v="2923" actId="1076"/>
          <ac:spMkLst>
            <pc:docMk/>
            <pc:sldMk cId="2247991029" sldId="4689"/>
            <ac:spMk id="41" creationId="{E768ECB5-0F17-4735-B1B0-B16476213E6E}"/>
          </ac:spMkLst>
        </pc:spChg>
        <pc:spChg chg="add mod">
          <ac:chgData name="Bob Ward" userId="6da7c2dd-8e2e-469f-a216-c384312e2a2d" providerId="ADAL" clId="{CC07BEAC-85A7-44E0-BC28-578FC3DF3703}" dt="2019-02-13T20:48:44.884" v="2923" actId="1076"/>
          <ac:spMkLst>
            <pc:docMk/>
            <pc:sldMk cId="2247991029" sldId="4689"/>
            <ac:spMk id="42" creationId="{8B512D7B-9306-4F6F-9F64-DF5ADEB58CF0}"/>
          </ac:spMkLst>
        </pc:spChg>
        <pc:spChg chg="add">
          <ac:chgData name="Bob Ward" userId="6da7c2dd-8e2e-469f-a216-c384312e2a2d" providerId="ADAL" clId="{CC07BEAC-85A7-44E0-BC28-578FC3DF3703}" dt="2019-01-22T00:49:27.258" v="2340"/>
          <ac:spMkLst>
            <pc:docMk/>
            <pc:sldMk cId="2247991029" sldId="4689"/>
            <ac:spMk id="43" creationId="{524FD455-A37A-48D7-8A64-14C71197BBB3}"/>
          </ac:spMkLst>
        </pc:spChg>
        <pc:spChg chg="add">
          <ac:chgData name="Bob Ward" userId="6da7c2dd-8e2e-469f-a216-c384312e2a2d" providerId="ADAL" clId="{CC07BEAC-85A7-44E0-BC28-578FC3DF3703}" dt="2019-01-22T00:49:35.792" v="2341"/>
          <ac:spMkLst>
            <pc:docMk/>
            <pc:sldMk cId="2247991029" sldId="4689"/>
            <ac:spMk id="44" creationId="{83D9F334-D29A-413F-8FD7-3F158075AC55}"/>
          </ac:spMkLst>
        </pc:spChg>
        <pc:spChg chg="add mod">
          <ac:chgData name="Bob Ward" userId="6da7c2dd-8e2e-469f-a216-c384312e2a2d" providerId="ADAL" clId="{CC07BEAC-85A7-44E0-BC28-578FC3DF3703}" dt="2019-01-22T00:49:56.221" v="2342" actId="767"/>
          <ac:spMkLst>
            <pc:docMk/>
            <pc:sldMk cId="2247991029" sldId="4689"/>
            <ac:spMk id="45" creationId="{603C6775-9AF7-4597-A378-B59A5673DE22}"/>
          </ac:spMkLst>
        </pc:spChg>
        <pc:graphicFrameChg chg="add mod">
          <ac:chgData name="Bob Ward" userId="6da7c2dd-8e2e-469f-a216-c384312e2a2d" providerId="ADAL" clId="{CC07BEAC-85A7-44E0-BC28-578FC3DF3703}" dt="2019-02-13T20:48:52.521" v="2926" actId="14100"/>
          <ac:graphicFrameMkLst>
            <pc:docMk/>
            <pc:sldMk cId="2247991029" sldId="4689"/>
            <ac:graphicFrameMk id="5" creationId="{756C5AFB-B734-48DD-BDAD-9BE26E0E25D8}"/>
          </ac:graphicFrameMkLst>
        </pc:graphicFrameChg>
        <pc:graphicFrameChg chg="add mod">
          <ac:chgData name="Bob Ward" userId="6da7c2dd-8e2e-469f-a216-c384312e2a2d" providerId="ADAL" clId="{CC07BEAC-85A7-44E0-BC28-578FC3DF3703}" dt="2019-01-22T00:50:46.660" v="2343" actId="3680"/>
          <ac:graphicFrameMkLst>
            <pc:docMk/>
            <pc:sldMk cId="2247991029" sldId="4689"/>
            <ac:graphicFrameMk id="46" creationId="{FA3B5E3C-0698-4C15-9506-499D2C9678B3}"/>
          </ac:graphicFrameMkLst>
        </pc:graphicFrameChg>
        <pc:cxnChg chg="add mod">
          <ac:chgData name="Bob Ward" userId="6da7c2dd-8e2e-469f-a216-c384312e2a2d" providerId="ADAL" clId="{CC07BEAC-85A7-44E0-BC28-578FC3DF3703}" dt="2019-01-22T00:19:07.802" v="2304" actId="11529"/>
          <ac:cxnSpMkLst>
            <pc:docMk/>
            <pc:sldMk cId="2247991029" sldId="4689"/>
            <ac:cxnSpMk id="7" creationId="{F5D7AE05-8048-4169-A3FC-39F025C8EA16}"/>
          </ac:cxnSpMkLst>
        </pc:cxnChg>
        <pc:cxnChg chg="add mod">
          <ac:chgData name="Bob Ward" userId="6da7c2dd-8e2e-469f-a216-c384312e2a2d" providerId="ADAL" clId="{CC07BEAC-85A7-44E0-BC28-578FC3DF3703}" dt="2019-01-22T00:19:17.739" v="2305" actId="11529"/>
          <ac:cxnSpMkLst>
            <pc:docMk/>
            <pc:sldMk cId="2247991029" sldId="4689"/>
            <ac:cxnSpMk id="9" creationId="{10963254-15A6-4827-9F2F-1CEDAE17A561}"/>
          </ac:cxnSpMkLst>
        </pc:cxnChg>
        <pc:cxnChg chg="add">
          <ac:chgData name="Bob Ward" userId="6da7c2dd-8e2e-469f-a216-c384312e2a2d" providerId="ADAL" clId="{CC07BEAC-85A7-44E0-BC28-578FC3DF3703}" dt="2019-01-22T00:19:43.296" v="2308"/>
          <ac:cxnSpMkLst>
            <pc:docMk/>
            <pc:sldMk cId="2247991029" sldId="4689"/>
            <ac:cxnSpMk id="11" creationId="{E7F482CB-F3E4-4236-9E73-C86FD6743216}"/>
          </ac:cxnSpMkLst>
        </pc:cxnChg>
        <pc:cxnChg chg="add">
          <ac:chgData name="Bob Ward" userId="6da7c2dd-8e2e-469f-a216-c384312e2a2d" providerId="ADAL" clId="{CC07BEAC-85A7-44E0-BC28-578FC3DF3703}" dt="2019-01-22T00:20:01.498" v="2309"/>
          <ac:cxnSpMkLst>
            <pc:docMk/>
            <pc:sldMk cId="2247991029" sldId="4689"/>
            <ac:cxnSpMk id="13" creationId="{B6FB266E-2E2B-4C52-B3E2-280B798F9A48}"/>
          </ac:cxnSpMkLst>
        </pc:cxnChg>
        <pc:cxnChg chg="add">
          <ac:chgData name="Bob Ward" userId="6da7c2dd-8e2e-469f-a216-c384312e2a2d" providerId="ADAL" clId="{CC07BEAC-85A7-44E0-BC28-578FC3DF3703}" dt="2019-01-22T00:20:17.408" v="2310"/>
          <ac:cxnSpMkLst>
            <pc:docMk/>
            <pc:sldMk cId="2247991029" sldId="4689"/>
            <ac:cxnSpMk id="15" creationId="{7525601E-3CB8-4B6F-819F-5D53817C721A}"/>
          </ac:cxnSpMkLst>
        </pc:cxnChg>
        <pc:cxnChg chg="add">
          <ac:chgData name="Bob Ward" userId="6da7c2dd-8e2e-469f-a216-c384312e2a2d" providerId="ADAL" clId="{CC07BEAC-85A7-44E0-BC28-578FC3DF3703}" dt="2019-01-22T00:39:18.400" v="2314"/>
          <ac:cxnSpMkLst>
            <pc:docMk/>
            <pc:sldMk cId="2247991029" sldId="4689"/>
            <ac:cxnSpMk id="19" creationId="{8692834E-EF19-437D-946A-4D1B7A9A4E76}"/>
          </ac:cxnSpMkLst>
        </pc:cxnChg>
        <pc:cxnChg chg="add">
          <ac:chgData name="Bob Ward" userId="6da7c2dd-8e2e-469f-a216-c384312e2a2d" providerId="ADAL" clId="{CC07BEAC-85A7-44E0-BC28-578FC3DF3703}" dt="2019-01-22T00:39:54.535" v="2316"/>
          <ac:cxnSpMkLst>
            <pc:docMk/>
            <pc:sldMk cId="2247991029" sldId="4689"/>
            <ac:cxnSpMk id="22" creationId="{E41E546D-044D-4D03-A70D-A22005D2FB96}"/>
          </ac:cxnSpMkLst>
        </pc:cxnChg>
        <pc:cxnChg chg="add">
          <ac:chgData name="Bob Ward" userId="6da7c2dd-8e2e-469f-a216-c384312e2a2d" providerId="ADAL" clId="{CC07BEAC-85A7-44E0-BC28-578FC3DF3703}" dt="2019-01-22T00:41:05.607" v="2319"/>
          <ac:cxnSpMkLst>
            <pc:docMk/>
            <pc:sldMk cId="2247991029" sldId="4689"/>
            <ac:cxnSpMk id="25" creationId="{CA602F55-53A9-44FE-9A3A-0E3E25A0EEE5}"/>
          </ac:cxnSpMkLst>
        </pc:cxnChg>
        <pc:cxnChg chg="add">
          <ac:chgData name="Bob Ward" userId="6da7c2dd-8e2e-469f-a216-c384312e2a2d" providerId="ADAL" clId="{CC07BEAC-85A7-44E0-BC28-578FC3DF3703}" dt="2019-01-22T00:41:11.257" v="2320"/>
          <ac:cxnSpMkLst>
            <pc:docMk/>
            <pc:sldMk cId="2247991029" sldId="4689"/>
            <ac:cxnSpMk id="26" creationId="{7F4F147E-92B0-481B-8F9C-1408D2CB2E2D}"/>
          </ac:cxnSpMkLst>
        </pc:cxnChg>
      </pc:sldChg>
      <pc:sldChg chg="add del">
        <pc:chgData name="Bob Ward" userId="6da7c2dd-8e2e-469f-a216-c384312e2a2d" providerId="ADAL" clId="{CC07BEAC-85A7-44E0-BC28-578FC3DF3703}" dt="2019-02-13T20:39:42.186" v="2853" actId="2696"/>
        <pc:sldMkLst>
          <pc:docMk/>
          <pc:sldMk cId="2107212312" sldId="4690"/>
        </pc:sldMkLst>
      </pc:sldChg>
      <pc:sldChg chg="add ord">
        <pc:chgData name="Bob Ward" userId="6da7c2dd-8e2e-469f-a216-c384312e2a2d" providerId="ADAL" clId="{CC07BEAC-85A7-44E0-BC28-578FC3DF3703}" dt="2019-02-13T20:52:56.714" v="2958"/>
        <pc:sldMkLst>
          <pc:docMk/>
          <pc:sldMk cId="4086452743" sldId="4690"/>
        </pc:sldMkLst>
      </pc:sldChg>
      <pc:sldChg chg="modSp add del">
        <pc:chgData name="Bob Ward" userId="6da7c2dd-8e2e-469f-a216-c384312e2a2d" providerId="ADAL" clId="{CC07BEAC-85A7-44E0-BC28-578FC3DF3703}" dt="2019-02-19T21:15:30.988" v="7157" actId="2696"/>
        <pc:sldMkLst>
          <pc:docMk/>
          <pc:sldMk cId="1178434722" sldId="4691"/>
        </pc:sldMkLst>
        <pc:spChg chg="mod">
          <ac:chgData name="Bob Ward" userId="6da7c2dd-8e2e-469f-a216-c384312e2a2d" providerId="ADAL" clId="{CC07BEAC-85A7-44E0-BC28-578FC3DF3703}" dt="2019-02-13T21:33:48.994" v="3061" actId="20577"/>
          <ac:spMkLst>
            <pc:docMk/>
            <pc:sldMk cId="1178434722" sldId="4691"/>
            <ac:spMk id="2" creationId="{483ACC7E-3464-43A0-9B77-A63D1077980B}"/>
          </ac:spMkLst>
        </pc:spChg>
      </pc:sldChg>
      <pc:sldChg chg="addSp delSp modSp add modAnim">
        <pc:chgData name="Bob Ward" userId="6da7c2dd-8e2e-469f-a216-c384312e2a2d" providerId="ADAL" clId="{CC07BEAC-85A7-44E0-BC28-578FC3DF3703}" dt="2019-02-19T22:50:30.311" v="7936"/>
        <pc:sldMkLst>
          <pc:docMk/>
          <pc:sldMk cId="3228137073" sldId="4692"/>
        </pc:sldMkLst>
        <pc:spChg chg="mod">
          <ac:chgData name="Bob Ward" userId="6da7c2dd-8e2e-469f-a216-c384312e2a2d" providerId="ADAL" clId="{CC07BEAC-85A7-44E0-BC28-578FC3DF3703}" dt="2019-02-19T22:46:36.086" v="7797" actId="1076"/>
          <ac:spMkLst>
            <pc:docMk/>
            <pc:sldMk cId="3228137073" sldId="4692"/>
            <ac:spMk id="2" creationId="{483ACC7E-3464-43A0-9B77-A63D1077980B}"/>
          </ac:spMkLst>
        </pc:spChg>
        <pc:spChg chg="del">
          <ac:chgData name="Bob Ward" userId="6da7c2dd-8e2e-469f-a216-c384312e2a2d" providerId="ADAL" clId="{CC07BEAC-85A7-44E0-BC28-578FC3DF3703}" dt="2019-02-19T22:24:38.957" v="7449" actId="478"/>
          <ac:spMkLst>
            <pc:docMk/>
            <pc:sldMk cId="3228137073" sldId="4692"/>
            <ac:spMk id="3" creationId="{CEE323B6-CDFE-4734-ADE6-5C94D1DCA8E9}"/>
          </ac:spMkLst>
        </pc:spChg>
        <pc:spChg chg="add mod">
          <ac:chgData name="Bob Ward" userId="6da7c2dd-8e2e-469f-a216-c384312e2a2d" providerId="ADAL" clId="{CC07BEAC-85A7-44E0-BC28-578FC3DF3703}" dt="2019-02-19T22:45:37.309" v="7774" actId="1076"/>
          <ac:spMkLst>
            <pc:docMk/>
            <pc:sldMk cId="3228137073" sldId="4692"/>
            <ac:spMk id="6" creationId="{A21289FC-8B65-482A-BDED-67EBEB96D433}"/>
          </ac:spMkLst>
        </pc:spChg>
        <pc:spChg chg="add mod">
          <ac:chgData name="Bob Ward" userId="6da7c2dd-8e2e-469f-a216-c384312e2a2d" providerId="ADAL" clId="{CC07BEAC-85A7-44E0-BC28-578FC3DF3703}" dt="2019-02-19T22:45:02.545" v="7651" actId="1076"/>
          <ac:spMkLst>
            <pc:docMk/>
            <pc:sldMk cId="3228137073" sldId="4692"/>
            <ac:spMk id="7" creationId="{48BE313C-E370-460E-8929-9B419CB6C4E2}"/>
          </ac:spMkLst>
        </pc:spChg>
        <pc:spChg chg="add mod">
          <ac:chgData name="Bob Ward" userId="6da7c2dd-8e2e-469f-a216-c384312e2a2d" providerId="ADAL" clId="{CC07BEAC-85A7-44E0-BC28-578FC3DF3703}" dt="2019-02-19T22:49:56.255" v="7932" actId="113"/>
          <ac:spMkLst>
            <pc:docMk/>
            <pc:sldMk cId="3228137073" sldId="4692"/>
            <ac:spMk id="8" creationId="{6D7515E9-1671-44DD-9EB5-983BC81CD3AE}"/>
          </ac:spMkLst>
        </pc:spChg>
        <pc:spChg chg="add mod">
          <ac:chgData name="Bob Ward" userId="6da7c2dd-8e2e-469f-a216-c384312e2a2d" providerId="ADAL" clId="{CC07BEAC-85A7-44E0-BC28-578FC3DF3703}" dt="2019-02-19T22:50:00.123" v="7933" actId="113"/>
          <ac:spMkLst>
            <pc:docMk/>
            <pc:sldMk cId="3228137073" sldId="4692"/>
            <ac:spMk id="9" creationId="{2EA4C099-3C82-4188-9922-9A9FFBEC13C7}"/>
          </ac:spMkLst>
        </pc:spChg>
        <pc:spChg chg="add mod">
          <ac:chgData name="Bob Ward" userId="6da7c2dd-8e2e-469f-a216-c384312e2a2d" providerId="ADAL" clId="{CC07BEAC-85A7-44E0-BC28-578FC3DF3703}" dt="2019-02-19T22:45:48.392" v="7777" actId="1076"/>
          <ac:spMkLst>
            <pc:docMk/>
            <pc:sldMk cId="3228137073" sldId="4692"/>
            <ac:spMk id="10" creationId="{62062057-EF7F-40EB-9743-DBC1D532F57C}"/>
          </ac:spMkLst>
        </pc:spChg>
        <pc:spChg chg="add mod">
          <ac:chgData name="Bob Ward" userId="6da7c2dd-8e2e-469f-a216-c384312e2a2d" providerId="ADAL" clId="{CC07BEAC-85A7-44E0-BC28-578FC3DF3703}" dt="2019-02-19T22:45:53.336" v="7778" actId="1076"/>
          <ac:spMkLst>
            <pc:docMk/>
            <pc:sldMk cId="3228137073" sldId="4692"/>
            <ac:spMk id="11" creationId="{2917E357-D616-4131-8A62-31992CE687BE}"/>
          </ac:spMkLst>
        </pc:spChg>
        <pc:spChg chg="add mod">
          <ac:chgData name="Bob Ward" userId="6da7c2dd-8e2e-469f-a216-c384312e2a2d" providerId="ADAL" clId="{CC07BEAC-85A7-44E0-BC28-578FC3DF3703}" dt="2019-02-19T22:49:01.217" v="7930" actId="113"/>
          <ac:spMkLst>
            <pc:docMk/>
            <pc:sldMk cId="3228137073" sldId="4692"/>
            <ac:spMk id="15" creationId="{1069F900-AD4D-4520-BF58-524280930516}"/>
          </ac:spMkLst>
        </pc:spChg>
        <pc:spChg chg="add mod">
          <ac:chgData name="Bob Ward" userId="6da7c2dd-8e2e-469f-a216-c384312e2a2d" providerId="ADAL" clId="{CC07BEAC-85A7-44E0-BC28-578FC3DF3703}" dt="2019-02-19T22:46:18.977" v="7795" actId="1076"/>
          <ac:spMkLst>
            <pc:docMk/>
            <pc:sldMk cId="3228137073" sldId="4692"/>
            <ac:spMk id="17" creationId="{3F9FA4B7-3AF2-429C-944D-A3145D988BF3}"/>
          </ac:spMkLst>
        </pc:spChg>
        <pc:picChg chg="add del mod">
          <ac:chgData name="Bob Ward" userId="6da7c2dd-8e2e-469f-a216-c384312e2a2d" providerId="ADAL" clId="{CC07BEAC-85A7-44E0-BC28-578FC3DF3703}" dt="2019-02-19T22:24:53.440" v="7453" actId="478"/>
          <ac:picMkLst>
            <pc:docMk/>
            <pc:sldMk cId="3228137073" sldId="4692"/>
            <ac:picMk id="4" creationId="{0EE48817-C2E5-46DC-82F1-EFC3455CF54E}"/>
          </ac:picMkLst>
        </pc:picChg>
        <pc:picChg chg="add mod">
          <ac:chgData name="Bob Ward" userId="6da7c2dd-8e2e-469f-a216-c384312e2a2d" providerId="ADAL" clId="{CC07BEAC-85A7-44E0-BC28-578FC3DF3703}" dt="2019-02-19T22:45:39.947" v="7775" actId="1076"/>
          <ac:picMkLst>
            <pc:docMk/>
            <pc:sldMk cId="3228137073" sldId="4692"/>
            <ac:picMk id="5" creationId="{ECEEF45B-ADF1-406C-B231-20FF9156F5A2}"/>
          </ac:picMkLst>
        </pc:picChg>
        <pc:cxnChg chg="add mod">
          <ac:chgData name="Bob Ward" userId="6da7c2dd-8e2e-469f-a216-c384312e2a2d" providerId="ADAL" clId="{CC07BEAC-85A7-44E0-BC28-578FC3DF3703}" dt="2019-02-19T22:46:26.933" v="7796" actId="693"/>
          <ac:cxnSpMkLst>
            <pc:docMk/>
            <pc:sldMk cId="3228137073" sldId="4692"/>
            <ac:cxnSpMk id="13" creationId="{84B4C49E-F9BC-45E4-A5E9-A4C0E8EC776B}"/>
          </ac:cxnSpMkLst>
        </pc:cxnChg>
      </pc:sldChg>
      <pc:sldChg chg="addSp delSp modSp add modAnim">
        <pc:chgData name="Bob Ward" userId="6da7c2dd-8e2e-469f-a216-c384312e2a2d" providerId="ADAL" clId="{CC07BEAC-85A7-44E0-BC28-578FC3DF3703}" dt="2019-02-23T19:50:51.463" v="18332"/>
        <pc:sldMkLst>
          <pc:docMk/>
          <pc:sldMk cId="2744988156" sldId="4693"/>
        </pc:sldMkLst>
        <pc:spChg chg="mod">
          <ac:chgData name="Bob Ward" userId="6da7c2dd-8e2e-469f-a216-c384312e2a2d" providerId="ADAL" clId="{CC07BEAC-85A7-44E0-BC28-578FC3DF3703}" dt="2019-02-19T21:37:35.162" v="7215" actId="1076"/>
          <ac:spMkLst>
            <pc:docMk/>
            <pc:sldMk cId="2744988156" sldId="4693"/>
            <ac:spMk id="2" creationId="{483ACC7E-3464-43A0-9B77-A63D1077980B}"/>
          </ac:spMkLst>
        </pc:spChg>
        <pc:spChg chg="del">
          <ac:chgData name="Bob Ward" userId="6da7c2dd-8e2e-469f-a216-c384312e2a2d" providerId="ADAL" clId="{CC07BEAC-85A7-44E0-BC28-578FC3DF3703}" dt="2019-02-19T21:33:16.035" v="7164" actId="478"/>
          <ac:spMkLst>
            <pc:docMk/>
            <pc:sldMk cId="2744988156" sldId="4693"/>
            <ac:spMk id="3" creationId="{CEE323B6-CDFE-4734-ADE6-5C94D1DCA8E9}"/>
          </ac:spMkLst>
        </pc:spChg>
        <pc:spChg chg="add mod">
          <ac:chgData name="Bob Ward" userId="6da7c2dd-8e2e-469f-a216-c384312e2a2d" providerId="ADAL" clId="{CC07BEAC-85A7-44E0-BC28-578FC3DF3703}" dt="2019-02-19T22:48:30.560" v="7918" actId="1076"/>
          <ac:spMkLst>
            <pc:docMk/>
            <pc:sldMk cId="2744988156" sldId="4693"/>
            <ac:spMk id="5" creationId="{18D20E96-8837-4648-9CB5-6D2124B62CE9}"/>
          </ac:spMkLst>
        </pc:spChg>
        <pc:spChg chg="add mod">
          <ac:chgData name="Bob Ward" userId="6da7c2dd-8e2e-469f-a216-c384312e2a2d" providerId="ADAL" clId="{CC07BEAC-85A7-44E0-BC28-578FC3DF3703}" dt="2019-02-19T22:48:30.560" v="7918" actId="1076"/>
          <ac:spMkLst>
            <pc:docMk/>
            <pc:sldMk cId="2744988156" sldId="4693"/>
            <ac:spMk id="11" creationId="{8875BE50-F503-4229-9BC9-E1C7B10F49AC}"/>
          </ac:spMkLst>
        </pc:spChg>
        <pc:spChg chg="add mod">
          <ac:chgData name="Bob Ward" userId="6da7c2dd-8e2e-469f-a216-c384312e2a2d" providerId="ADAL" clId="{CC07BEAC-85A7-44E0-BC28-578FC3DF3703}" dt="2019-02-19T22:48:37.656" v="7927" actId="1076"/>
          <ac:spMkLst>
            <pc:docMk/>
            <pc:sldMk cId="2744988156" sldId="4693"/>
            <ac:spMk id="14" creationId="{0082B6D1-6C31-43E6-917B-5767E3C40929}"/>
          </ac:spMkLst>
        </pc:spChg>
        <pc:spChg chg="add mod">
          <ac:chgData name="Bob Ward" userId="6da7c2dd-8e2e-469f-a216-c384312e2a2d" providerId="ADAL" clId="{CC07BEAC-85A7-44E0-BC28-578FC3DF3703}" dt="2019-02-19T22:48:20.037" v="7915" actId="1076"/>
          <ac:spMkLst>
            <pc:docMk/>
            <pc:sldMk cId="2744988156" sldId="4693"/>
            <ac:spMk id="15" creationId="{2220F019-6199-443F-ACC4-04F8DD6E24A4}"/>
          </ac:spMkLst>
        </pc:spChg>
        <pc:spChg chg="add mod">
          <ac:chgData name="Bob Ward" userId="6da7c2dd-8e2e-469f-a216-c384312e2a2d" providerId="ADAL" clId="{CC07BEAC-85A7-44E0-BC28-578FC3DF3703}" dt="2019-02-19T22:49:07.106" v="7931" actId="113"/>
          <ac:spMkLst>
            <pc:docMk/>
            <pc:sldMk cId="2744988156" sldId="4693"/>
            <ac:spMk id="17" creationId="{953E24D1-59C3-4EF9-9BB9-2EC057064A2E}"/>
          </ac:spMkLst>
        </pc:spChg>
        <pc:picChg chg="add mod">
          <ac:chgData name="Bob Ward" userId="6da7c2dd-8e2e-469f-a216-c384312e2a2d" providerId="ADAL" clId="{CC07BEAC-85A7-44E0-BC28-578FC3DF3703}" dt="2019-02-19T22:48:30.560" v="7918" actId="1076"/>
          <ac:picMkLst>
            <pc:docMk/>
            <pc:sldMk cId="2744988156" sldId="4693"/>
            <ac:picMk id="4" creationId="{D8DE14EB-90EB-4E89-B133-CD1E7777784D}"/>
          </ac:picMkLst>
        </pc:picChg>
        <pc:picChg chg="add mod">
          <ac:chgData name="Bob Ward" userId="6da7c2dd-8e2e-469f-a216-c384312e2a2d" providerId="ADAL" clId="{CC07BEAC-85A7-44E0-BC28-578FC3DF3703}" dt="2019-02-19T22:48:16.444" v="7914" actId="1076"/>
          <ac:picMkLst>
            <pc:docMk/>
            <pc:sldMk cId="2744988156" sldId="4693"/>
            <ac:picMk id="2050" creationId="{A0467D90-A83A-46C9-802F-90473448B2FF}"/>
          </ac:picMkLst>
        </pc:picChg>
        <pc:cxnChg chg="add del mod">
          <ac:chgData name="Bob Ward" userId="6da7c2dd-8e2e-469f-a216-c384312e2a2d" providerId="ADAL" clId="{CC07BEAC-85A7-44E0-BC28-578FC3DF3703}" dt="2019-02-19T21:36:36.395" v="7198" actId="478"/>
          <ac:cxnSpMkLst>
            <pc:docMk/>
            <pc:sldMk cId="2744988156" sldId="4693"/>
            <ac:cxnSpMk id="7" creationId="{66ACB842-57C9-4346-9AFC-05E276913D6D}"/>
          </ac:cxnSpMkLst>
        </pc:cxnChg>
        <pc:cxnChg chg="add mod">
          <ac:chgData name="Bob Ward" userId="6da7c2dd-8e2e-469f-a216-c384312e2a2d" providerId="ADAL" clId="{CC07BEAC-85A7-44E0-BC28-578FC3DF3703}" dt="2019-02-19T22:48:30.560" v="7918" actId="1076"/>
          <ac:cxnSpMkLst>
            <pc:docMk/>
            <pc:sldMk cId="2744988156" sldId="4693"/>
            <ac:cxnSpMk id="9" creationId="{7E1FA4AD-DE47-4FCA-A703-40954CF98E7B}"/>
          </ac:cxnSpMkLst>
        </pc:cxnChg>
        <pc:cxnChg chg="add mod">
          <ac:chgData name="Bob Ward" userId="6da7c2dd-8e2e-469f-a216-c384312e2a2d" providerId="ADAL" clId="{CC07BEAC-85A7-44E0-BC28-578FC3DF3703}" dt="2019-02-19T22:48:30.560" v="7918" actId="1076"/>
          <ac:cxnSpMkLst>
            <pc:docMk/>
            <pc:sldMk cId="2744988156" sldId="4693"/>
            <ac:cxnSpMk id="12" creationId="{E5BE3862-FD13-4964-986A-BCFB936BC0CF}"/>
          </ac:cxnSpMkLst>
        </pc:cxnChg>
      </pc:sldChg>
      <pc:sldChg chg="addSp delSp modSp add modAnim">
        <pc:chgData name="Bob Ward" userId="6da7c2dd-8e2e-469f-a216-c384312e2a2d" providerId="ADAL" clId="{CC07BEAC-85A7-44E0-BC28-578FC3DF3703}" dt="2019-02-23T19:48:20.422" v="18324"/>
        <pc:sldMkLst>
          <pc:docMk/>
          <pc:sldMk cId="2522640682" sldId="4694"/>
        </pc:sldMkLst>
        <pc:spChg chg="mod">
          <ac:chgData name="Bob Ward" userId="6da7c2dd-8e2e-469f-a216-c384312e2a2d" providerId="ADAL" clId="{CC07BEAC-85A7-44E0-BC28-578FC3DF3703}" dt="2019-02-13T21:38:22.891" v="3329" actId="20577"/>
          <ac:spMkLst>
            <pc:docMk/>
            <pc:sldMk cId="2522640682" sldId="4694"/>
            <ac:spMk id="2" creationId="{5026D575-D382-4619-BA7D-CBED1BE81195}"/>
          </ac:spMkLst>
        </pc:spChg>
        <pc:spChg chg="del">
          <ac:chgData name="Bob Ward" userId="6da7c2dd-8e2e-469f-a216-c384312e2a2d" providerId="ADAL" clId="{CC07BEAC-85A7-44E0-BC28-578FC3DF3703}" dt="2019-02-20T03:55:10.386" v="8456" actId="478"/>
          <ac:spMkLst>
            <pc:docMk/>
            <pc:sldMk cId="2522640682" sldId="4694"/>
            <ac:spMk id="3" creationId="{3495847D-8E5B-440C-95DA-7B0E318C3D2B}"/>
          </ac:spMkLst>
        </pc:spChg>
        <pc:spChg chg="add mod">
          <ac:chgData name="Bob Ward" userId="6da7c2dd-8e2e-469f-a216-c384312e2a2d" providerId="ADAL" clId="{CC07BEAC-85A7-44E0-BC28-578FC3DF3703}" dt="2019-02-20T04:27:34.755" v="9104" actId="20577"/>
          <ac:spMkLst>
            <pc:docMk/>
            <pc:sldMk cId="2522640682" sldId="4694"/>
            <ac:spMk id="4" creationId="{80857454-2958-4273-80C9-952144791BD4}"/>
          </ac:spMkLst>
        </pc:spChg>
        <pc:graphicFrameChg chg="add mod">
          <ac:chgData name="Bob Ward" userId="6da7c2dd-8e2e-469f-a216-c384312e2a2d" providerId="ADAL" clId="{CC07BEAC-85A7-44E0-BC28-578FC3DF3703}" dt="2019-02-20T17:41:18.369" v="10854" actId="20577"/>
          <ac:graphicFrameMkLst>
            <pc:docMk/>
            <pc:sldMk cId="2522640682" sldId="4694"/>
            <ac:graphicFrameMk id="5" creationId="{57E45DC9-29CD-4F31-A6F5-6DF32B7DD58C}"/>
          </ac:graphicFrameMkLst>
        </pc:graphicFrameChg>
      </pc:sldChg>
      <pc:sldChg chg="addSp delSp modSp add modAnim">
        <pc:chgData name="Bob Ward" userId="6da7c2dd-8e2e-469f-a216-c384312e2a2d" providerId="ADAL" clId="{CC07BEAC-85A7-44E0-BC28-578FC3DF3703}" dt="2019-02-23T19:51:37.038" v="18333"/>
        <pc:sldMkLst>
          <pc:docMk/>
          <pc:sldMk cId="3559102330" sldId="4695"/>
        </pc:sldMkLst>
        <pc:spChg chg="mod ord">
          <ac:chgData name="Bob Ward" userId="6da7c2dd-8e2e-469f-a216-c384312e2a2d" providerId="ADAL" clId="{CC07BEAC-85A7-44E0-BC28-578FC3DF3703}" dt="2019-02-20T04:39:08.370" v="9627" actId="14100"/>
          <ac:spMkLst>
            <pc:docMk/>
            <pc:sldMk cId="3559102330" sldId="4695"/>
            <ac:spMk id="2" creationId="{DE203A52-CFA0-4EB3-9984-22D25512BD8F}"/>
          </ac:spMkLst>
        </pc:spChg>
        <pc:spChg chg="del">
          <ac:chgData name="Bob Ward" userId="6da7c2dd-8e2e-469f-a216-c384312e2a2d" providerId="ADAL" clId="{CC07BEAC-85A7-44E0-BC28-578FC3DF3703}" dt="2019-02-20T04:38:11.561" v="9623" actId="478"/>
          <ac:spMkLst>
            <pc:docMk/>
            <pc:sldMk cId="3559102330" sldId="4695"/>
            <ac:spMk id="3" creationId="{194A7866-26AD-4C57-B848-780EC687930F}"/>
          </ac:spMkLst>
        </pc:spChg>
        <pc:spChg chg="add">
          <ac:chgData name="Bob Ward" userId="6da7c2dd-8e2e-469f-a216-c384312e2a2d" providerId="ADAL" clId="{CC07BEAC-85A7-44E0-BC28-578FC3DF3703}" dt="2019-02-20T04:38:38.354" v="9624"/>
          <ac:spMkLst>
            <pc:docMk/>
            <pc:sldMk cId="3559102330" sldId="4695"/>
            <ac:spMk id="4" creationId="{859FD69C-9B53-40D9-B71B-3BFBC9B3FF9D}"/>
          </ac:spMkLst>
        </pc:spChg>
        <pc:spChg chg="add mod">
          <ac:chgData name="Bob Ward" userId="6da7c2dd-8e2e-469f-a216-c384312e2a2d" providerId="ADAL" clId="{CC07BEAC-85A7-44E0-BC28-578FC3DF3703}" dt="2019-02-21T03:00:47.938" v="13206" actId="1076"/>
          <ac:spMkLst>
            <pc:docMk/>
            <pc:sldMk cId="3559102330" sldId="4695"/>
            <ac:spMk id="5" creationId="{968BCE12-674F-4429-A63D-DD6C84DC4519}"/>
          </ac:spMkLst>
        </pc:spChg>
        <pc:spChg chg="add">
          <ac:chgData name="Bob Ward" userId="6da7c2dd-8e2e-469f-a216-c384312e2a2d" providerId="ADAL" clId="{CC07BEAC-85A7-44E0-BC28-578FC3DF3703}" dt="2019-02-20T04:38:38.354" v="9624"/>
          <ac:spMkLst>
            <pc:docMk/>
            <pc:sldMk cId="3559102330" sldId="4695"/>
            <ac:spMk id="6" creationId="{BE36FB39-EDAD-4331-83FE-B8A1BB6F971E}"/>
          </ac:spMkLst>
        </pc:spChg>
        <pc:spChg chg="add">
          <ac:chgData name="Bob Ward" userId="6da7c2dd-8e2e-469f-a216-c384312e2a2d" providerId="ADAL" clId="{CC07BEAC-85A7-44E0-BC28-578FC3DF3703}" dt="2019-02-20T04:38:38.354" v="9624"/>
          <ac:spMkLst>
            <pc:docMk/>
            <pc:sldMk cId="3559102330" sldId="4695"/>
            <ac:spMk id="7" creationId="{303508E8-DBEB-4D6A-9D8E-A94F3CD1B222}"/>
          </ac:spMkLst>
        </pc:spChg>
        <pc:spChg chg="add">
          <ac:chgData name="Bob Ward" userId="6da7c2dd-8e2e-469f-a216-c384312e2a2d" providerId="ADAL" clId="{CC07BEAC-85A7-44E0-BC28-578FC3DF3703}" dt="2019-02-20T04:38:38.354" v="9624"/>
          <ac:spMkLst>
            <pc:docMk/>
            <pc:sldMk cId="3559102330" sldId="4695"/>
            <ac:spMk id="8" creationId="{DA6A3E16-DE4E-47BB-BDE6-537F90219FAA}"/>
          </ac:spMkLst>
        </pc:spChg>
        <pc:spChg chg="add">
          <ac:chgData name="Bob Ward" userId="6da7c2dd-8e2e-469f-a216-c384312e2a2d" providerId="ADAL" clId="{CC07BEAC-85A7-44E0-BC28-578FC3DF3703}" dt="2019-02-20T04:38:38.354" v="9624"/>
          <ac:spMkLst>
            <pc:docMk/>
            <pc:sldMk cId="3559102330" sldId="4695"/>
            <ac:spMk id="9" creationId="{701A7F62-C0CC-4E5E-94A1-73F708540AE3}"/>
          </ac:spMkLst>
        </pc:spChg>
        <pc:spChg chg="add">
          <ac:chgData name="Bob Ward" userId="6da7c2dd-8e2e-469f-a216-c384312e2a2d" providerId="ADAL" clId="{CC07BEAC-85A7-44E0-BC28-578FC3DF3703}" dt="2019-02-20T04:38:38.354" v="9624"/>
          <ac:spMkLst>
            <pc:docMk/>
            <pc:sldMk cId="3559102330" sldId="4695"/>
            <ac:spMk id="10" creationId="{55721BA1-F102-45FC-BCD0-CE684690D7D8}"/>
          </ac:spMkLst>
        </pc:spChg>
        <pc:spChg chg="add">
          <ac:chgData name="Bob Ward" userId="6da7c2dd-8e2e-469f-a216-c384312e2a2d" providerId="ADAL" clId="{CC07BEAC-85A7-44E0-BC28-578FC3DF3703}" dt="2019-02-20T04:38:38.354" v="9624"/>
          <ac:spMkLst>
            <pc:docMk/>
            <pc:sldMk cId="3559102330" sldId="4695"/>
            <ac:spMk id="14" creationId="{098FD7AA-61DB-457B-BB14-A5A9A174B6C2}"/>
          </ac:spMkLst>
        </pc:spChg>
        <pc:spChg chg="add">
          <ac:chgData name="Bob Ward" userId="6da7c2dd-8e2e-469f-a216-c384312e2a2d" providerId="ADAL" clId="{CC07BEAC-85A7-44E0-BC28-578FC3DF3703}" dt="2019-02-20T04:38:38.354" v="9624"/>
          <ac:spMkLst>
            <pc:docMk/>
            <pc:sldMk cId="3559102330" sldId="4695"/>
            <ac:spMk id="15" creationId="{493FEEF3-EE4E-4EF9-AD75-AC6CDFC8ABA0}"/>
          </ac:spMkLst>
        </pc:spChg>
        <pc:spChg chg="add">
          <ac:chgData name="Bob Ward" userId="6da7c2dd-8e2e-469f-a216-c384312e2a2d" providerId="ADAL" clId="{CC07BEAC-85A7-44E0-BC28-578FC3DF3703}" dt="2019-02-20T04:38:38.354" v="9624"/>
          <ac:spMkLst>
            <pc:docMk/>
            <pc:sldMk cId="3559102330" sldId="4695"/>
            <ac:spMk id="16" creationId="{EE5AA6CA-2F5D-4FC5-B7A2-1D07E6ACCFBB}"/>
          </ac:spMkLst>
        </pc:spChg>
        <pc:spChg chg="add">
          <ac:chgData name="Bob Ward" userId="6da7c2dd-8e2e-469f-a216-c384312e2a2d" providerId="ADAL" clId="{CC07BEAC-85A7-44E0-BC28-578FC3DF3703}" dt="2019-02-20T04:38:38.354" v="9624"/>
          <ac:spMkLst>
            <pc:docMk/>
            <pc:sldMk cId="3559102330" sldId="4695"/>
            <ac:spMk id="17" creationId="{62A1A017-354C-4D2C-BFAB-F48901F365AD}"/>
          </ac:spMkLst>
        </pc:spChg>
        <pc:spChg chg="add">
          <ac:chgData name="Bob Ward" userId="6da7c2dd-8e2e-469f-a216-c384312e2a2d" providerId="ADAL" clId="{CC07BEAC-85A7-44E0-BC28-578FC3DF3703}" dt="2019-02-20T04:38:38.354" v="9624"/>
          <ac:spMkLst>
            <pc:docMk/>
            <pc:sldMk cId="3559102330" sldId="4695"/>
            <ac:spMk id="24" creationId="{7181E347-CDB8-4009-8880-22726047A985}"/>
          </ac:spMkLst>
        </pc:spChg>
        <pc:spChg chg="add">
          <ac:chgData name="Bob Ward" userId="6da7c2dd-8e2e-469f-a216-c384312e2a2d" providerId="ADAL" clId="{CC07BEAC-85A7-44E0-BC28-578FC3DF3703}" dt="2019-02-20T04:38:38.354" v="9624"/>
          <ac:spMkLst>
            <pc:docMk/>
            <pc:sldMk cId="3559102330" sldId="4695"/>
            <ac:spMk id="25" creationId="{2630E2AB-0729-429C-8965-CD927DD702FE}"/>
          </ac:spMkLst>
        </pc:spChg>
        <pc:spChg chg="add">
          <ac:chgData name="Bob Ward" userId="6da7c2dd-8e2e-469f-a216-c384312e2a2d" providerId="ADAL" clId="{CC07BEAC-85A7-44E0-BC28-578FC3DF3703}" dt="2019-02-20T04:38:38.354" v="9624"/>
          <ac:spMkLst>
            <pc:docMk/>
            <pc:sldMk cId="3559102330" sldId="4695"/>
            <ac:spMk id="26" creationId="{E5256791-05C4-4554-B9C1-8BFD08B4DD53}"/>
          </ac:spMkLst>
        </pc:spChg>
        <pc:spChg chg="add mod">
          <ac:chgData name="Bob Ward" userId="6da7c2dd-8e2e-469f-a216-c384312e2a2d" providerId="ADAL" clId="{CC07BEAC-85A7-44E0-BC28-578FC3DF3703}" dt="2019-02-21T03:00:38.855" v="13204" actId="1076"/>
          <ac:spMkLst>
            <pc:docMk/>
            <pc:sldMk cId="3559102330" sldId="4695"/>
            <ac:spMk id="27" creationId="{4BAA8ED1-E53B-452E-85E8-C88F13A6C497}"/>
          </ac:spMkLst>
        </pc:spChg>
        <pc:grpChg chg="add">
          <ac:chgData name="Bob Ward" userId="6da7c2dd-8e2e-469f-a216-c384312e2a2d" providerId="ADAL" clId="{CC07BEAC-85A7-44E0-BC28-578FC3DF3703}" dt="2019-02-20T04:38:38.354" v="9624"/>
          <ac:grpSpMkLst>
            <pc:docMk/>
            <pc:sldMk cId="3559102330" sldId="4695"/>
            <ac:grpSpMk id="18" creationId="{666213BF-2236-4F3C-8904-EFAC181E6E2F}"/>
          </ac:grpSpMkLst>
        </pc:grpChg>
        <pc:cxnChg chg="add">
          <ac:chgData name="Bob Ward" userId="6da7c2dd-8e2e-469f-a216-c384312e2a2d" providerId="ADAL" clId="{CC07BEAC-85A7-44E0-BC28-578FC3DF3703}" dt="2019-02-20T04:38:38.354" v="9624"/>
          <ac:cxnSpMkLst>
            <pc:docMk/>
            <pc:sldMk cId="3559102330" sldId="4695"/>
            <ac:cxnSpMk id="11" creationId="{4DD38DD1-18D8-4986-856A-AF9B21EE753D}"/>
          </ac:cxnSpMkLst>
        </pc:cxnChg>
        <pc:cxnChg chg="add">
          <ac:chgData name="Bob Ward" userId="6da7c2dd-8e2e-469f-a216-c384312e2a2d" providerId="ADAL" clId="{CC07BEAC-85A7-44E0-BC28-578FC3DF3703}" dt="2019-02-20T04:38:38.354" v="9624"/>
          <ac:cxnSpMkLst>
            <pc:docMk/>
            <pc:sldMk cId="3559102330" sldId="4695"/>
            <ac:cxnSpMk id="12" creationId="{4F38DAA8-9B80-45A0-8396-6EBD55B9073E}"/>
          </ac:cxnSpMkLst>
        </pc:cxnChg>
        <pc:cxnChg chg="add">
          <ac:chgData name="Bob Ward" userId="6da7c2dd-8e2e-469f-a216-c384312e2a2d" providerId="ADAL" clId="{CC07BEAC-85A7-44E0-BC28-578FC3DF3703}" dt="2019-02-20T04:38:38.354" v="9624"/>
          <ac:cxnSpMkLst>
            <pc:docMk/>
            <pc:sldMk cId="3559102330" sldId="4695"/>
            <ac:cxnSpMk id="13" creationId="{381E25ED-9437-4F68-BF4D-5DF9E8548C64}"/>
          </ac:cxnSpMkLst>
        </pc:cxnChg>
      </pc:sldChg>
      <pc:sldChg chg="addSp delSp modSp add modAnim">
        <pc:chgData name="Bob Ward" userId="6da7c2dd-8e2e-469f-a216-c384312e2a2d" providerId="ADAL" clId="{CC07BEAC-85A7-44E0-BC28-578FC3DF3703}" dt="2019-02-23T19:48:32.792" v="18326"/>
        <pc:sldMkLst>
          <pc:docMk/>
          <pc:sldMk cId="4041737884" sldId="4696"/>
        </pc:sldMkLst>
        <pc:spChg chg="mod">
          <ac:chgData name="Bob Ward" userId="6da7c2dd-8e2e-469f-a216-c384312e2a2d" providerId="ADAL" clId="{CC07BEAC-85A7-44E0-BC28-578FC3DF3703}" dt="2019-02-20T17:29:05.789" v="10675" actId="20577"/>
          <ac:spMkLst>
            <pc:docMk/>
            <pc:sldMk cId="4041737884" sldId="4696"/>
            <ac:spMk id="2" creationId="{DE203A52-CFA0-4EB3-9984-22D25512BD8F}"/>
          </ac:spMkLst>
        </pc:spChg>
        <pc:spChg chg="del">
          <ac:chgData name="Bob Ward" userId="6da7c2dd-8e2e-469f-a216-c384312e2a2d" providerId="ADAL" clId="{CC07BEAC-85A7-44E0-BC28-578FC3DF3703}" dt="2019-02-19T23:45:35.862" v="7965" actId="478"/>
          <ac:spMkLst>
            <pc:docMk/>
            <pc:sldMk cId="4041737884" sldId="4696"/>
            <ac:spMk id="3" creationId="{194A7866-26AD-4C57-B848-780EC687930F}"/>
          </ac:spMkLst>
        </pc:spChg>
        <pc:spChg chg="add mod">
          <ac:chgData name="Bob Ward" userId="6da7c2dd-8e2e-469f-a216-c384312e2a2d" providerId="ADAL" clId="{CC07BEAC-85A7-44E0-BC28-578FC3DF3703}" dt="2019-02-20T17:28:57.950" v="10643" actId="1076"/>
          <ac:spMkLst>
            <pc:docMk/>
            <pc:sldMk cId="4041737884" sldId="4696"/>
            <ac:spMk id="5" creationId="{73F37F6F-4A4F-4B1B-80D8-6B6562191821}"/>
          </ac:spMkLst>
        </pc:spChg>
        <pc:graphicFrameChg chg="add mod">
          <ac:chgData name="Bob Ward" userId="6da7c2dd-8e2e-469f-a216-c384312e2a2d" providerId="ADAL" clId="{CC07BEAC-85A7-44E0-BC28-578FC3DF3703}" dt="2019-02-20T17:28:48.678" v="10641" actId="1076"/>
          <ac:graphicFrameMkLst>
            <pc:docMk/>
            <pc:sldMk cId="4041737884" sldId="4696"/>
            <ac:graphicFrameMk id="4" creationId="{4C01E803-3DFF-47DD-9C0A-331EC4DCCC32}"/>
          </ac:graphicFrameMkLst>
        </pc:graphicFrameChg>
        <pc:picChg chg="add del">
          <ac:chgData name="Bob Ward" userId="6da7c2dd-8e2e-469f-a216-c384312e2a2d" providerId="ADAL" clId="{CC07BEAC-85A7-44E0-BC28-578FC3DF3703}" dt="2019-02-19T23:46:10.139" v="8030"/>
          <ac:picMkLst>
            <pc:docMk/>
            <pc:sldMk cId="4041737884" sldId="4696"/>
            <ac:picMk id="3074" creationId="{2D35908C-8764-4492-BFD6-3C3F4FB62C78}"/>
          </ac:picMkLst>
        </pc:picChg>
        <pc:picChg chg="add mod">
          <ac:chgData name="Bob Ward" userId="6da7c2dd-8e2e-469f-a216-c384312e2a2d" providerId="ADAL" clId="{CC07BEAC-85A7-44E0-BC28-578FC3DF3703}" dt="2019-02-20T17:28:44.120" v="10640" actId="1076"/>
          <ac:picMkLst>
            <pc:docMk/>
            <pc:sldMk cId="4041737884" sldId="4696"/>
            <ac:picMk id="3076" creationId="{CE12F756-5C03-49B9-9178-D6DE3A31F24F}"/>
          </ac:picMkLst>
        </pc:picChg>
      </pc:sldChg>
      <pc:sldChg chg="addSp delSp modSp add modAnim">
        <pc:chgData name="Bob Ward" userId="6da7c2dd-8e2e-469f-a216-c384312e2a2d" providerId="ADAL" clId="{CC07BEAC-85A7-44E0-BC28-578FC3DF3703}" dt="2019-02-21T03:02:13.073" v="13284" actId="1076"/>
        <pc:sldMkLst>
          <pc:docMk/>
          <pc:sldMk cId="3477207563" sldId="4697"/>
        </pc:sldMkLst>
        <pc:spChg chg="mod">
          <ac:chgData name="Bob Ward" userId="6da7c2dd-8e2e-469f-a216-c384312e2a2d" providerId="ADAL" clId="{CC07BEAC-85A7-44E0-BC28-578FC3DF3703}" dt="2019-02-20T04:47:51.940" v="9814" actId="1076"/>
          <ac:spMkLst>
            <pc:docMk/>
            <pc:sldMk cId="3477207563" sldId="4697"/>
            <ac:spMk id="2" creationId="{F2C60B96-D19E-44AB-B183-5605F170FB0A}"/>
          </ac:spMkLst>
        </pc:spChg>
        <pc:spChg chg="del">
          <ac:chgData name="Bob Ward" userId="6da7c2dd-8e2e-469f-a216-c384312e2a2d" providerId="ADAL" clId="{CC07BEAC-85A7-44E0-BC28-578FC3DF3703}" dt="2019-02-20T04:47:44.334" v="9812" actId="478"/>
          <ac:spMkLst>
            <pc:docMk/>
            <pc:sldMk cId="3477207563" sldId="4697"/>
            <ac:spMk id="3" creationId="{22D91DC9-E42B-4A63-92CC-4F89957B0471}"/>
          </ac:spMkLst>
        </pc:spChg>
        <pc:spChg chg="add">
          <ac:chgData name="Bob Ward" userId="6da7c2dd-8e2e-469f-a216-c384312e2a2d" providerId="ADAL" clId="{CC07BEAC-85A7-44E0-BC28-578FC3DF3703}" dt="2019-02-20T04:47:45.520" v="9813"/>
          <ac:spMkLst>
            <pc:docMk/>
            <pc:sldMk cId="3477207563" sldId="4697"/>
            <ac:spMk id="6" creationId="{4B04D43F-34FC-4BBA-BB68-20DBB3818B8E}"/>
          </ac:spMkLst>
        </pc:spChg>
        <pc:spChg chg="add">
          <ac:chgData name="Bob Ward" userId="6da7c2dd-8e2e-469f-a216-c384312e2a2d" providerId="ADAL" clId="{CC07BEAC-85A7-44E0-BC28-578FC3DF3703}" dt="2019-02-20T04:47:45.520" v="9813"/>
          <ac:spMkLst>
            <pc:docMk/>
            <pc:sldMk cId="3477207563" sldId="4697"/>
            <ac:spMk id="7" creationId="{658EF6B3-37F2-4519-870E-729A0F35E41C}"/>
          </ac:spMkLst>
        </pc:spChg>
        <pc:spChg chg="add">
          <ac:chgData name="Bob Ward" userId="6da7c2dd-8e2e-469f-a216-c384312e2a2d" providerId="ADAL" clId="{CC07BEAC-85A7-44E0-BC28-578FC3DF3703}" dt="2019-02-20T04:47:45.520" v="9813"/>
          <ac:spMkLst>
            <pc:docMk/>
            <pc:sldMk cId="3477207563" sldId="4697"/>
            <ac:spMk id="8" creationId="{D32A63A4-2E3E-4DCC-95EE-FAC836A429ED}"/>
          </ac:spMkLst>
        </pc:spChg>
        <pc:spChg chg="add">
          <ac:chgData name="Bob Ward" userId="6da7c2dd-8e2e-469f-a216-c384312e2a2d" providerId="ADAL" clId="{CC07BEAC-85A7-44E0-BC28-578FC3DF3703}" dt="2019-02-20T04:47:45.520" v="9813"/>
          <ac:spMkLst>
            <pc:docMk/>
            <pc:sldMk cId="3477207563" sldId="4697"/>
            <ac:spMk id="9" creationId="{D406E5CB-7134-4797-9FE1-BAB6E8E852AE}"/>
          </ac:spMkLst>
        </pc:spChg>
        <pc:spChg chg="add">
          <ac:chgData name="Bob Ward" userId="6da7c2dd-8e2e-469f-a216-c384312e2a2d" providerId="ADAL" clId="{CC07BEAC-85A7-44E0-BC28-578FC3DF3703}" dt="2019-02-20T04:47:45.520" v="9813"/>
          <ac:spMkLst>
            <pc:docMk/>
            <pc:sldMk cId="3477207563" sldId="4697"/>
            <ac:spMk id="10" creationId="{331FF703-5649-4484-9A01-F8728ABA9618}"/>
          </ac:spMkLst>
        </pc:spChg>
        <pc:spChg chg="add mod">
          <ac:chgData name="Bob Ward" userId="6da7c2dd-8e2e-469f-a216-c384312e2a2d" providerId="ADAL" clId="{CC07BEAC-85A7-44E0-BC28-578FC3DF3703}" dt="2019-02-21T03:01:36.616" v="13207" actId="1076"/>
          <ac:spMkLst>
            <pc:docMk/>
            <pc:sldMk cId="3477207563" sldId="4697"/>
            <ac:spMk id="11" creationId="{C8AAF447-092F-4489-823C-B797B4BA7192}"/>
          </ac:spMkLst>
        </pc:spChg>
        <pc:spChg chg="add mod">
          <ac:chgData name="Bob Ward" userId="6da7c2dd-8e2e-469f-a216-c384312e2a2d" providerId="ADAL" clId="{CC07BEAC-85A7-44E0-BC28-578FC3DF3703}" dt="2019-02-21T03:01:36.616" v="13207" actId="1076"/>
          <ac:spMkLst>
            <pc:docMk/>
            <pc:sldMk cId="3477207563" sldId="4697"/>
            <ac:spMk id="12" creationId="{5FEFF80A-F35E-4FAE-85F1-66F84E9F430F}"/>
          </ac:spMkLst>
        </pc:spChg>
        <pc:spChg chg="add mod">
          <ac:chgData name="Bob Ward" userId="6da7c2dd-8e2e-469f-a216-c384312e2a2d" providerId="ADAL" clId="{CC07BEAC-85A7-44E0-BC28-578FC3DF3703}" dt="2019-02-21T03:02:05.265" v="13283" actId="1076"/>
          <ac:spMkLst>
            <pc:docMk/>
            <pc:sldMk cId="3477207563" sldId="4697"/>
            <ac:spMk id="13" creationId="{38614559-E1E3-4AD6-BF8B-60491B08DCDA}"/>
          </ac:spMkLst>
        </pc:spChg>
        <pc:graphicFrameChg chg="add mod modGraphic">
          <ac:chgData name="Bob Ward" userId="6da7c2dd-8e2e-469f-a216-c384312e2a2d" providerId="ADAL" clId="{CC07BEAC-85A7-44E0-BC28-578FC3DF3703}" dt="2019-02-21T03:02:13.073" v="13284" actId="1076"/>
          <ac:graphicFrameMkLst>
            <pc:docMk/>
            <pc:sldMk cId="3477207563" sldId="4697"/>
            <ac:graphicFrameMk id="5" creationId="{AC19318C-61DD-404D-B294-F6A10C6CE440}"/>
          </ac:graphicFrameMkLst>
        </pc:graphicFrameChg>
        <pc:picChg chg="add">
          <ac:chgData name="Bob Ward" userId="6da7c2dd-8e2e-469f-a216-c384312e2a2d" providerId="ADAL" clId="{CC07BEAC-85A7-44E0-BC28-578FC3DF3703}" dt="2019-02-20T04:47:45.520" v="9813"/>
          <ac:picMkLst>
            <pc:docMk/>
            <pc:sldMk cId="3477207563" sldId="4697"/>
            <ac:picMk id="4" creationId="{49E96EBB-8B77-46E1-8301-CD1824E1E011}"/>
          </ac:picMkLst>
        </pc:picChg>
      </pc:sldChg>
      <pc:sldChg chg="modSp add del">
        <pc:chgData name="Bob Ward" userId="6da7c2dd-8e2e-469f-a216-c384312e2a2d" providerId="ADAL" clId="{CC07BEAC-85A7-44E0-BC28-578FC3DF3703}" dt="2019-02-20T04:44:07.448" v="9725" actId="2696"/>
        <pc:sldMkLst>
          <pc:docMk/>
          <pc:sldMk cId="728811639" sldId="4698"/>
        </pc:sldMkLst>
        <pc:spChg chg="mod">
          <ac:chgData name="Bob Ward" userId="6da7c2dd-8e2e-469f-a216-c384312e2a2d" providerId="ADAL" clId="{CC07BEAC-85A7-44E0-BC28-578FC3DF3703}" dt="2019-02-13T21:40:33.199" v="3614" actId="20577"/>
          <ac:spMkLst>
            <pc:docMk/>
            <pc:sldMk cId="728811639" sldId="4698"/>
            <ac:spMk id="2" creationId="{F2C60B96-D19E-44AB-B183-5605F170FB0A}"/>
          </ac:spMkLst>
        </pc:spChg>
      </pc:sldChg>
      <pc:sldChg chg="addSp delSp modSp add modAnim">
        <pc:chgData name="Bob Ward" userId="6da7c2dd-8e2e-469f-a216-c384312e2a2d" providerId="ADAL" clId="{CC07BEAC-85A7-44E0-BC28-578FC3DF3703}" dt="2019-02-23T19:52:36.167" v="18340"/>
        <pc:sldMkLst>
          <pc:docMk/>
          <pc:sldMk cId="3319097858" sldId="4699"/>
        </pc:sldMkLst>
        <pc:spChg chg="mod">
          <ac:chgData name="Bob Ward" userId="6da7c2dd-8e2e-469f-a216-c384312e2a2d" providerId="ADAL" clId="{CC07BEAC-85A7-44E0-BC28-578FC3DF3703}" dt="2019-02-20T17:22:22.661" v="9936" actId="14100"/>
          <ac:spMkLst>
            <pc:docMk/>
            <pc:sldMk cId="3319097858" sldId="4699"/>
            <ac:spMk id="2" creationId="{F2C60B96-D19E-44AB-B183-5605F170FB0A}"/>
          </ac:spMkLst>
        </pc:spChg>
        <pc:spChg chg="del">
          <ac:chgData name="Bob Ward" userId="6da7c2dd-8e2e-469f-a216-c384312e2a2d" providerId="ADAL" clId="{CC07BEAC-85A7-44E0-BC28-578FC3DF3703}" dt="2019-02-20T17:22:02.921" v="9931" actId="478"/>
          <ac:spMkLst>
            <pc:docMk/>
            <pc:sldMk cId="3319097858" sldId="4699"/>
            <ac:spMk id="3" creationId="{22D91DC9-E42B-4A63-92CC-4F89957B0471}"/>
          </ac:spMkLst>
        </pc:spChg>
        <pc:spChg chg="add del">
          <ac:chgData name="Bob Ward" userId="6da7c2dd-8e2e-469f-a216-c384312e2a2d" providerId="ADAL" clId="{CC07BEAC-85A7-44E0-BC28-578FC3DF3703}" dt="2019-02-20T17:22:05.682" v="9933"/>
          <ac:spMkLst>
            <pc:docMk/>
            <pc:sldMk cId="3319097858" sldId="4699"/>
            <ac:spMk id="4" creationId="{D44C499B-7C09-45C0-811D-9C07ECA364D8}"/>
          </ac:spMkLst>
        </pc:spChg>
        <pc:spChg chg="add mod">
          <ac:chgData name="Bob Ward" userId="6da7c2dd-8e2e-469f-a216-c384312e2a2d" providerId="ADAL" clId="{CC07BEAC-85A7-44E0-BC28-578FC3DF3703}" dt="2019-02-21T03:03:54.440" v="13425" actId="14100"/>
          <ac:spMkLst>
            <pc:docMk/>
            <pc:sldMk cId="3319097858" sldId="4699"/>
            <ac:spMk id="5" creationId="{DC8C3A60-7C7A-4039-A048-48502A1C52E1}"/>
          </ac:spMkLst>
        </pc:spChg>
        <pc:spChg chg="add">
          <ac:chgData name="Bob Ward" userId="6da7c2dd-8e2e-469f-a216-c384312e2a2d" providerId="ADAL" clId="{CC07BEAC-85A7-44E0-BC28-578FC3DF3703}" dt="2019-02-20T17:22:15.611" v="9934"/>
          <ac:spMkLst>
            <pc:docMk/>
            <pc:sldMk cId="3319097858" sldId="4699"/>
            <ac:spMk id="7" creationId="{4F849EEC-3606-4200-8F7C-4DD34B3A6FAA}"/>
          </ac:spMkLst>
        </pc:spChg>
        <pc:spChg chg="add">
          <ac:chgData name="Bob Ward" userId="6da7c2dd-8e2e-469f-a216-c384312e2a2d" providerId="ADAL" clId="{CC07BEAC-85A7-44E0-BC28-578FC3DF3703}" dt="2019-02-20T17:22:15.611" v="9934"/>
          <ac:spMkLst>
            <pc:docMk/>
            <pc:sldMk cId="3319097858" sldId="4699"/>
            <ac:spMk id="8" creationId="{E364CB98-E470-4ABE-B0D4-4194397FE588}"/>
          </ac:spMkLst>
        </pc:spChg>
        <pc:spChg chg="add">
          <ac:chgData name="Bob Ward" userId="6da7c2dd-8e2e-469f-a216-c384312e2a2d" providerId="ADAL" clId="{CC07BEAC-85A7-44E0-BC28-578FC3DF3703}" dt="2019-02-20T17:22:15.611" v="9934"/>
          <ac:spMkLst>
            <pc:docMk/>
            <pc:sldMk cId="3319097858" sldId="4699"/>
            <ac:spMk id="9" creationId="{F29B871B-19A6-4426-8131-BCE82AACC940}"/>
          </ac:spMkLst>
        </pc:spChg>
        <pc:spChg chg="add">
          <ac:chgData name="Bob Ward" userId="6da7c2dd-8e2e-469f-a216-c384312e2a2d" providerId="ADAL" clId="{CC07BEAC-85A7-44E0-BC28-578FC3DF3703}" dt="2019-02-20T17:22:15.611" v="9934"/>
          <ac:spMkLst>
            <pc:docMk/>
            <pc:sldMk cId="3319097858" sldId="4699"/>
            <ac:spMk id="12" creationId="{FF028D60-39A9-4AF1-885A-78748BA5DCED}"/>
          </ac:spMkLst>
        </pc:spChg>
        <pc:spChg chg="add">
          <ac:chgData name="Bob Ward" userId="6da7c2dd-8e2e-469f-a216-c384312e2a2d" providerId="ADAL" clId="{CC07BEAC-85A7-44E0-BC28-578FC3DF3703}" dt="2019-02-20T17:22:15.611" v="9934"/>
          <ac:spMkLst>
            <pc:docMk/>
            <pc:sldMk cId="3319097858" sldId="4699"/>
            <ac:spMk id="13" creationId="{562A4A57-1145-49B4-AB27-0AC5DF1C8497}"/>
          </ac:spMkLst>
        </pc:spChg>
        <pc:spChg chg="add">
          <ac:chgData name="Bob Ward" userId="6da7c2dd-8e2e-469f-a216-c384312e2a2d" providerId="ADAL" clId="{CC07BEAC-85A7-44E0-BC28-578FC3DF3703}" dt="2019-02-20T17:22:15.611" v="9934"/>
          <ac:spMkLst>
            <pc:docMk/>
            <pc:sldMk cId="3319097858" sldId="4699"/>
            <ac:spMk id="33" creationId="{DEB5584F-89DE-4556-A750-6FD24046DA6B}"/>
          </ac:spMkLst>
        </pc:spChg>
        <pc:spChg chg="add">
          <ac:chgData name="Bob Ward" userId="6da7c2dd-8e2e-469f-a216-c384312e2a2d" providerId="ADAL" clId="{CC07BEAC-85A7-44E0-BC28-578FC3DF3703}" dt="2019-02-20T17:22:15.611" v="9934"/>
          <ac:spMkLst>
            <pc:docMk/>
            <pc:sldMk cId="3319097858" sldId="4699"/>
            <ac:spMk id="34" creationId="{49DF0A29-F1BE-41C2-904C-5DEB71645CFD}"/>
          </ac:spMkLst>
        </pc:spChg>
        <pc:spChg chg="add">
          <ac:chgData name="Bob Ward" userId="6da7c2dd-8e2e-469f-a216-c384312e2a2d" providerId="ADAL" clId="{CC07BEAC-85A7-44E0-BC28-578FC3DF3703}" dt="2019-02-20T17:22:15.611" v="9934"/>
          <ac:spMkLst>
            <pc:docMk/>
            <pc:sldMk cId="3319097858" sldId="4699"/>
            <ac:spMk id="59" creationId="{F154C7F8-D6CE-4A75-B383-41FCC11C11E0}"/>
          </ac:spMkLst>
        </pc:spChg>
        <pc:spChg chg="add mod">
          <ac:chgData name="Bob Ward" userId="6da7c2dd-8e2e-469f-a216-c384312e2a2d" providerId="ADAL" clId="{CC07BEAC-85A7-44E0-BC28-578FC3DF3703}" dt="2019-02-21T03:31:40.936" v="14395" actId="20577"/>
          <ac:spMkLst>
            <pc:docMk/>
            <pc:sldMk cId="3319097858" sldId="4699"/>
            <ac:spMk id="62" creationId="{90BC9079-59B9-48D8-B26B-A0E17FEB8804}"/>
          </ac:spMkLst>
        </pc:spChg>
        <pc:grpChg chg="add">
          <ac:chgData name="Bob Ward" userId="6da7c2dd-8e2e-469f-a216-c384312e2a2d" providerId="ADAL" clId="{CC07BEAC-85A7-44E0-BC28-578FC3DF3703}" dt="2019-02-20T17:22:15.611" v="9934"/>
          <ac:grpSpMkLst>
            <pc:docMk/>
            <pc:sldMk cId="3319097858" sldId="4699"/>
            <ac:grpSpMk id="14" creationId="{BDFDCDC4-CE40-4579-9AD9-0F4F7ECD4F86}"/>
          </ac:grpSpMkLst>
        </pc:grpChg>
        <pc:grpChg chg="add">
          <ac:chgData name="Bob Ward" userId="6da7c2dd-8e2e-469f-a216-c384312e2a2d" providerId="ADAL" clId="{CC07BEAC-85A7-44E0-BC28-578FC3DF3703}" dt="2019-02-20T17:22:15.611" v="9934"/>
          <ac:grpSpMkLst>
            <pc:docMk/>
            <pc:sldMk cId="3319097858" sldId="4699"/>
            <ac:grpSpMk id="23" creationId="{94845056-D33A-42C8-8B27-611611B13CCD}"/>
          </ac:grpSpMkLst>
        </pc:grpChg>
        <pc:grpChg chg="add">
          <ac:chgData name="Bob Ward" userId="6da7c2dd-8e2e-469f-a216-c384312e2a2d" providerId="ADAL" clId="{CC07BEAC-85A7-44E0-BC28-578FC3DF3703}" dt="2019-02-20T17:22:15.611" v="9934"/>
          <ac:grpSpMkLst>
            <pc:docMk/>
            <pc:sldMk cId="3319097858" sldId="4699"/>
            <ac:grpSpMk id="35" creationId="{5C90FB3D-E997-4D4B-8C31-414243E11907}"/>
          </ac:grpSpMkLst>
        </pc:grpChg>
        <pc:grpChg chg="add">
          <ac:chgData name="Bob Ward" userId="6da7c2dd-8e2e-469f-a216-c384312e2a2d" providerId="ADAL" clId="{CC07BEAC-85A7-44E0-BC28-578FC3DF3703}" dt="2019-02-20T17:22:15.611" v="9934"/>
          <ac:grpSpMkLst>
            <pc:docMk/>
            <pc:sldMk cId="3319097858" sldId="4699"/>
            <ac:grpSpMk id="44" creationId="{5F7C04BF-3304-4762-8CE9-40E5F02434E4}"/>
          </ac:grpSpMkLst>
        </pc:grpChg>
        <pc:graphicFrameChg chg="add mod">
          <ac:chgData name="Bob Ward" userId="6da7c2dd-8e2e-469f-a216-c384312e2a2d" providerId="ADAL" clId="{CC07BEAC-85A7-44E0-BC28-578FC3DF3703}" dt="2019-02-21T03:04:00.503" v="13427" actId="14100"/>
          <ac:graphicFrameMkLst>
            <pc:docMk/>
            <pc:sldMk cId="3319097858" sldId="4699"/>
            <ac:graphicFrameMk id="61" creationId="{A38647AF-5691-4866-846A-A75CB5B4DC9F}"/>
          </ac:graphicFrameMkLst>
        </pc:graphicFrameChg>
        <pc:picChg chg="add">
          <ac:chgData name="Bob Ward" userId="6da7c2dd-8e2e-469f-a216-c384312e2a2d" providerId="ADAL" clId="{CC07BEAC-85A7-44E0-BC28-578FC3DF3703}" dt="2019-02-20T17:22:15.611" v="9934"/>
          <ac:picMkLst>
            <pc:docMk/>
            <pc:sldMk cId="3319097858" sldId="4699"/>
            <ac:picMk id="60" creationId="{B679F714-FA6A-4EDA-99B5-5B3391352C97}"/>
          </ac:picMkLst>
        </pc:picChg>
        <pc:cxnChg chg="add">
          <ac:chgData name="Bob Ward" userId="6da7c2dd-8e2e-469f-a216-c384312e2a2d" providerId="ADAL" clId="{CC07BEAC-85A7-44E0-BC28-578FC3DF3703}" dt="2019-02-20T17:22:15.611" v="9934"/>
          <ac:cxnSpMkLst>
            <pc:docMk/>
            <pc:sldMk cId="3319097858" sldId="4699"/>
            <ac:cxnSpMk id="6" creationId="{E3166F12-3569-4E9B-91A0-469766B3A507}"/>
          </ac:cxnSpMkLst>
        </pc:cxnChg>
        <pc:cxnChg chg="add">
          <ac:chgData name="Bob Ward" userId="6da7c2dd-8e2e-469f-a216-c384312e2a2d" providerId="ADAL" clId="{CC07BEAC-85A7-44E0-BC28-578FC3DF3703}" dt="2019-02-20T17:22:15.611" v="9934"/>
          <ac:cxnSpMkLst>
            <pc:docMk/>
            <pc:sldMk cId="3319097858" sldId="4699"/>
            <ac:cxnSpMk id="10" creationId="{DAFFE7D5-4DB7-4297-8568-DC7F54660B43}"/>
          </ac:cxnSpMkLst>
        </pc:cxnChg>
        <pc:cxnChg chg="add">
          <ac:chgData name="Bob Ward" userId="6da7c2dd-8e2e-469f-a216-c384312e2a2d" providerId="ADAL" clId="{CC07BEAC-85A7-44E0-BC28-578FC3DF3703}" dt="2019-02-20T17:22:15.611" v="9934"/>
          <ac:cxnSpMkLst>
            <pc:docMk/>
            <pc:sldMk cId="3319097858" sldId="4699"/>
            <ac:cxnSpMk id="11" creationId="{6B3E3B6A-A676-49C9-B440-5C586392E8F6}"/>
          </ac:cxnSpMkLst>
        </pc:cxnChg>
        <pc:cxnChg chg="add">
          <ac:chgData name="Bob Ward" userId="6da7c2dd-8e2e-469f-a216-c384312e2a2d" providerId="ADAL" clId="{CC07BEAC-85A7-44E0-BC28-578FC3DF3703}" dt="2019-02-20T17:22:15.611" v="9934"/>
          <ac:cxnSpMkLst>
            <pc:docMk/>
            <pc:sldMk cId="3319097858" sldId="4699"/>
            <ac:cxnSpMk id="22" creationId="{AA6F71E1-3B65-4978-861E-BB0791C25714}"/>
          </ac:cxnSpMkLst>
        </pc:cxnChg>
      </pc:sldChg>
      <pc:sldChg chg="addSp delSp modSp add modAnim">
        <pc:chgData name="Bob Ward" userId="6da7c2dd-8e2e-469f-a216-c384312e2a2d" providerId="ADAL" clId="{CC07BEAC-85A7-44E0-BC28-578FC3DF3703}" dt="2019-02-21T03:35:55.638" v="14432"/>
        <pc:sldMkLst>
          <pc:docMk/>
          <pc:sldMk cId="2660700888" sldId="4700"/>
        </pc:sldMkLst>
        <pc:spChg chg="mod">
          <ac:chgData name="Bob Ward" userId="6da7c2dd-8e2e-469f-a216-c384312e2a2d" providerId="ADAL" clId="{CC07BEAC-85A7-44E0-BC28-578FC3DF3703}" dt="2019-02-21T02:21:18.695" v="12397" actId="14100"/>
          <ac:spMkLst>
            <pc:docMk/>
            <pc:sldMk cId="2660700888" sldId="4700"/>
            <ac:spMk id="2" creationId="{1C71C1A5-6D29-474F-9E9C-F8A34E6D6B10}"/>
          </ac:spMkLst>
        </pc:spChg>
        <pc:spChg chg="del">
          <ac:chgData name="Bob Ward" userId="6da7c2dd-8e2e-469f-a216-c384312e2a2d" providerId="ADAL" clId="{CC07BEAC-85A7-44E0-BC28-578FC3DF3703}" dt="2019-02-21T01:06:55.586" v="10855" actId="478"/>
          <ac:spMkLst>
            <pc:docMk/>
            <pc:sldMk cId="2660700888" sldId="4700"/>
            <ac:spMk id="3" creationId="{6F953EF0-0AE3-47B1-A206-5744B2667E91}"/>
          </ac:spMkLst>
        </pc:spChg>
        <pc:spChg chg="add mod">
          <ac:chgData name="Bob Ward" userId="6da7c2dd-8e2e-469f-a216-c384312e2a2d" providerId="ADAL" clId="{CC07BEAC-85A7-44E0-BC28-578FC3DF3703}" dt="2019-02-21T03:35:30.043" v="14431" actId="1076"/>
          <ac:spMkLst>
            <pc:docMk/>
            <pc:sldMk cId="2660700888" sldId="4700"/>
            <ac:spMk id="4" creationId="{1AECACE9-0776-44A2-86FC-C797B5FF49D8}"/>
          </ac:spMkLst>
        </pc:spChg>
        <pc:spChg chg="add mod">
          <ac:chgData name="Bob Ward" userId="6da7c2dd-8e2e-469f-a216-c384312e2a2d" providerId="ADAL" clId="{CC07BEAC-85A7-44E0-BC28-578FC3DF3703}" dt="2019-02-21T03:35:27.708" v="14430" actId="1076"/>
          <ac:spMkLst>
            <pc:docMk/>
            <pc:sldMk cId="2660700888" sldId="4700"/>
            <ac:spMk id="5" creationId="{70C2DC38-F32E-495E-AC42-360DC25AED55}"/>
          </ac:spMkLst>
        </pc:spChg>
        <pc:spChg chg="add">
          <ac:chgData name="Bob Ward" userId="6da7c2dd-8e2e-469f-a216-c384312e2a2d" providerId="ADAL" clId="{CC07BEAC-85A7-44E0-BC28-578FC3DF3703}" dt="2019-02-21T01:07:07.725" v="10856"/>
          <ac:spMkLst>
            <pc:docMk/>
            <pc:sldMk cId="2660700888" sldId="4700"/>
            <ac:spMk id="6" creationId="{9EE8E107-6366-4FD5-A80E-6B9370F26FC4}"/>
          </ac:spMkLst>
        </pc:spChg>
        <pc:spChg chg="add">
          <ac:chgData name="Bob Ward" userId="6da7c2dd-8e2e-469f-a216-c384312e2a2d" providerId="ADAL" clId="{CC07BEAC-85A7-44E0-BC28-578FC3DF3703}" dt="2019-02-21T01:07:07.725" v="10856"/>
          <ac:spMkLst>
            <pc:docMk/>
            <pc:sldMk cId="2660700888" sldId="4700"/>
            <ac:spMk id="9" creationId="{E9F5DB7C-C9EC-4D20-9FFB-5FBDB102AC50}"/>
          </ac:spMkLst>
        </pc:spChg>
        <pc:spChg chg="add mod">
          <ac:chgData name="Bob Ward" userId="6da7c2dd-8e2e-469f-a216-c384312e2a2d" providerId="ADAL" clId="{CC07BEAC-85A7-44E0-BC28-578FC3DF3703}" dt="2019-02-21T03:35:27.708" v="14430" actId="1076"/>
          <ac:spMkLst>
            <pc:docMk/>
            <pc:sldMk cId="2660700888" sldId="4700"/>
            <ac:spMk id="10" creationId="{D5CEF99A-E5DE-45B3-963B-E5FA223D3174}"/>
          </ac:spMkLst>
        </pc:spChg>
        <pc:spChg chg="add mod">
          <ac:chgData name="Bob Ward" userId="6da7c2dd-8e2e-469f-a216-c384312e2a2d" providerId="ADAL" clId="{CC07BEAC-85A7-44E0-BC28-578FC3DF3703}" dt="2019-02-21T03:35:27.708" v="14430" actId="1076"/>
          <ac:spMkLst>
            <pc:docMk/>
            <pc:sldMk cId="2660700888" sldId="4700"/>
            <ac:spMk id="12" creationId="{B104406C-83CD-4BB9-AE11-707D9FF38438}"/>
          </ac:spMkLst>
        </pc:spChg>
        <pc:spChg chg="add mod">
          <ac:chgData name="Bob Ward" userId="6da7c2dd-8e2e-469f-a216-c384312e2a2d" providerId="ADAL" clId="{CC07BEAC-85A7-44E0-BC28-578FC3DF3703}" dt="2019-02-21T03:35:27.708" v="14430" actId="1076"/>
          <ac:spMkLst>
            <pc:docMk/>
            <pc:sldMk cId="2660700888" sldId="4700"/>
            <ac:spMk id="13" creationId="{9A1CB678-F533-4ED5-A812-3D70C7DAB3B5}"/>
          </ac:spMkLst>
        </pc:spChg>
        <pc:spChg chg="add mod">
          <ac:chgData name="Bob Ward" userId="6da7c2dd-8e2e-469f-a216-c384312e2a2d" providerId="ADAL" clId="{CC07BEAC-85A7-44E0-BC28-578FC3DF3703}" dt="2019-02-21T03:35:27.708" v="14430" actId="1076"/>
          <ac:spMkLst>
            <pc:docMk/>
            <pc:sldMk cId="2660700888" sldId="4700"/>
            <ac:spMk id="14" creationId="{5A717E8C-8AEE-4F85-9E44-042FAB97B967}"/>
          </ac:spMkLst>
        </pc:spChg>
        <pc:spChg chg="add mod">
          <ac:chgData name="Bob Ward" userId="6da7c2dd-8e2e-469f-a216-c384312e2a2d" providerId="ADAL" clId="{CC07BEAC-85A7-44E0-BC28-578FC3DF3703}" dt="2019-02-21T03:35:27.708" v="14430" actId="1076"/>
          <ac:spMkLst>
            <pc:docMk/>
            <pc:sldMk cId="2660700888" sldId="4700"/>
            <ac:spMk id="16" creationId="{90EAB999-03AB-42F4-A9F5-038E208183F5}"/>
          </ac:spMkLst>
        </pc:spChg>
        <pc:spChg chg="add mod">
          <ac:chgData name="Bob Ward" userId="6da7c2dd-8e2e-469f-a216-c384312e2a2d" providerId="ADAL" clId="{CC07BEAC-85A7-44E0-BC28-578FC3DF3703}" dt="2019-02-21T03:35:27.708" v="14430" actId="1076"/>
          <ac:spMkLst>
            <pc:docMk/>
            <pc:sldMk cId="2660700888" sldId="4700"/>
            <ac:spMk id="106" creationId="{1CA334C6-3E23-462E-A779-08186E7C12BB}"/>
          </ac:spMkLst>
        </pc:spChg>
        <pc:spChg chg="add mod">
          <ac:chgData name="Bob Ward" userId="6da7c2dd-8e2e-469f-a216-c384312e2a2d" providerId="ADAL" clId="{CC07BEAC-85A7-44E0-BC28-578FC3DF3703}" dt="2019-02-21T03:35:27.708" v="14430" actId="1076"/>
          <ac:spMkLst>
            <pc:docMk/>
            <pc:sldMk cId="2660700888" sldId="4700"/>
            <ac:spMk id="114" creationId="{2ABDB015-C54B-4756-83C8-9AF6729C3C86}"/>
          </ac:spMkLst>
        </pc:spChg>
        <pc:spChg chg="add mod">
          <ac:chgData name="Bob Ward" userId="6da7c2dd-8e2e-469f-a216-c384312e2a2d" providerId="ADAL" clId="{CC07BEAC-85A7-44E0-BC28-578FC3DF3703}" dt="2019-02-21T03:35:27.708" v="14430" actId="1076"/>
          <ac:spMkLst>
            <pc:docMk/>
            <pc:sldMk cId="2660700888" sldId="4700"/>
            <ac:spMk id="115" creationId="{E8800EF6-0633-4E0F-8BD8-7D07FA899474}"/>
          </ac:spMkLst>
        </pc:spChg>
        <pc:grpChg chg="add">
          <ac:chgData name="Bob Ward" userId="6da7c2dd-8e2e-469f-a216-c384312e2a2d" providerId="ADAL" clId="{CC07BEAC-85A7-44E0-BC28-578FC3DF3703}" dt="2019-02-21T01:07:07.725" v="10856"/>
          <ac:grpSpMkLst>
            <pc:docMk/>
            <pc:sldMk cId="2660700888" sldId="4700"/>
            <ac:grpSpMk id="17" creationId="{144B8D75-E80E-4219-B2CD-A4F0429270D4}"/>
          </ac:grpSpMkLst>
        </pc:grpChg>
        <pc:grpChg chg="add mod">
          <ac:chgData name="Bob Ward" userId="6da7c2dd-8e2e-469f-a216-c384312e2a2d" providerId="ADAL" clId="{CC07BEAC-85A7-44E0-BC28-578FC3DF3703}" dt="2019-02-21T03:35:27.708" v="14430" actId="1076"/>
          <ac:grpSpMkLst>
            <pc:docMk/>
            <pc:sldMk cId="2660700888" sldId="4700"/>
            <ac:grpSpMk id="96" creationId="{52FBEC3F-6FAB-4323-8DF6-5990E408E4AB}"/>
          </ac:grpSpMkLst>
        </pc:grpChg>
        <pc:grpChg chg="add mod">
          <ac:chgData name="Bob Ward" userId="6da7c2dd-8e2e-469f-a216-c384312e2a2d" providerId="ADAL" clId="{CC07BEAC-85A7-44E0-BC28-578FC3DF3703}" dt="2019-02-21T03:35:27.708" v="14430" actId="1076"/>
          <ac:grpSpMkLst>
            <pc:docMk/>
            <pc:sldMk cId="2660700888" sldId="4700"/>
            <ac:grpSpMk id="99" creationId="{DF4510EC-45C5-4EAE-8640-50279B00325E}"/>
          </ac:grpSpMkLst>
        </pc:grpChg>
        <pc:grpChg chg="add mod">
          <ac:chgData name="Bob Ward" userId="6da7c2dd-8e2e-469f-a216-c384312e2a2d" providerId="ADAL" clId="{CC07BEAC-85A7-44E0-BC28-578FC3DF3703}" dt="2019-02-21T03:35:27.708" v="14430" actId="1076"/>
          <ac:grpSpMkLst>
            <pc:docMk/>
            <pc:sldMk cId="2660700888" sldId="4700"/>
            <ac:grpSpMk id="102" creationId="{3546881B-A3F7-45BA-ABA8-31EC10C12F4D}"/>
          </ac:grpSpMkLst>
        </pc:grpChg>
        <pc:grpChg chg="add mod">
          <ac:chgData name="Bob Ward" userId="6da7c2dd-8e2e-469f-a216-c384312e2a2d" providerId="ADAL" clId="{CC07BEAC-85A7-44E0-BC28-578FC3DF3703}" dt="2019-02-21T03:35:27.708" v="14430" actId="1076"/>
          <ac:grpSpMkLst>
            <pc:docMk/>
            <pc:sldMk cId="2660700888" sldId="4700"/>
            <ac:grpSpMk id="109" creationId="{EECA32FC-75A7-497B-9B5D-91044F29C379}"/>
          </ac:grpSpMkLst>
        </pc:grpChg>
        <pc:picChg chg="add del">
          <ac:chgData name="Bob Ward" userId="6da7c2dd-8e2e-469f-a216-c384312e2a2d" providerId="ADAL" clId="{CC07BEAC-85A7-44E0-BC28-578FC3DF3703}" dt="2019-02-21T02:01:19.168" v="12392"/>
          <ac:picMkLst>
            <pc:docMk/>
            <pc:sldMk cId="2660700888" sldId="4700"/>
            <ac:picMk id="1026" creationId="{BBE6C1DD-6450-4FA0-A00F-090F200D8BF5}"/>
          </ac:picMkLst>
        </pc:picChg>
        <pc:picChg chg="add mod">
          <ac:chgData name="Bob Ward" userId="6da7c2dd-8e2e-469f-a216-c384312e2a2d" providerId="ADAL" clId="{CC07BEAC-85A7-44E0-BC28-578FC3DF3703}" dt="2019-02-21T03:35:27.708" v="14430" actId="1076"/>
          <ac:picMkLst>
            <pc:docMk/>
            <pc:sldMk cId="2660700888" sldId="4700"/>
            <ac:picMk id="1028" creationId="{D95967CC-80E0-427A-8CAE-85FD16304F6C}"/>
          </ac:picMkLst>
        </pc:picChg>
        <pc:cxnChg chg="add mod">
          <ac:chgData name="Bob Ward" userId="6da7c2dd-8e2e-469f-a216-c384312e2a2d" providerId="ADAL" clId="{CC07BEAC-85A7-44E0-BC28-578FC3DF3703}" dt="2019-02-21T03:35:27.708" v="14430" actId="1076"/>
          <ac:cxnSpMkLst>
            <pc:docMk/>
            <pc:sldMk cId="2660700888" sldId="4700"/>
            <ac:cxnSpMk id="7" creationId="{EDA94D23-E56E-42C7-A16E-39F47D0264DC}"/>
          </ac:cxnSpMkLst>
        </pc:cxnChg>
        <pc:cxnChg chg="add">
          <ac:chgData name="Bob Ward" userId="6da7c2dd-8e2e-469f-a216-c384312e2a2d" providerId="ADAL" clId="{CC07BEAC-85A7-44E0-BC28-578FC3DF3703}" dt="2019-02-21T01:07:07.725" v="10856"/>
          <ac:cxnSpMkLst>
            <pc:docMk/>
            <pc:sldMk cId="2660700888" sldId="4700"/>
            <ac:cxnSpMk id="8" creationId="{5DBFFBE3-BB4B-4024-88ED-078BCE0A76FF}"/>
          </ac:cxnSpMkLst>
        </pc:cxnChg>
        <pc:cxnChg chg="add mod">
          <ac:chgData name="Bob Ward" userId="6da7c2dd-8e2e-469f-a216-c384312e2a2d" providerId="ADAL" clId="{CC07BEAC-85A7-44E0-BC28-578FC3DF3703}" dt="2019-02-21T03:35:27.708" v="14430" actId="1076"/>
          <ac:cxnSpMkLst>
            <pc:docMk/>
            <pc:sldMk cId="2660700888" sldId="4700"/>
            <ac:cxnSpMk id="11" creationId="{C4FF6645-D1F0-40B2-A81A-D95066B4D193}"/>
          </ac:cxnSpMkLst>
        </pc:cxnChg>
        <pc:cxnChg chg="add mod">
          <ac:chgData name="Bob Ward" userId="6da7c2dd-8e2e-469f-a216-c384312e2a2d" providerId="ADAL" clId="{CC07BEAC-85A7-44E0-BC28-578FC3DF3703}" dt="2019-02-21T03:35:27.708" v="14430" actId="1076"/>
          <ac:cxnSpMkLst>
            <pc:docMk/>
            <pc:sldMk cId="2660700888" sldId="4700"/>
            <ac:cxnSpMk id="15" creationId="{E866CFCD-891A-4948-842E-006AA8FA3C1B}"/>
          </ac:cxnSpMkLst>
        </pc:cxnChg>
        <pc:cxnChg chg="add mod">
          <ac:chgData name="Bob Ward" userId="6da7c2dd-8e2e-469f-a216-c384312e2a2d" providerId="ADAL" clId="{CC07BEAC-85A7-44E0-BC28-578FC3DF3703}" dt="2019-02-21T03:35:27.708" v="14430" actId="1076"/>
          <ac:cxnSpMkLst>
            <pc:docMk/>
            <pc:sldMk cId="2660700888" sldId="4700"/>
            <ac:cxnSpMk id="107" creationId="{3E102C3D-E098-483B-B094-B524CEC53E27}"/>
          </ac:cxnSpMkLst>
        </pc:cxnChg>
        <pc:cxnChg chg="add mod">
          <ac:chgData name="Bob Ward" userId="6da7c2dd-8e2e-469f-a216-c384312e2a2d" providerId="ADAL" clId="{CC07BEAC-85A7-44E0-BC28-578FC3DF3703}" dt="2019-02-21T03:35:27.708" v="14430" actId="1076"/>
          <ac:cxnSpMkLst>
            <pc:docMk/>
            <pc:sldMk cId="2660700888" sldId="4700"/>
            <ac:cxnSpMk id="108" creationId="{D3DB0522-7B68-4C23-AEB7-89033FE25637}"/>
          </ac:cxnSpMkLst>
        </pc:cxnChg>
        <pc:cxnChg chg="add mod">
          <ac:chgData name="Bob Ward" userId="6da7c2dd-8e2e-469f-a216-c384312e2a2d" providerId="ADAL" clId="{CC07BEAC-85A7-44E0-BC28-578FC3DF3703}" dt="2019-02-21T03:35:27.708" v="14430" actId="1076"/>
          <ac:cxnSpMkLst>
            <pc:docMk/>
            <pc:sldMk cId="2660700888" sldId="4700"/>
            <ac:cxnSpMk id="116" creationId="{7C841528-753C-4121-ADFE-CA05D9E1F069}"/>
          </ac:cxnSpMkLst>
        </pc:cxnChg>
      </pc:sldChg>
      <pc:sldChg chg="addSp delSp modSp add del modAnim">
        <pc:chgData name="Bob Ward" userId="6da7c2dd-8e2e-469f-a216-c384312e2a2d" providerId="ADAL" clId="{CC07BEAC-85A7-44E0-BC28-578FC3DF3703}" dt="2019-02-21T01:09:41.790" v="10915"/>
        <pc:sldMkLst>
          <pc:docMk/>
          <pc:sldMk cId="415348644" sldId="4701"/>
        </pc:sldMkLst>
        <pc:spChg chg="mod">
          <ac:chgData name="Bob Ward" userId="6da7c2dd-8e2e-469f-a216-c384312e2a2d" providerId="ADAL" clId="{CC07BEAC-85A7-44E0-BC28-578FC3DF3703}" dt="2019-02-21T01:09:38.387" v="10913" actId="20577"/>
          <ac:spMkLst>
            <pc:docMk/>
            <pc:sldMk cId="415348644" sldId="4701"/>
            <ac:spMk id="2" creationId="{DFA54100-363F-4F1C-9549-8F596C8CD245}"/>
          </ac:spMkLst>
        </pc:spChg>
        <pc:spChg chg="del">
          <ac:chgData name="Bob Ward" userId="6da7c2dd-8e2e-469f-a216-c384312e2a2d" providerId="ADAL" clId="{CC07BEAC-85A7-44E0-BC28-578FC3DF3703}" dt="2019-02-21T01:09:41.034" v="10914" actId="478"/>
          <ac:spMkLst>
            <pc:docMk/>
            <pc:sldMk cId="415348644" sldId="4701"/>
            <ac:spMk id="3" creationId="{D40BC8EE-5191-4175-9CFB-AD5CAE24C3A3}"/>
          </ac:spMkLst>
        </pc:spChg>
        <pc:spChg chg="add">
          <ac:chgData name="Bob Ward" userId="6da7c2dd-8e2e-469f-a216-c384312e2a2d" providerId="ADAL" clId="{CC07BEAC-85A7-44E0-BC28-578FC3DF3703}" dt="2019-02-21T01:09:41.790" v="10915"/>
          <ac:spMkLst>
            <pc:docMk/>
            <pc:sldMk cId="415348644" sldId="4701"/>
            <ac:spMk id="4" creationId="{50D2FFD7-06D7-4887-B1C0-598C08A59123}"/>
          </ac:spMkLst>
        </pc:spChg>
        <pc:graphicFrameChg chg="add">
          <ac:chgData name="Bob Ward" userId="6da7c2dd-8e2e-469f-a216-c384312e2a2d" providerId="ADAL" clId="{CC07BEAC-85A7-44E0-BC28-578FC3DF3703}" dt="2019-02-21T01:09:41.790" v="10915"/>
          <ac:graphicFrameMkLst>
            <pc:docMk/>
            <pc:sldMk cId="415348644" sldId="4701"/>
            <ac:graphicFrameMk id="5" creationId="{9EAB7ECD-A361-4A48-A2D8-548A8FB4721E}"/>
          </ac:graphicFrameMkLst>
        </pc:graphicFrameChg>
      </pc:sldChg>
      <pc:sldChg chg="modSp add">
        <pc:chgData name="Bob Ward" userId="6da7c2dd-8e2e-469f-a216-c384312e2a2d" providerId="ADAL" clId="{CC07BEAC-85A7-44E0-BC28-578FC3DF3703}" dt="2019-02-24T16:16:56.327" v="18902" actId="20577"/>
        <pc:sldMkLst>
          <pc:docMk/>
          <pc:sldMk cId="2634037035" sldId="4702"/>
        </pc:sldMkLst>
        <pc:spChg chg="mod">
          <ac:chgData name="Bob Ward" userId="6da7c2dd-8e2e-469f-a216-c384312e2a2d" providerId="ADAL" clId="{CC07BEAC-85A7-44E0-BC28-578FC3DF3703}" dt="2019-02-13T21:43:17.544" v="3896" actId="20577"/>
          <ac:spMkLst>
            <pc:docMk/>
            <pc:sldMk cId="2634037035" sldId="4702"/>
            <ac:spMk id="2" creationId="{35ED57D2-FC66-4021-9648-46041AF46482}"/>
          </ac:spMkLst>
        </pc:spChg>
        <pc:spChg chg="mod">
          <ac:chgData name="Bob Ward" userId="6da7c2dd-8e2e-469f-a216-c384312e2a2d" providerId="ADAL" clId="{CC07BEAC-85A7-44E0-BC28-578FC3DF3703}" dt="2019-02-24T16:16:56.327" v="18902" actId="20577"/>
          <ac:spMkLst>
            <pc:docMk/>
            <pc:sldMk cId="2634037035" sldId="4702"/>
            <ac:spMk id="3" creationId="{5229DD0A-AD1D-45C2-8341-C89FD6AC1770}"/>
          </ac:spMkLst>
        </pc:spChg>
      </pc:sldChg>
      <pc:sldChg chg="addSp delSp modSp add ord">
        <pc:chgData name="Bob Ward" userId="6da7c2dd-8e2e-469f-a216-c384312e2a2d" providerId="ADAL" clId="{CC07BEAC-85A7-44E0-BC28-578FC3DF3703}" dt="2019-02-20T17:40:36.850" v="10845" actId="1076"/>
        <pc:sldMkLst>
          <pc:docMk/>
          <pc:sldMk cId="3773627568" sldId="4703"/>
        </pc:sldMkLst>
        <pc:spChg chg="mod">
          <ac:chgData name="Bob Ward" userId="6da7c2dd-8e2e-469f-a216-c384312e2a2d" providerId="ADAL" clId="{CC07BEAC-85A7-44E0-BC28-578FC3DF3703}" dt="2019-02-20T04:34:23.147" v="9556" actId="113"/>
          <ac:spMkLst>
            <pc:docMk/>
            <pc:sldMk cId="3773627568" sldId="4703"/>
            <ac:spMk id="2" creationId="{120305A3-122E-4AE7-8BE5-10955E8B588C}"/>
          </ac:spMkLst>
        </pc:spChg>
        <pc:spChg chg="mod">
          <ac:chgData name="Bob Ward" userId="6da7c2dd-8e2e-469f-a216-c384312e2a2d" providerId="ADAL" clId="{CC07BEAC-85A7-44E0-BC28-578FC3DF3703}" dt="2019-02-20T04:33:44.797" v="9458" actId="255"/>
          <ac:spMkLst>
            <pc:docMk/>
            <pc:sldMk cId="3773627568" sldId="4703"/>
            <ac:spMk id="3" creationId="{0FEF1BF6-1C4E-41D4-9D36-E2D43971EEF5}"/>
          </ac:spMkLst>
        </pc:spChg>
        <pc:spChg chg="add mod">
          <ac:chgData name="Bob Ward" userId="6da7c2dd-8e2e-469f-a216-c384312e2a2d" providerId="ADAL" clId="{CC07BEAC-85A7-44E0-BC28-578FC3DF3703}" dt="2019-02-20T17:39:59.750" v="10831" actId="1076"/>
          <ac:spMkLst>
            <pc:docMk/>
            <pc:sldMk cId="3773627568" sldId="4703"/>
            <ac:spMk id="4" creationId="{5B79C37B-4B44-426F-80B9-79CEB9CBC692}"/>
          </ac:spMkLst>
        </pc:spChg>
        <pc:spChg chg="add mod">
          <ac:chgData name="Bob Ward" userId="6da7c2dd-8e2e-469f-a216-c384312e2a2d" providerId="ADAL" clId="{CC07BEAC-85A7-44E0-BC28-578FC3DF3703}" dt="2019-02-20T17:40:30.495" v="10843" actId="1076"/>
          <ac:spMkLst>
            <pc:docMk/>
            <pc:sldMk cId="3773627568" sldId="4703"/>
            <ac:spMk id="5" creationId="{C05745BF-36EE-4F06-88CD-150A1D4B5731}"/>
          </ac:spMkLst>
        </pc:spChg>
        <pc:spChg chg="add mod">
          <ac:chgData name="Bob Ward" userId="6da7c2dd-8e2e-469f-a216-c384312e2a2d" providerId="ADAL" clId="{CC07BEAC-85A7-44E0-BC28-578FC3DF3703}" dt="2019-02-20T17:40:18.186" v="10838" actId="1076"/>
          <ac:spMkLst>
            <pc:docMk/>
            <pc:sldMk cId="3773627568" sldId="4703"/>
            <ac:spMk id="6" creationId="{783518DE-DF0C-4C2C-B646-BD4F21A8378E}"/>
          </ac:spMkLst>
        </pc:spChg>
        <pc:spChg chg="add mod">
          <ac:chgData name="Bob Ward" userId="6da7c2dd-8e2e-469f-a216-c384312e2a2d" providerId="ADAL" clId="{CC07BEAC-85A7-44E0-BC28-578FC3DF3703}" dt="2019-02-20T17:40:04.725" v="10833" actId="1076"/>
          <ac:spMkLst>
            <pc:docMk/>
            <pc:sldMk cId="3773627568" sldId="4703"/>
            <ac:spMk id="7" creationId="{DFFD4C6A-D8FA-4384-A87E-DBB90D64CDB2}"/>
          </ac:spMkLst>
        </pc:spChg>
        <pc:spChg chg="add del">
          <ac:chgData name="Bob Ward" userId="6da7c2dd-8e2e-469f-a216-c384312e2a2d" providerId="ADAL" clId="{CC07BEAC-85A7-44E0-BC28-578FC3DF3703}" dt="2019-02-20T17:40:21.509" v="10840"/>
          <ac:spMkLst>
            <pc:docMk/>
            <pc:sldMk cId="3773627568" sldId="4703"/>
            <ac:spMk id="8" creationId="{B5E6E2D0-945F-43AF-872A-8CDF4DF5ADA8}"/>
          </ac:spMkLst>
        </pc:spChg>
        <pc:spChg chg="add mod">
          <ac:chgData name="Bob Ward" userId="6da7c2dd-8e2e-469f-a216-c384312e2a2d" providerId="ADAL" clId="{CC07BEAC-85A7-44E0-BC28-578FC3DF3703}" dt="2019-02-20T17:40:27.679" v="10842" actId="1076"/>
          <ac:spMkLst>
            <pc:docMk/>
            <pc:sldMk cId="3773627568" sldId="4703"/>
            <ac:spMk id="9" creationId="{B79339CE-D9C7-4F61-8D6B-B0CC95730B69}"/>
          </ac:spMkLst>
        </pc:spChg>
        <pc:spChg chg="add mod">
          <ac:chgData name="Bob Ward" userId="6da7c2dd-8e2e-469f-a216-c384312e2a2d" providerId="ADAL" clId="{CC07BEAC-85A7-44E0-BC28-578FC3DF3703}" dt="2019-02-20T17:40:36.850" v="10845" actId="1076"/>
          <ac:spMkLst>
            <pc:docMk/>
            <pc:sldMk cId="3773627568" sldId="4703"/>
            <ac:spMk id="10" creationId="{831F7D83-3A04-4813-9DD9-13540881DE31}"/>
          </ac:spMkLst>
        </pc:spChg>
      </pc:sldChg>
      <pc:sldChg chg="add del">
        <pc:chgData name="Bob Ward" userId="6da7c2dd-8e2e-469f-a216-c384312e2a2d" providerId="ADAL" clId="{CC07BEAC-85A7-44E0-BC28-578FC3DF3703}" dt="2019-02-13T23:33:48.072" v="4092"/>
        <pc:sldMkLst>
          <pc:docMk/>
          <pc:sldMk cId="1922874918" sldId="4704"/>
        </pc:sldMkLst>
      </pc:sldChg>
      <pc:sldChg chg="addSp modSp add ord modAnim">
        <pc:chgData name="Bob Ward" userId="6da7c2dd-8e2e-469f-a216-c384312e2a2d" providerId="ADAL" clId="{CC07BEAC-85A7-44E0-BC28-578FC3DF3703}" dt="2019-02-21T03:26:11.324" v="14174" actId="20577"/>
        <pc:sldMkLst>
          <pc:docMk/>
          <pc:sldMk cId="4292289233" sldId="4704"/>
        </pc:sldMkLst>
        <pc:spChg chg="mod">
          <ac:chgData name="Bob Ward" userId="6da7c2dd-8e2e-469f-a216-c384312e2a2d" providerId="ADAL" clId="{CC07BEAC-85A7-44E0-BC28-578FC3DF3703}" dt="2019-02-13T23:34:01.725" v="4148" actId="20577"/>
          <ac:spMkLst>
            <pc:docMk/>
            <pc:sldMk cId="4292289233" sldId="4704"/>
            <ac:spMk id="2" creationId="{BE36ECB8-5483-435C-B7BB-3DDA3BD87740}"/>
          </ac:spMkLst>
        </pc:spChg>
        <pc:spChg chg="add mod">
          <ac:chgData name="Bob Ward" userId="6da7c2dd-8e2e-469f-a216-c384312e2a2d" providerId="ADAL" clId="{CC07BEAC-85A7-44E0-BC28-578FC3DF3703}" dt="2019-02-13T23:34:34.515" v="4151" actId="1076"/>
          <ac:spMkLst>
            <pc:docMk/>
            <pc:sldMk cId="4292289233" sldId="4704"/>
            <ac:spMk id="4" creationId="{A93B48FD-2112-4015-A179-E12417F37078}"/>
          </ac:spMkLst>
        </pc:spChg>
        <pc:spChg chg="add">
          <ac:chgData name="Bob Ward" userId="6da7c2dd-8e2e-469f-a216-c384312e2a2d" providerId="ADAL" clId="{CC07BEAC-85A7-44E0-BC28-578FC3DF3703}" dt="2019-02-13T23:34:25.378" v="4149"/>
          <ac:spMkLst>
            <pc:docMk/>
            <pc:sldMk cId="4292289233" sldId="4704"/>
            <ac:spMk id="5" creationId="{4D1FDE43-E8FF-45A7-8412-22F0C4A3F6D8}"/>
          </ac:spMkLst>
        </pc:spChg>
        <pc:graphicFrameChg chg="add mod">
          <ac:chgData name="Bob Ward" userId="6da7c2dd-8e2e-469f-a216-c384312e2a2d" providerId="ADAL" clId="{CC07BEAC-85A7-44E0-BC28-578FC3DF3703}" dt="2019-02-13T23:34:30.802" v="4150" actId="1076"/>
          <ac:graphicFrameMkLst>
            <pc:docMk/>
            <pc:sldMk cId="4292289233" sldId="4704"/>
            <ac:graphicFrameMk id="3" creationId="{E283A8B8-C589-42A2-869B-E92984DC0ADC}"/>
          </ac:graphicFrameMkLst>
        </pc:graphicFrameChg>
        <pc:graphicFrameChg chg="add mod">
          <ac:chgData name="Bob Ward" userId="6da7c2dd-8e2e-469f-a216-c384312e2a2d" providerId="ADAL" clId="{CC07BEAC-85A7-44E0-BC28-578FC3DF3703}" dt="2019-02-21T03:26:11.324" v="14174" actId="20577"/>
          <ac:graphicFrameMkLst>
            <pc:docMk/>
            <pc:sldMk cId="4292289233" sldId="4704"/>
            <ac:graphicFrameMk id="6" creationId="{183EB1D9-D11D-4DAF-85B8-7B6309827E1C}"/>
          </ac:graphicFrameMkLst>
        </pc:graphicFrameChg>
        <pc:picChg chg="add mod">
          <ac:chgData name="Bob Ward" userId="6da7c2dd-8e2e-469f-a216-c384312e2a2d" providerId="ADAL" clId="{CC07BEAC-85A7-44E0-BC28-578FC3DF3703}" dt="2019-02-13T23:34:36.705" v="4152" actId="1076"/>
          <ac:picMkLst>
            <pc:docMk/>
            <pc:sldMk cId="4292289233" sldId="4704"/>
            <ac:picMk id="7" creationId="{28EE9FBF-C174-41BD-90BF-5CD6330F842C}"/>
          </ac:picMkLst>
        </pc:picChg>
        <pc:picChg chg="add mod">
          <ac:chgData name="Bob Ward" userId="6da7c2dd-8e2e-469f-a216-c384312e2a2d" providerId="ADAL" clId="{CC07BEAC-85A7-44E0-BC28-578FC3DF3703}" dt="2019-02-13T23:34:38.474" v="4153" actId="1076"/>
          <ac:picMkLst>
            <pc:docMk/>
            <pc:sldMk cId="4292289233" sldId="4704"/>
            <ac:picMk id="8" creationId="{D9D2D2E1-EBD0-4C61-BC6A-E85FC3255D42}"/>
          </ac:picMkLst>
        </pc:picChg>
        <pc:picChg chg="add mod">
          <ac:chgData name="Bob Ward" userId="6da7c2dd-8e2e-469f-a216-c384312e2a2d" providerId="ADAL" clId="{CC07BEAC-85A7-44E0-BC28-578FC3DF3703}" dt="2019-02-13T23:34:40.184" v="4154" actId="1076"/>
          <ac:picMkLst>
            <pc:docMk/>
            <pc:sldMk cId="4292289233" sldId="4704"/>
            <ac:picMk id="9" creationId="{C7C617C0-627D-4CFD-ABA4-5DAA39BD9106}"/>
          </ac:picMkLst>
        </pc:picChg>
        <pc:picChg chg="add mod">
          <ac:chgData name="Bob Ward" userId="6da7c2dd-8e2e-469f-a216-c384312e2a2d" providerId="ADAL" clId="{CC07BEAC-85A7-44E0-BC28-578FC3DF3703}" dt="2019-02-13T23:34:43.379" v="4155" actId="1076"/>
          <ac:picMkLst>
            <pc:docMk/>
            <pc:sldMk cId="4292289233" sldId="4704"/>
            <ac:picMk id="10" creationId="{C0C3B990-BD93-475C-995A-772A1A420D50}"/>
          </ac:picMkLst>
        </pc:picChg>
        <pc:picChg chg="add mod">
          <ac:chgData name="Bob Ward" userId="6da7c2dd-8e2e-469f-a216-c384312e2a2d" providerId="ADAL" clId="{CC07BEAC-85A7-44E0-BC28-578FC3DF3703}" dt="2019-02-13T23:34:45.479" v="4156" actId="1076"/>
          <ac:picMkLst>
            <pc:docMk/>
            <pc:sldMk cId="4292289233" sldId="4704"/>
            <ac:picMk id="11" creationId="{DE356F06-68FC-4E1A-8EC9-5879C64DD1F6}"/>
          </ac:picMkLst>
        </pc:picChg>
      </pc:sldChg>
      <pc:sldChg chg="addSp delSp modSp add ord delAnim modNotesTx">
        <pc:chgData name="Bob Ward" userId="6da7c2dd-8e2e-469f-a216-c384312e2a2d" providerId="ADAL" clId="{CC07BEAC-85A7-44E0-BC28-578FC3DF3703}" dt="2019-02-21T12:32:15.962" v="15654" actId="313"/>
        <pc:sldMkLst>
          <pc:docMk/>
          <pc:sldMk cId="3279942268" sldId="4705"/>
        </pc:sldMkLst>
        <pc:spChg chg="del">
          <ac:chgData name="Bob Ward" userId="6da7c2dd-8e2e-469f-a216-c384312e2a2d" providerId="ADAL" clId="{CC07BEAC-85A7-44E0-BC28-578FC3DF3703}" dt="2019-02-13T23:38:34.272" v="4213" actId="478"/>
          <ac:spMkLst>
            <pc:docMk/>
            <pc:sldMk cId="3279942268" sldId="4705"/>
            <ac:spMk id="6" creationId="{F058D8EB-6D37-48CC-ACA6-5802CE14F3A5}"/>
          </ac:spMkLst>
        </pc:spChg>
        <pc:spChg chg="mod">
          <ac:chgData name="Bob Ward" userId="6da7c2dd-8e2e-469f-a216-c384312e2a2d" providerId="ADAL" clId="{CC07BEAC-85A7-44E0-BC28-578FC3DF3703}" dt="2019-02-13T23:38:29.050" v="4212" actId="20577"/>
          <ac:spMkLst>
            <pc:docMk/>
            <pc:sldMk cId="3279942268" sldId="4705"/>
            <ac:spMk id="7" creationId="{00000000-0000-0000-0000-000000000000}"/>
          </ac:spMkLst>
        </pc:spChg>
        <pc:spChg chg="add del">
          <ac:chgData name="Bob Ward" userId="6da7c2dd-8e2e-469f-a216-c384312e2a2d" providerId="ADAL" clId="{CC07BEAC-85A7-44E0-BC28-578FC3DF3703}" dt="2019-02-13T23:39:16.468" v="4216"/>
          <ac:spMkLst>
            <pc:docMk/>
            <pc:sldMk cId="3279942268" sldId="4705"/>
            <ac:spMk id="21" creationId="{A3879491-2680-41E8-A004-015787A51B48}"/>
          </ac:spMkLst>
        </pc:spChg>
        <pc:spChg chg="add del">
          <ac:chgData name="Bob Ward" userId="6da7c2dd-8e2e-469f-a216-c384312e2a2d" providerId="ADAL" clId="{CC07BEAC-85A7-44E0-BC28-578FC3DF3703}" dt="2019-02-13T23:39:18.577" v="4218"/>
          <ac:spMkLst>
            <pc:docMk/>
            <pc:sldMk cId="3279942268" sldId="4705"/>
            <ac:spMk id="24" creationId="{39ED2AF8-9896-44A9-AF58-3D38DAE27690}"/>
          </ac:spMkLst>
        </pc:spChg>
        <pc:spChg chg="add mod">
          <ac:chgData name="Bob Ward" userId="6da7c2dd-8e2e-469f-a216-c384312e2a2d" providerId="ADAL" clId="{CC07BEAC-85A7-44E0-BC28-578FC3DF3703}" dt="2019-02-13T23:41:58.221" v="4479" actId="20577"/>
          <ac:spMkLst>
            <pc:docMk/>
            <pc:sldMk cId="3279942268" sldId="4705"/>
            <ac:spMk id="25" creationId="{FFEFC3EA-1C9B-4DE5-957E-5128F4084D11}"/>
          </ac:spMkLst>
        </pc:spChg>
        <pc:grpChg chg="del">
          <ac:chgData name="Bob Ward" userId="6da7c2dd-8e2e-469f-a216-c384312e2a2d" providerId="ADAL" clId="{CC07BEAC-85A7-44E0-BC28-578FC3DF3703}" dt="2019-02-13T23:38:34.272" v="4213" actId="478"/>
          <ac:grpSpMkLst>
            <pc:docMk/>
            <pc:sldMk cId="3279942268" sldId="4705"/>
            <ac:grpSpMk id="2" creationId="{CF1D3BF2-7A29-4B5A-B4F8-202F5B3791D7}"/>
          </ac:grpSpMkLst>
        </pc:grpChg>
        <pc:grpChg chg="del">
          <ac:chgData name="Bob Ward" userId="6da7c2dd-8e2e-469f-a216-c384312e2a2d" providerId="ADAL" clId="{CC07BEAC-85A7-44E0-BC28-578FC3DF3703}" dt="2019-02-13T23:38:34.272" v="4213" actId="478"/>
          <ac:grpSpMkLst>
            <pc:docMk/>
            <pc:sldMk cId="3279942268" sldId="4705"/>
            <ac:grpSpMk id="4" creationId="{D2E227EC-2CCA-416C-8214-28CD7C4A39D0}"/>
          </ac:grpSpMkLst>
        </pc:grpChg>
        <pc:grpChg chg="del">
          <ac:chgData name="Bob Ward" userId="6da7c2dd-8e2e-469f-a216-c384312e2a2d" providerId="ADAL" clId="{CC07BEAC-85A7-44E0-BC28-578FC3DF3703}" dt="2019-02-13T23:38:34.272" v="4213" actId="478"/>
          <ac:grpSpMkLst>
            <pc:docMk/>
            <pc:sldMk cId="3279942268" sldId="4705"/>
            <ac:grpSpMk id="5" creationId="{D026CE7C-47E7-48CD-A572-0ACC03673959}"/>
          </ac:grpSpMkLst>
        </pc:grpChg>
        <pc:grpChg chg="del">
          <ac:chgData name="Bob Ward" userId="6da7c2dd-8e2e-469f-a216-c384312e2a2d" providerId="ADAL" clId="{CC07BEAC-85A7-44E0-BC28-578FC3DF3703}" dt="2019-02-13T23:38:34.272" v="4213" actId="478"/>
          <ac:grpSpMkLst>
            <pc:docMk/>
            <pc:sldMk cId="3279942268" sldId="4705"/>
            <ac:grpSpMk id="15" creationId="{C91A72EF-8759-44B1-8FAF-1B49B54F3EDF}"/>
          </ac:grpSpMkLst>
        </pc:grpChg>
        <pc:graphicFrameChg chg="add mod">
          <ac:chgData name="Bob Ward" userId="6da7c2dd-8e2e-469f-a216-c384312e2a2d" providerId="ADAL" clId="{CC07BEAC-85A7-44E0-BC28-578FC3DF3703}" dt="2019-02-21T12:32:15.962" v="15654" actId="313"/>
          <ac:graphicFrameMkLst>
            <pc:docMk/>
            <pc:sldMk cId="3279942268" sldId="4705"/>
            <ac:graphicFrameMk id="26" creationId="{AE42AFBE-BFAA-459C-8B67-6F2F5C40DA4B}"/>
          </ac:graphicFrameMkLst>
        </pc:graphicFrameChg>
        <pc:picChg chg="add mod">
          <ac:chgData name="Bob Ward" userId="6da7c2dd-8e2e-469f-a216-c384312e2a2d" providerId="ADAL" clId="{CC07BEAC-85A7-44E0-BC28-578FC3DF3703}" dt="2019-02-13T23:40:04.958" v="4227" actId="1076"/>
          <ac:picMkLst>
            <pc:docMk/>
            <pc:sldMk cId="3279942268" sldId="4705"/>
            <ac:picMk id="27" creationId="{212F909F-0F18-4F93-93EE-D00B67BCACFD}"/>
          </ac:picMkLst>
        </pc:picChg>
        <pc:picChg chg="add mod">
          <ac:chgData name="Bob Ward" userId="6da7c2dd-8e2e-469f-a216-c384312e2a2d" providerId="ADAL" clId="{CC07BEAC-85A7-44E0-BC28-578FC3DF3703}" dt="2019-02-13T23:40:07.238" v="4228" actId="1076"/>
          <ac:picMkLst>
            <pc:docMk/>
            <pc:sldMk cId="3279942268" sldId="4705"/>
            <ac:picMk id="28" creationId="{280F5838-A872-4B02-AAB1-7CDDDFA3C9FB}"/>
          </ac:picMkLst>
        </pc:picChg>
        <pc:picChg chg="add mod">
          <ac:chgData name="Bob Ward" userId="6da7c2dd-8e2e-469f-a216-c384312e2a2d" providerId="ADAL" clId="{CC07BEAC-85A7-44E0-BC28-578FC3DF3703}" dt="2019-02-13T23:40:03.848" v="4226" actId="1076"/>
          <ac:picMkLst>
            <pc:docMk/>
            <pc:sldMk cId="3279942268" sldId="4705"/>
            <ac:picMk id="29" creationId="{9D2D1235-647B-4451-A48E-A7ACF6D7D8E2}"/>
          </ac:picMkLst>
        </pc:picChg>
      </pc:sldChg>
      <pc:sldChg chg="modSp add ord">
        <pc:chgData name="Bob Ward" userId="6da7c2dd-8e2e-469f-a216-c384312e2a2d" providerId="ADAL" clId="{CC07BEAC-85A7-44E0-BC28-578FC3DF3703}" dt="2019-02-23T19:56:23.283" v="18398" actId="313"/>
        <pc:sldMkLst>
          <pc:docMk/>
          <pc:sldMk cId="3968502340" sldId="4706"/>
        </pc:sldMkLst>
        <pc:spChg chg="mod">
          <ac:chgData name="Bob Ward" userId="6da7c2dd-8e2e-469f-a216-c384312e2a2d" providerId="ADAL" clId="{CC07BEAC-85A7-44E0-BC28-578FC3DF3703}" dt="2019-02-23T19:56:23.283" v="18398" actId="313"/>
          <ac:spMkLst>
            <pc:docMk/>
            <pc:sldMk cId="3968502340" sldId="4706"/>
            <ac:spMk id="19" creationId="{3F61591F-8CFC-BD40-83AE-C84648D2FC4F}"/>
          </ac:spMkLst>
        </pc:spChg>
      </pc:sldChg>
      <pc:sldChg chg="addSp delSp modSp add modNotesTx">
        <pc:chgData name="Bob Ward" userId="6da7c2dd-8e2e-469f-a216-c384312e2a2d" providerId="ADAL" clId="{CC07BEAC-85A7-44E0-BC28-578FC3DF3703}" dt="2019-02-21T03:25:48.655" v="14170" actId="5793"/>
        <pc:sldMkLst>
          <pc:docMk/>
          <pc:sldMk cId="1881181927" sldId="4707"/>
        </pc:sldMkLst>
        <pc:spChg chg="add mod">
          <ac:chgData name="Bob Ward" userId="6da7c2dd-8e2e-469f-a216-c384312e2a2d" providerId="ADAL" clId="{CC07BEAC-85A7-44E0-BC28-578FC3DF3703}" dt="2019-02-21T03:23:03.899" v="14078" actId="554"/>
          <ac:spMkLst>
            <pc:docMk/>
            <pc:sldMk cId="1881181927" sldId="4707"/>
            <ac:spMk id="3" creationId="{1AEC8ACB-B832-4687-81DD-DB98306BD403}"/>
          </ac:spMkLst>
        </pc:spChg>
        <pc:spChg chg="mod">
          <ac:chgData name="Bob Ward" userId="6da7c2dd-8e2e-469f-a216-c384312e2a2d" providerId="ADAL" clId="{CC07BEAC-85A7-44E0-BC28-578FC3DF3703}" dt="2019-02-21T03:22:22.165" v="14063" actId="20577"/>
          <ac:spMkLst>
            <pc:docMk/>
            <pc:sldMk cId="1881181927" sldId="4707"/>
            <ac:spMk id="7" creationId="{00000000-0000-0000-0000-000000000000}"/>
          </ac:spMkLst>
        </pc:spChg>
        <pc:spChg chg="add del mod">
          <ac:chgData name="Bob Ward" userId="6da7c2dd-8e2e-469f-a216-c384312e2a2d" providerId="ADAL" clId="{CC07BEAC-85A7-44E0-BC28-578FC3DF3703}" dt="2019-02-21T03:19:01.159" v="13628" actId="478"/>
          <ac:spMkLst>
            <pc:docMk/>
            <pc:sldMk cId="1881181927" sldId="4707"/>
            <ac:spMk id="8" creationId="{5C57CD6A-BEAB-4E8D-BCBB-CDCCA7B1B7A1}"/>
          </ac:spMkLst>
        </pc:spChg>
        <pc:spChg chg="add mod">
          <ac:chgData name="Bob Ward" userId="6da7c2dd-8e2e-469f-a216-c384312e2a2d" providerId="ADAL" clId="{CC07BEAC-85A7-44E0-BC28-578FC3DF3703}" dt="2019-02-21T03:23:03.899" v="14078" actId="554"/>
          <ac:spMkLst>
            <pc:docMk/>
            <pc:sldMk cId="1881181927" sldId="4707"/>
            <ac:spMk id="9" creationId="{F6CB614A-B469-45E5-ADCC-CE4E7D462A4A}"/>
          </ac:spMkLst>
        </pc:spChg>
        <pc:spChg chg="del mod">
          <ac:chgData name="Bob Ward" userId="6da7c2dd-8e2e-469f-a216-c384312e2a2d" providerId="ADAL" clId="{CC07BEAC-85A7-44E0-BC28-578FC3DF3703}" dt="2019-02-21T03:19:01.159" v="13628" actId="478"/>
          <ac:spMkLst>
            <pc:docMk/>
            <pc:sldMk cId="1881181927" sldId="4707"/>
            <ac:spMk id="25" creationId="{FFEFC3EA-1C9B-4DE5-957E-5128F4084D11}"/>
          </ac:spMkLst>
        </pc:spChg>
        <pc:graphicFrameChg chg="add mod">
          <ac:chgData name="Bob Ward" userId="6da7c2dd-8e2e-469f-a216-c384312e2a2d" providerId="ADAL" clId="{CC07BEAC-85A7-44E0-BC28-578FC3DF3703}" dt="2019-02-21T03:22:14.276" v="14055" actId="14100"/>
          <ac:graphicFrameMkLst>
            <pc:docMk/>
            <pc:sldMk cId="1881181927" sldId="4707"/>
            <ac:graphicFrameMk id="2" creationId="{5CD58392-0573-443B-BF77-ED172E81C9A7}"/>
          </ac:graphicFrameMkLst>
        </pc:graphicFrameChg>
        <pc:graphicFrameChg chg="add mod">
          <ac:chgData name="Bob Ward" userId="6da7c2dd-8e2e-469f-a216-c384312e2a2d" providerId="ADAL" clId="{CC07BEAC-85A7-44E0-BC28-578FC3DF3703}" dt="2019-02-21T03:23:15.306" v="14080" actId="14100"/>
          <ac:graphicFrameMkLst>
            <pc:docMk/>
            <pc:sldMk cId="1881181927" sldId="4707"/>
            <ac:graphicFrameMk id="4" creationId="{984E7BC2-1D6B-4859-A038-26D766A03495}"/>
          </ac:graphicFrameMkLst>
        </pc:graphicFrameChg>
        <pc:graphicFrameChg chg="del">
          <ac:chgData name="Bob Ward" userId="6da7c2dd-8e2e-469f-a216-c384312e2a2d" providerId="ADAL" clId="{CC07BEAC-85A7-44E0-BC28-578FC3DF3703}" dt="2019-02-13T23:42:33.212" v="4554" actId="478"/>
          <ac:graphicFrameMkLst>
            <pc:docMk/>
            <pc:sldMk cId="1881181927" sldId="4707"/>
            <ac:graphicFrameMk id="26" creationId="{AE42AFBE-BFAA-459C-8B67-6F2F5C40DA4B}"/>
          </ac:graphicFrameMkLst>
        </pc:graphicFrameChg>
        <pc:picChg chg="del mod">
          <ac:chgData name="Bob Ward" userId="6da7c2dd-8e2e-469f-a216-c384312e2a2d" providerId="ADAL" clId="{CC07BEAC-85A7-44E0-BC28-578FC3DF3703}" dt="2019-02-13T23:42:30.225" v="4553" actId="478"/>
          <ac:picMkLst>
            <pc:docMk/>
            <pc:sldMk cId="1881181927" sldId="4707"/>
            <ac:picMk id="27" creationId="{212F909F-0F18-4F93-93EE-D00B67BCACFD}"/>
          </ac:picMkLst>
        </pc:picChg>
        <pc:picChg chg="del mod">
          <ac:chgData name="Bob Ward" userId="6da7c2dd-8e2e-469f-a216-c384312e2a2d" providerId="ADAL" clId="{CC07BEAC-85A7-44E0-BC28-578FC3DF3703}" dt="2019-02-13T23:42:30.225" v="4553" actId="478"/>
          <ac:picMkLst>
            <pc:docMk/>
            <pc:sldMk cId="1881181927" sldId="4707"/>
            <ac:picMk id="28" creationId="{280F5838-A872-4B02-AAB1-7CDDDFA3C9FB}"/>
          </ac:picMkLst>
        </pc:picChg>
        <pc:picChg chg="del mod">
          <ac:chgData name="Bob Ward" userId="6da7c2dd-8e2e-469f-a216-c384312e2a2d" providerId="ADAL" clId="{CC07BEAC-85A7-44E0-BC28-578FC3DF3703}" dt="2019-02-13T23:42:30.225" v="4553" actId="478"/>
          <ac:picMkLst>
            <pc:docMk/>
            <pc:sldMk cId="1881181927" sldId="4707"/>
            <ac:picMk id="29" creationId="{9D2D1235-647B-4451-A48E-A7ACF6D7D8E2}"/>
          </ac:picMkLst>
        </pc:picChg>
      </pc:sldChg>
      <pc:sldChg chg="modSp add del">
        <pc:chgData name="Bob Ward" userId="6da7c2dd-8e2e-469f-a216-c384312e2a2d" providerId="ADAL" clId="{CC07BEAC-85A7-44E0-BC28-578FC3DF3703}" dt="2019-02-13T23:49:53.596" v="5283" actId="6549"/>
        <pc:sldMkLst>
          <pc:docMk/>
          <pc:sldMk cId="1395999484" sldId="4708"/>
        </pc:sldMkLst>
        <pc:spChg chg="mod">
          <ac:chgData name="Bob Ward" userId="6da7c2dd-8e2e-469f-a216-c384312e2a2d" providerId="ADAL" clId="{CC07BEAC-85A7-44E0-BC28-578FC3DF3703}" dt="2019-02-13T23:49:53.596" v="5283" actId="6549"/>
          <ac:spMkLst>
            <pc:docMk/>
            <pc:sldMk cId="1395999484" sldId="4708"/>
            <ac:spMk id="7" creationId="{B6C15758-2759-1249-86EB-95E395A72BC8}"/>
          </ac:spMkLst>
        </pc:spChg>
        <pc:spChg chg="mod">
          <ac:chgData name="Bob Ward" userId="6da7c2dd-8e2e-469f-a216-c384312e2a2d" providerId="ADAL" clId="{CC07BEAC-85A7-44E0-BC28-578FC3DF3703}" dt="2019-02-13T23:49:52.125" v="5282" actId="1076"/>
          <ac:spMkLst>
            <pc:docMk/>
            <pc:sldMk cId="1395999484" sldId="4708"/>
            <ac:spMk id="15" creationId="{1E47C575-2CAE-C14B-8688-E97C18C7961A}"/>
          </ac:spMkLst>
        </pc:spChg>
      </pc:sldChg>
      <pc:sldChg chg="add del ord">
        <pc:chgData name="Bob Ward" userId="6da7c2dd-8e2e-469f-a216-c384312e2a2d" providerId="ADAL" clId="{CC07BEAC-85A7-44E0-BC28-578FC3DF3703}" dt="2019-02-13T23:52:29.283" v="5296" actId="2696"/>
        <pc:sldMkLst>
          <pc:docMk/>
          <pc:sldMk cId="36372850" sldId="4709"/>
        </pc:sldMkLst>
      </pc:sldChg>
      <pc:sldChg chg="addSp delSp modSp add modAnim">
        <pc:chgData name="Bob Ward" userId="6da7c2dd-8e2e-469f-a216-c384312e2a2d" providerId="ADAL" clId="{CC07BEAC-85A7-44E0-BC28-578FC3DF3703}" dt="2019-02-13T23:53:05.973" v="5330"/>
        <pc:sldMkLst>
          <pc:docMk/>
          <pc:sldMk cId="516492955" sldId="4709"/>
        </pc:sldMkLst>
        <pc:spChg chg="mod">
          <ac:chgData name="Bob Ward" userId="6da7c2dd-8e2e-469f-a216-c384312e2a2d" providerId="ADAL" clId="{CC07BEAC-85A7-44E0-BC28-578FC3DF3703}" dt="2019-02-13T23:52:49.673" v="5328" actId="20577"/>
          <ac:spMkLst>
            <pc:docMk/>
            <pc:sldMk cId="516492955" sldId="4709"/>
            <ac:spMk id="2" creationId="{6D21BD2D-C217-4297-BE95-ED0B34225824}"/>
          </ac:spMkLst>
        </pc:spChg>
        <pc:spChg chg="del">
          <ac:chgData name="Bob Ward" userId="6da7c2dd-8e2e-469f-a216-c384312e2a2d" providerId="ADAL" clId="{CC07BEAC-85A7-44E0-BC28-578FC3DF3703}" dt="2019-02-13T23:52:53.104" v="5329" actId="478"/>
          <ac:spMkLst>
            <pc:docMk/>
            <pc:sldMk cId="516492955" sldId="4709"/>
            <ac:spMk id="3" creationId="{43349A58-96A3-40C3-95F1-0D67404589C5}"/>
          </ac:spMkLst>
        </pc:spChg>
        <pc:spChg chg="add">
          <ac:chgData name="Bob Ward" userId="6da7c2dd-8e2e-469f-a216-c384312e2a2d" providerId="ADAL" clId="{CC07BEAC-85A7-44E0-BC28-578FC3DF3703}" dt="2019-02-13T23:53:05.973" v="5330"/>
          <ac:spMkLst>
            <pc:docMk/>
            <pc:sldMk cId="516492955" sldId="4709"/>
            <ac:spMk id="23" creationId="{32169F1A-F17B-42CA-9E8D-91C696DC3BFB}"/>
          </ac:spMkLst>
        </pc:spChg>
        <pc:spChg chg="add">
          <ac:chgData name="Bob Ward" userId="6da7c2dd-8e2e-469f-a216-c384312e2a2d" providerId="ADAL" clId="{CC07BEAC-85A7-44E0-BC28-578FC3DF3703}" dt="2019-02-13T23:53:05.973" v="5330"/>
          <ac:spMkLst>
            <pc:docMk/>
            <pc:sldMk cId="516492955" sldId="4709"/>
            <ac:spMk id="24" creationId="{8B73CA59-AD0B-471A-B50B-BB6166E8D0DF}"/>
          </ac:spMkLst>
        </pc:spChg>
        <pc:spChg chg="add">
          <ac:chgData name="Bob Ward" userId="6da7c2dd-8e2e-469f-a216-c384312e2a2d" providerId="ADAL" clId="{CC07BEAC-85A7-44E0-BC28-578FC3DF3703}" dt="2019-02-13T23:53:05.973" v="5330"/>
          <ac:spMkLst>
            <pc:docMk/>
            <pc:sldMk cId="516492955" sldId="4709"/>
            <ac:spMk id="25" creationId="{3D424405-E94E-44C6-A676-5B5E90393BEB}"/>
          </ac:spMkLst>
        </pc:spChg>
        <pc:spChg chg="add">
          <ac:chgData name="Bob Ward" userId="6da7c2dd-8e2e-469f-a216-c384312e2a2d" providerId="ADAL" clId="{CC07BEAC-85A7-44E0-BC28-578FC3DF3703}" dt="2019-02-13T23:53:05.973" v="5330"/>
          <ac:spMkLst>
            <pc:docMk/>
            <pc:sldMk cId="516492955" sldId="4709"/>
            <ac:spMk id="26" creationId="{9B229649-EFED-4FC1-9C6E-F0552A6C81CC}"/>
          </ac:spMkLst>
        </pc:spChg>
        <pc:spChg chg="add">
          <ac:chgData name="Bob Ward" userId="6da7c2dd-8e2e-469f-a216-c384312e2a2d" providerId="ADAL" clId="{CC07BEAC-85A7-44E0-BC28-578FC3DF3703}" dt="2019-02-13T23:53:05.973" v="5330"/>
          <ac:spMkLst>
            <pc:docMk/>
            <pc:sldMk cId="516492955" sldId="4709"/>
            <ac:spMk id="27" creationId="{CD200F81-F71E-4CE6-8686-A44D5FD5F79D}"/>
          </ac:spMkLst>
        </pc:spChg>
        <pc:spChg chg="add">
          <ac:chgData name="Bob Ward" userId="6da7c2dd-8e2e-469f-a216-c384312e2a2d" providerId="ADAL" clId="{CC07BEAC-85A7-44E0-BC28-578FC3DF3703}" dt="2019-02-13T23:53:05.973" v="5330"/>
          <ac:spMkLst>
            <pc:docMk/>
            <pc:sldMk cId="516492955" sldId="4709"/>
            <ac:spMk id="28" creationId="{71814971-CF4F-4C21-871F-762FF8F34E14}"/>
          </ac:spMkLst>
        </pc:spChg>
        <pc:spChg chg="add">
          <ac:chgData name="Bob Ward" userId="6da7c2dd-8e2e-469f-a216-c384312e2a2d" providerId="ADAL" clId="{CC07BEAC-85A7-44E0-BC28-578FC3DF3703}" dt="2019-02-13T23:53:05.973" v="5330"/>
          <ac:spMkLst>
            <pc:docMk/>
            <pc:sldMk cId="516492955" sldId="4709"/>
            <ac:spMk id="41" creationId="{4DC6598F-C4DE-4358-B2AF-C5C002575A83}"/>
          </ac:spMkLst>
        </pc:spChg>
        <pc:grpChg chg="add">
          <ac:chgData name="Bob Ward" userId="6da7c2dd-8e2e-469f-a216-c384312e2a2d" providerId="ADAL" clId="{CC07BEAC-85A7-44E0-BC28-578FC3DF3703}" dt="2019-02-13T23:53:05.973" v="5330"/>
          <ac:grpSpMkLst>
            <pc:docMk/>
            <pc:sldMk cId="516492955" sldId="4709"/>
            <ac:grpSpMk id="4" creationId="{4913388A-BFF6-41A1-A434-5E6C87AEE646}"/>
          </ac:grpSpMkLst>
        </pc:grpChg>
        <pc:grpChg chg="add">
          <ac:chgData name="Bob Ward" userId="6da7c2dd-8e2e-469f-a216-c384312e2a2d" providerId="ADAL" clId="{CC07BEAC-85A7-44E0-BC28-578FC3DF3703}" dt="2019-02-13T23:53:05.973" v="5330"/>
          <ac:grpSpMkLst>
            <pc:docMk/>
            <pc:sldMk cId="516492955" sldId="4709"/>
            <ac:grpSpMk id="9" creationId="{0B44AEFD-AD98-463E-AC7C-8E40AC686777}"/>
          </ac:grpSpMkLst>
        </pc:grpChg>
        <pc:grpChg chg="add">
          <ac:chgData name="Bob Ward" userId="6da7c2dd-8e2e-469f-a216-c384312e2a2d" providerId="ADAL" clId="{CC07BEAC-85A7-44E0-BC28-578FC3DF3703}" dt="2019-02-13T23:53:05.973" v="5330"/>
          <ac:grpSpMkLst>
            <pc:docMk/>
            <pc:sldMk cId="516492955" sldId="4709"/>
            <ac:grpSpMk id="14" creationId="{BB34921C-724A-49AC-9294-22F993987071}"/>
          </ac:grpSpMkLst>
        </pc:grpChg>
        <pc:grpChg chg="add">
          <ac:chgData name="Bob Ward" userId="6da7c2dd-8e2e-469f-a216-c384312e2a2d" providerId="ADAL" clId="{CC07BEAC-85A7-44E0-BC28-578FC3DF3703}" dt="2019-02-13T23:53:05.973" v="5330"/>
          <ac:grpSpMkLst>
            <pc:docMk/>
            <pc:sldMk cId="516492955" sldId="4709"/>
            <ac:grpSpMk id="30" creationId="{63B9112B-860F-453F-A920-B7FB9C48F444}"/>
          </ac:grpSpMkLst>
        </pc:grpChg>
        <pc:grpChg chg="add">
          <ac:chgData name="Bob Ward" userId="6da7c2dd-8e2e-469f-a216-c384312e2a2d" providerId="ADAL" clId="{CC07BEAC-85A7-44E0-BC28-578FC3DF3703}" dt="2019-02-13T23:53:05.973" v="5330"/>
          <ac:grpSpMkLst>
            <pc:docMk/>
            <pc:sldMk cId="516492955" sldId="4709"/>
            <ac:grpSpMk id="38" creationId="{EB8D1E95-73A0-40C0-A7C0-C82FB1116A22}"/>
          </ac:grpSpMkLst>
        </pc:grpChg>
        <pc:picChg chg="add">
          <ac:chgData name="Bob Ward" userId="6da7c2dd-8e2e-469f-a216-c384312e2a2d" providerId="ADAL" clId="{CC07BEAC-85A7-44E0-BC28-578FC3DF3703}" dt="2019-02-13T23:53:05.973" v="5330"/>
          <ac:picMkLst>
            <pc:docMk/>
            <pc:sldMk cId="516492955" sldId="4709"/>
            <ac:picMk id="42" creationId="{D64FF969-E80C-4D3F-A7A1-06F05CF69A18}"/>
          </ac:picMkLst>
        </pc:picChg>
        <pc:picChg chg="add">
          <ac:chgData name="Bob Ward" userId="6da7c2dd-8e2e-469f-a216-c384312e2a2d" providerId="ADAL" clId="{CC07BEAC-85A7-44E0-BC28-578FC3DF3703}" dt="2019-02-13T23:53:05.973" v="5330"/>
          <ac:picMkLst>
            <pc:docMk/>
            <pc:sldMk cId="516492955" sldId="4709"/>
            <ac:picMk id="44" creationId="{BAE509EB-C892-4046-9EF8-ECFD565117E0}"/>
          </ac:picMkLst>
        </pc:picChg>
        <pc:cxnChg chg="add">
          <ac:chgData name="Bob Ward" userId="6da7c2dd-8e2e-469f-a216-c384312e2a2d" providerId="ADAL" clId="{CC07BEAC-85A7-44E0-BC28-578FC3DF3703}" dt="2019-02-13T23:53:05.973" v="5330"/>
          <ac:cxnSpMkLst>
            <pc:docMk/>
            <pc:sldMk cId="516492955" sldId="4709"/>
            <ac:cxnSpMk id="29" creationId="{EDCE725E-98A6-45E2-8059-2ACFC7299794}"/>
          </ac:cxnSpMkLst>
        </pc:cxnChg>
        <pc:cxnChg chg="add">
          <ac:chgData name="Bob Ward" userId="6da7c2dd-8e2e-469f-a216-c384312e2a2d" providerId="ADAL" clId="{CC07BEAC-85A7-44E0-BC28-578FC3DF3703}" dt="2019-02-13T23:53:05.973" v="5330"/>
          <ac:cxnSpMkLst>
            <pc:docMk/>
            <pc:sldMk cId="516492955" sldId="4709"/>
            <ac:cxnSpMk id="43" creationId="{86857419-694A-4F19-93A6-F7E452E9FEFE}"/>
          </ac:cxnSpMkLst>
        </pc:cxnChg>
      </pc:sldChg>
      <pc:sldChg chg="add del">
        <pc:chgData name="Bob Ward" userId="6da7c2dd-8e2e-469f-a216-c384312e2a2d" providerId="ADAL" clId="{CC07BEAC-85A7-44E0-BC28-578FC3DF3703}" dt="2019-02-13T23:51:46.307" v="5285"/>
        <pc:sldMkLst>
          <pc:docMk/>
          <pc:sldMk cId="2825804657" sldId="4709"/>
        </pc:sldMkLst>
      </pc:sldChg>
      <pc:sldChg chg="addSp delSp modSp add modAnim">
        <pc:chgData name="Bob Ward" userId="6da7c2dd-8e2e-469f-a216-c384312e2a2d" providerId="ADAL" clId="{CC07BEAC-85A7-44E0-BC28-578FC3DF3703}" dt="2019-02-13T23:54:19.806" v="5359" actId="12100"/>
        <pc:sldMkLst>
          <pc:docMk/>
          <pc:sldMk cId="1513563151" sldId="4710"/>
        </pc:sldMkLst>
        <pc:spChg chg="mod">
          <ac:chgData name="Bob Ward" userId="6da7c2dd-8e2e-469f-a216-c384312e2a2d" providerId="ADAL" clId="{CC07BEAC-85A7-44E0-BC28-578FC3DF3703}" dt="2019-02-13T23:53:44.796" v="5353" actId="20577"/>
          <ac:spMkLst>
            <pc:docMk/>
            <pc:sldMk cId="1513563151" sldId="4710"/>
            <ac:spMk id="2" creationId="{8E19A2FE-8CC5-4777-ACCD-80A364F2B966}"/>
          </ac:spMkLst>
        </pc:spChg>
        <pc:spChg chg="del">
          <ac:chgData name="Bob Ward" userId="6da7c2dd-8e2e-469f-a216-c384312e2a2d" providerId="ADAL" clId="{CC07BEAC-85A7-44E0-BC28-578FC3DF3703}" dt="2019-02-13T23:53:49.008" v="5354" actId="478"/>
          <ac:spMkLst>
            <pc:docMk/>
            <pc:sldMk cId="1513563151" sldId="4710"/>
            <ac:spMk id="3" creationId="{EDF70D0D-EAD3-477C-95D0-DF35BDFAFCC6}"/>
          </ac:spMkLst>
        </pc:spChg>
        <pc:spChg chg="add">
          <ac:chgData name="Bob Ward" userId="6da7c2dd-8e2e-469f-a216-c384312e2a2d" providerId="ADAL" clId="{CC07BEAC-85A7-44E0-BC28-578FC3DF3703}" dt="2019-02-13T23:54:04.835" v="5355"/>
          <ac:spMkLst>
            <pc:docMk/>
            <pc:sldMk cId="1513563151" sldId="4710"/>
            <ac:spMk id="6" creationId="{FE9401D3-768A-4894-9F4D-48AB264717A6}"/>
          </ac:spMkLst>
        </pc:spChg>
        <pc:graphicFrameChg chg="add mod">
          <ac:chgData name="Bob Ward" userId="6da7c2dd-8e2e-469f-a216-c384312e2a2d" providerId="ADAL" clId="{CC07BEAC-85A7-44E0-BC28-578FC3DF3703}" dt="2019-02-13T23:54:19.806" v="5359" actId="12100"/>
          <ac:graphicFrameMkLst>
            <pc:docMk/>
            <pc:sldMk cId="1513563151" sldId="4710"/>
            <ac:graphicFrameMk id="4" creationId="{58232748-CA48-44BD-810D-647BA61293B1}"/>
          </ac:graphicFrameMkLst>
        </pc:graphicFrameChg>
        <pc:graphicFrameChg chg="add">
          <ac:chgData name="Bob Ward" userId="6da7c2dd-8e2e-469f-a216-c384312e2a2d" providerId="ADAL" clId="{CC07BEAC-85A7-44E0-BC28-578FC3DF3703}" dt="2019-02-13T23:54:04.835" v="5355"/>
          <ac:graphicFrameMkLst>
            <pc:docMk/>
            <pc:sldMk cId="1513563151" sldId="4710"/>
            <ac:graphicFrameMk id="5" creationId="{28C5BCF4-F4F2-42AB-AB1D-C1EF4637206A}"/>
          </ac:graphicFrameMkLst>
        </pc:graphicFrameChg>
      </pc:sldChg>
      <pc:sldChg chg="addSp delSp modSp add modAnim">
        <pc:chgData name="Bob Ward" userId="6da7c2dd-8e2e-469f-a216-c384312e2a2d" providerId="ADAL" clId="{CC07BEAC-85A7-44E0-BC28-578FC3DF3703}" dt="2019-02-23T19:08:52.310" v="18320"/>
        <pc:sldMkLst>
          <pc:docMk/>
          <pc:sldMk cId="4057104909" sldId="4711"/>
        </pc:sldMkLst>
        <pc:spChg chg="mod">
          <ac:chgData name="Bob Ward" userId="6da7c2dd-8e2e-469f-a216-c384312e2a2d" providerId="ADAL" clId="{CC07BEAC-85A7-44E0-BC28-578FC3DF3703}" dt="2019-02-14T00:10:02.414" v="5966" actId="6549"/>
          <ac:spMkLst>
            <pc:docMk/>
            <pc:sldMk cId="4057104909" sldId="4711"/>
            <ac:spMk id="2" creationId="{865D644A-9300-46F6-9746-8A8F6FE20638}"/>
          </ac:spMkLst>
        </pc:spChg>
        <pc:spChg chg="del mod">
          <ac:chgData name="Bob Ward" userId="6da7c2dd-8e2e-469f-a216-c384312e2a2d" providerId="ADAL" clId="{CC07BEAC-85A7-44E0-BC28-578FC3DF3703}" dt="2019-02-23T18:39:14.670" v="17884" actId="12084"/>
          <ac:spMkLst>
            <pc:docMk/>
            <pc:sldMk cId="4057104909" sldId="4711"/>
            <ac:spMk id="3" creationId="{AAA88FCF-BAD2-4D51-930E-4B60FE3BDCE2}"/>
          </ac:spMkLst>
        </pc:spChg>
        <pc:spChg chg="add mod">
          <ac:chgData name="Bob Ward" userId="6da7c2dd-8e2e-469f-a216-c384312e2a2d" providerId="ADAL" clId="{CC07BEAC-85A7-44E0-BC28-578FC3DF3703}" dt="2019-02-23T18:44:08.141" v="17989" actId="207"/>
          <ac:spMkLst>
            <pc:docMk/>
            <pc:sldMk cId="4057104909" sldId="4711"/>
            <ac:spMk id="5" creationId="{A07FA8A8-28D0-4038-A3E5-23541A3326C9}"/>
          </ac:spMkLst>
        </pc:spChg>
        <pc:graphicFrameChg chg="add mod">
          <ac:chgData name="Bob Ward" userId="6da7c2dd-8e2e-469f-a216-c384312e2a2d" providerId="ADAL" clId="{CC07BEAC-85A7-44E0-BC28-578FC3DF3703}" dt="2019-02-23T19:08:22.460" v="18317" actId="20577"/>
          <ac:graphicFrameMkLst>
            <pc:docMk/>
            <pc:sldMk cId="4057104909" sldId="4711"/>
            <ac:graphicFrameMk id="4" creationId="{25BC0E79-4545-4B8E-9B34-E1DA2536C7DA}"/>
          </ac:graphicFrameMkLst>
        </pc:graphicFrameChg>
      </pc:sldChg>
      <pc:sldChg chg="modSp add del ord">
        <pc:chgData name="Bob Ward" userId="6da7c2dd-8e2e-469f-a216-c384312e2a2d" providerId="ADAL" clId="{CC07BEAC-85A7-44E0-BC28-578FC3DF3703}" dt="2019-02-21T04:23:36.889" v="15010" actId="2696"/>
        <pc:sldMkLst>
          <pc:docMk/>
          <pc:sldMk cId="3124250520" sldId="4712"/>
        </pc:sldMkLst>
        <pc:spChg chg="mod">
          <ac:chgData name="Bob Ward" userId="6da7c2dd-8e2e-469f-a216-c384312e2a2d" providerId="ADAL" clId="{CC07BEAC-85A7-44E0-BC28-578FC3DF3703}" dt="2019-02-21T03:10:07.866" v="13571" actId="20577"/>
          <ac:spMkLst>
            <pc:docMk/>
            <pc:sldMk cId="3124250520" sldId="4712"/>
            <ac:spMk id="3" creationId="{00000000-0000-0000-0000-000000000000}"/>
          </ac:spMkLst>
        </pc:spChg>
        <pc:spChg chg="mod">
          <ac:chgData name="Bob Ward" userId="6da7c2dd-8e2e-469f-a216-c384312e2a2d" providerId="ADAL" clId="{CC07BEAC-85A7-44E0-BC28-578FC3DF3703}" dt="2019-02-14T00:11:23.119" v="6040" actId="20577"/>
          <ac:spMkLst>
            <pc:docMk/>
            <pc:sldMk cId="3124250520" sldId="4712"/>
            <ac:spMk id="4" creationId="{00000000-0000-0000-0000-000000000000}"/>
          </ac:spMkLst>
        </pc:spChg>
      </pc:sldChg>
      <pc:sldChg chg="modSp add ord modNotesTx">
        <pc:chgData name="Bob Ward" userId="6da7c2dd-8e2e-469f-a216-c384312e2a2d" providerId="ADAL" clId="{CC07BEAC-85A7-44E0-BC28-578FC3DF3703}" dt="2019-02-23T19:59:56.367" v="18607" actId="20577"/>
        <pc:sldMkLst>
          <pc:docMk/>
          <pc:sldMk cId="4254963345" sldId="4713"/>
        </pc:sldMkLst>
        <pc:spChg chg="mod">
          <ac:chgData name="Bob Ward" userId="6da7c2dd-8e2e-469f-a216-c384312e2a2d" providerId="ADAL" clId="{CC07BEAC-85A7-44E0-BC28-578FC3DF3703}" dt="2019-02-21T03:10:16.844" v="13572" actId="20577"/>
          <ac:spMkLst>
            <pc:docMk/>
            <pc:sldMk cId="4254963345" sldId="4713"/>
            <ac:spMk id="3" creationId="{00000000-0000-0000-0000-000000000000}"/>
          </ac:spMkLst>
        </pc:spChg>
        <pc:spChg chg="mod">
          <ac:chgData name="Bob Ward" userId="6da7c2dd-8e2e-469f-a216-c384312e2a2d" providerId="ADAL" clId="{CC07BEAC-85A7-44E0-BC28-578FC3DF3703}" dt="2019-02-14T00:16:02.908" v="6116" actId="20577"/>
          <ac:spMkLst>
            <pc:docMk/>
            <pc:sldMk cId="4254963345" sldId="4713"/>
            <ac:spMk id="4" creationId="{19845D98-2CE9-45E6-9AA5-7DA5B4AF1C6D}"/>
          </ac:spMkLst>
        </pc:spChg>
      </pc:sldChg>
      <pc:sldChg chg="add del ord">
        <pc:chgData name="Bob Ward" userId="6da7c2dd-8e2e-469f-a216-c384312e2a2d" providerId="ADAL" clId="{CC07BEAC-85A7-44E0-BC28-578FC3DF3703}" dt="2019-02-14T00:17:06.595" v="6253" actId="2696"/>
        <pc:sldMkLst>
          <pc:docMk/>
          <pc:sldMk cId="143906084" sldId="4714"/>
        </pc:sldMkLst>
      </pc:sldChg>
      <pc:sldChg chg="modSp add ord modNotesTx">
        <pc:chgData name="Bob Ward" userId="6da7c2dd-8e2e-469f-a216-c384312e2a2d" providerId="ADAL" clId="{CC07BEAC-85A7-44E0-BC28-578FC3DF3703}" dt="2019-02-21T03:05:52.683" v="13430" actId="6549"/>
        <pc:sldMkLst>
          <pc:docMk/>
          <pc:sldMk cId="3472186479" sldId="4714"/>
        </pc:sldMkLst>
        <pc:spChg chg="mod">
          <ac:chgData name="Bob Ward" userId="6da7c2dd-8e2e-469f-a216-c384312e2a2d" providerId="ADAL" clId="{CC07BEAC-85A7-44E0-BC28-578FC3DF3703}" dt="2019-02-14T00:17:32.766" v="6297" actId="20577"/>
          <ac:spMkLst>
            <pc:docMk/>
            <pc:sldMk cId="3472186479" sldId="4714"/>
            <ac:spMk id="2" creationId="{131DE104-D85B-43D4-AC99-58903696A798}"/>
          </ac:spMkLst>
        </pc:spChg>
      </pc:sldChg>
      <pc:sldChg chg="modSp add modAnim">
        <pc:chgData name="Bob Ward" userId="6da7c2dd-8e2e-469f-a216-c384312e2a2d" providerId="ADAL" clId="{CC07BEAC-85A7-44E0-BC28-578FC3DF3703}" dt="2019-02-20T17:20:30.679" v="9930"/>
        <pc:sldMkLst>
          <pc:docMk/>
          <pc:sldMk cId="1182174229" sldId="4715"/>
        </pc:sldMkLst>
        <pc:spChg chg="mod">
          <ac:chgData name="Bob Ward" userId="6da7c2dd-8e2e-469f-a216-c384312e2a2d" providerId="ADAL" clId="{CC07BEAC-85A7-44E0-BC28-578FC3DF3703}" dt="2019-02-14T00:19:46.776" v="6334" actId="20577"/>
          <ac:spMkLst>
            <pc:docMk/>
            <pc:sldMk cId="1182174229" sldId="4715"/>
            <ac:spMk id="2" creationId="{D53BB3F0-C6E8-4B45-BF0D-A821BECF14F2}"/>
          </ac:spMkLst>
        </pc:spChg>
      </pc:sldChg>
      <pc:sldChg chg="modSp add ord modNotesTx">
        <pc:chgData name="Bob Ward" userId="6da7c2dd-8e2e-469f-a216-c384312e2a2d" providerId="ADAL" clId="{CC07BEAC-85A7-44E0-BC28-578FC3DF3703}" dt="2019-02-21T02:27:15.686" v="13048" actId="20577"/>
        <pc:sldMkLst>
          <pc:docMk/>
          <pc:sldMk cId="1039403930" sldId="4716"/>
        </pc:sldMkLst>
        <pc:spChg chg="mod">
          <ac:chgData name="Bob Ward" userId="6da7c2dd-8e2e-469f-a216-c384312e2a2d" providerId="ADAL" clId="{CC07BEAC-85A7-44E0-BC28-578FC3DF3703}" dt="2019-02-14T00:20:19.360" v="6365" actId="20577"/>
          <ac:spMkLst>
            <pc:docMk/>
            <pc:sldMk cId="1039403930" sldId="4716"/>
            <ac:spMk id="2" creationId="{131DE104-D85B-43D4-AC99-58903696A798}"/>
          </ac:spMkLst>
        </pc:spChg>
      </pc:sldChg>
      <pc:sldChg chg="modSp add del">
        <pc:chgData name="Bob Ward" userId="6da7c2dd-8e2e-469f-a216-c384312e2a2d" providerId="ADAL" clId="{CC07BEAC-85A7-44E0-BC28-578FC3DF3703}" dt="2019-02-19T21:13:29.329" v="7110" actId="2696"/>
        <pc:sldMkLst>
          <pc:docMk/>
          <pc:sldMk cId="2935238819" sldId="4717"/>
        </pc:sldMkLst>
        <pc:spChg chg="mod">
          <ac:chgData name="Bob Ward" userId="6da7c2dd-8e2e-469f-a216-c384312e2a2d" providerId="ADAL" clId="{CC07BEAC-85A7-44E0-BC28-578FC3DF3703}" dt="2019-02-19T20:56:07.654" v="6419" actId="20577"/>
          <ac:spMkLst>
            <pc:docMk/>
            <pc:sldMk cId="2935238819" sldId="4717"/>
            <ac:spMk id="2" creationId="{6D2AE171-AD94-4FF5-B0ED-99921A4D69DF}"/>
          </ac:spMkLst>
        </pc:spChg>
        <pc:spChg chg="mod">
          <ac:chgData name="Bob Ward" userId="6da7c2dd-8e2e-469f-a216-c384312e2a2d" providerId="ADAL" clId="{CC07BEAC-85A7-44E0-BC28-578FC3DF3703}" dt="2019-02-19T20:57:27.336" v="6590" actId="20577"/>
          <ac:spMkLst>
            <pc:docMk/>
            <pc:sldMk cId="2935238819" sldId="4717"/>
            <ac:spMk id="3" creationId="{B24FAB1C-C010-4E4C-B79A-38D893014754}"/>
          </ac:spMkLst>
        </pc:spChg>
      </pc:sldChg>
      <pc:sldChg chg="addSp delSp modSp add modAnim">
        <pc:chgData name="Bob Ward" userId="6da7c2dd-8e2e-469f-a216-c384312e2a2d" providerId="ADAL" clId="{CC07BEAC-85A7-44E0-BC28-578FC3DF3703}" dt="2019-02-21T14:45:19.229" v="16105" actId="6549"/>
        <pc:sldMkLst>
          <pc:docMk/>
          <pc:sldMk cId="3173525090" sldId="4718"/>
        </pc:sldMkLst>
        <pc:spChg chg="mod">
          <ac:chgData name="Bob Ward" userId="6da7c2dd-8e2e-469f-a216-c384312e2a2d" providerId="ADAL" clId="{CC07BEAC-85A7-44E0-BC28-578FC3DF3703}" dt="2019-02-19T21:13:24.034" v="7109" actId="1076"/>
          <ac:spMkLst>
            <pc:docMk/>
            <pc:sldMk cId="3173525090" sldId="4718"/>
            <ac:spMk id="2" creationId="{6D2AE171-AD94-4FF5-B0ED-99921A4D69DF}"/>
          </ac:spMkLst>
        </pc:spChg>
        <pc:spChg chg="del">
          <ac:chgData name="Bob Ward" userId="6da7c2dd-8e2e-469f-a216-c384312e2a2d" providerId="ADAL" clId="{CC07BEAC-85A7-44E0-BC28-578FC3DF3703}" dt="2019-02-19T20:58:35.342" v="6593" actId="478"/>
          <ac:spMkLst>
            <pc:docMk/>
            <pc:sldMk cId="3173525090" sldId="4718"/>
            <ac:spMk id="3" creationId="{B24FAB1C-C010-4E4C-B79A-38D893014754}"/>
          </ac:spMkLst>
        </pc:spChg>
        <pc:spChg chg="add del mod">
          <ac:chgData name="Bob Ward" userId="6da7c2dd-8e2e-469f-a216-c384312e2a2d" providerId="ADAL" clId="{CC07BEAC-85A7-44E0-BC28-578FC3DF3703}" dt="2019-02-19T20:58:37.469" v="6594" actId="478"/>
          <ac:spMkLst>
            <pc:docMk/>
            <pc:sldMk cId="3173525090" sldId="4718"/>
            <ac:spMk id="5" creationId="{05791723-C203-4AB3-AFD0-7885908D717A}"/>
          </ac:spMkLst>
        </pc:spChg>
        <pc:spChg chg="add mod">
          <ac:chgData name="Bob Ward" userId="6da7c2dd-8e2e-469f-a216-c384312e2a2d" providerId="ADAL" clId="{CC07BEAC-85A7-44E0-BC28-578FC3DF3703}" dt="2019-02-21T02:31:24.999" v="13063" actId="1076"/>
          <ac:spMkLst>
            <pc:docMk/>
            <pc:sldMk cId="3173525090" sldId="4718"/>
            <ac:spMk id="5" creationId="{8FC618D1-0564-4058-BC54-557B11D15E73}"/>
          </ac:spMkLst>
        </pc:spChg>
        <pc:spChg chg="add del">
          <ac:chgData name="Bob Ward" userId="6da7c2dd-8e2e-469f-a216-c384312e2a2d" providerId="ADAL" clId="{CC07BEAC-85A7-44E0-BC28-578FC3DF3703}" dt="2019-02-19T21:00:44.394" v="6603"/>
          <ac:spMkLst>
            <pc:docMk/>
            <pc:sldMk cId="3173525090" sldId="4718"/>
            <ac:spMk id="11" creationId="{F00988AB-6437-41C3-A82E-A49CEFFE9E56}"/>
          </ac:spMkLst>
        </pc:spChg>
        <pc:spChg chg="add del">
          <ac:chgData name="Bob Ward" userId="6da7c2dd-8e2e-469f-a216-c384312e2a2d" providerId="ADAL" clId="{CC07BEAC-85A7-44E0-BC28-578FC3DF3703}" dt="2019-02-19T21:00:47.008" v="6605" actId="478"/>
          <ac:spMkLst>
            <pc:docMk/>
            <pc:sldMk cId="3173525090" sldId="4718"/>
            <ac:spMk id="12" creationId="{DE8EADA3-88B9-44F9-A406-0AA05A37801E}"/>
          </ac:spMkLst>
        </pc:spChg>
        <pc:spChg chg="add mod">
          <ac:chgData name="Bob Ward" userId="6da7c2dd-8e2e-469f-a216-c384312e2a2d" providerId="ADAL" clId="{CC07BEAC-85A7-44E0-BC28-578FC3DF3703}" dt="2019-02-19T21:12:01.881" v="7096" actId="1076"/>
          <ac:spMkLst>
            <pc:docMk/>
            <pc:sldMk cId="3173525090" sldId="4718"/>
            <ac:spMk id="14" creationId="{D4301970-8EF5-4AED-8FB7-A51120ECD60F}"/>
          </ac:spMkLst>
        </pc:spChg>
        <pc:spChg chg="mod">
          <ac:chgData name="Bob Ward" userId="6da7c2dd-8e2e-469f-a216-c384312e2a2d" providerId="ADAL" clId="{CC07BEAC-85A7-44E0-BC28-578FC3DF3703}" dt="2019-02-21T02:29:08.739" v="13050" actId="6549"/>
          <ac:spMkLst>
            <pc:docMk/>
            <pc:sldMk cId="3173525090" sldId="4718"/>
            <ac:spMk id="16" creationId="{D677FF46-7C76-4946-95B8-FDA5112B53C5}"/>
          </ac:spMkLst>
        </pc:spChg>
        <pc:spChg chg="mod">
          <ac:chgData name="Bob Ward" userId="6da7c2dd-8e2e-469f-a216-c384312e2a2d" providerId="ADAL" clId="{CC07BEAC-85A7-44E0-BC28-578FC3DF3703}" dt="2019-02-19T21:01:46.443" v="6617" actId="255"/>
          <ac:spMkLst>
            <pc:docMk/>
            <pc:sldMk cId="3173525090" sldId="4718"/>
            <ac:spMk id="17" creationId="{95200D0A-E7AD-470C-9649-81B37C4BCE2E}"/>
          </ac:spMkLst>
        </pc:spChg>
        <pc:spChg chg="add mod">
          <ac:chgData name="Bob Ward" userId="6da7c2dd-8e2e-469f-a216-c384312e2a2d" providerId="ADAL" clId="{CC07BEAC-85A7-44E0-BC28-578FC3DF3703}" dt="2019-02-21T14:45:19.229" v="16105" actId="6549"/>
          <ac:spMkLst>
            <pc:docMk/>
            <pc:sldMk cId="3173525090" sldId="4718"/>
            <ac:spMk id="18" creationId="{D3B423A7-4BAB-40D3-9FD6-0F038240FEAF}"/>
          </ac:spMkLst>
        </pc:spChg>
        <pc:spChg chg="add mod">
          <ac:chgData name="Bob Ward" userId="6da7c2dd-8e2e-469f-a216-c384312e2a2d" providerId="ADAL" clId="{CC07BEAC-85A7-44E0-BC28-578FC3DF3703}" dt="2019-02-19T21:08:49.165" v="7071" actId="1076"/>
          <ac:spMkLst>
            <pc:docMk/>
            <pc:sldMk cId="3173525090" sldId="4718"/>
            <ac:spMk id="19" creationId="{99C21293-60A9-45E5-9AB7-65627526FC21}"/>
          </ac:spMkLst>
        </pc:spChg>
        <pc:spChg chg="mod">
          <ac:chgData name="Bob Ward" userId="6da7c2dd-8e2e-469f-a216-c384312e2a2d" providerId="ADAL" clId="{CC07BEAC-85A7-44E0-BC28-578FC3DF3703}" dt="2019-02-19T21:06:06.412" v="6805" actId="113"/>
          <ac:spMkLst>
            <pc:docMk/>
            <pc:sldMk cId="3173525090" sldId="4718"/>
            <ac:spMk id="27" creationId="{215158CC-E406-40EF-8ACA-A9C08712EE49}"/>
          </ac:spMkLst>
        </pc:spChg>
        <pc:spChg chg="mod">
          <ac:chgData name="Bob Ward" userId="6da7c2dd-8e2e-469f-a216-c384312e2a2d" providerId="ADAL" clId="{CC07BEAC-85A7-44E0-BC28-578FC3DF3703}" dt="2019-02-19T21:06:06.412" v="6805" actId="113"/>
          <ac:spMkLst>
            <pc:docMk/>
            <pc:sldMk cId="3173525090" sldId="4718"/>
            <ac:spMk id="28" creationId="{CF9CEBD2-D358-403A-AD4D-904B1F8AA0C5}"/>
          </ac:spMkLst>
        </pc:spChg>
        <pc:spChg chg="add mod">
          <ac:chgData name="Bob Ward" userId="6da7c2dd-8e2e-469f-a216-c384312e2a2d" providerId="ADAL" clId="{CC07BEAC-85A7-44E0-BC28-578FC3DF3703}" dt="2019-02-19T21:10:43.904" v="7077" actId="1076"/>
          <ac:spMkLst>
            <pc:docMk/>
            <pc:sldMk cId="3173525090" sldId="4718"/>
            <ac:spMk id="30" creationId="{2FD6E315-25EA-4D82-9B44-27928B1FA5C7}"/>
          </ac:spMkLst>
        </pc:spChg>
        <pc:spChg chg="add mod">
          <ac:chgData name="Bob Ward" userId="6da7c2dd-8e2e-469f-a216-c384312e2a2d" providerId="ADAL" clId="{CC07BEAC-85A7-44E0-BC28-578FC3DF3703}" dt="2019-02-19T21:08:24.036" v="7060" actId="20577"/>
          <ac:spMkLst>
            <pc:docMk/>
            <pc:sldMk cId="3173525090" sldId="4718"/>
            <ac:spMk id="31" creationId="{7846A372-933D-43B9-9295-24938FD821D9}"/>
          </ac:spMkLst>
        </pc:spChg>
        <pc:spChg chg="add mod">
          <ac:chgData name="Bob Ward" userId="6da7c2dd-8e2e-469f-a216-c384312e2a2d" providerId="ADAL" clId="{CC07BEAC-85A7-44E0-BC28-578FC3DF3703}" dt="2019-02-19T21:08:17.005" v="7040" actId="1076"/>
          <ac:spMkLst>
            <pc:docMk/>
            <pc:sldMk cId="3173525090" sldId="4718"/>
            <ac:spMk id="32" creationId="{573B6922-C7FD-40F5-BCC4-3C14DAB2DA3D}"/>
          </ac:spMkLst>
        </pc:spChg>
        <pc:grpChg chg="add mod">
          <ac:chgData name="Bob Ward" userId="6da7c2dd-8e2e-469f-a216-c384312e2a2d" providerId="ADAL" clId="{CC07BEAC-85A7-44E0-BC28-578FC3DF3703}" dt="2019-02-21T02:29:24.146" v="13051" actId="338"/>
          <ac:grpSpMkLst>
            <pc:docMk/>
            <pc:sldMk cId="3173525090" sldId="4718"/>
            <ac:grpSpMk id="3" creationId="{FEF7A895-B93F-4494-A2F5-A92203252510}"/>
          </ac:grpSpMkLst>
        </pc:grpChg>
        <pc:grpChg chg="add mod">
          <ac:chgData name="Bob Ward" userId="6da7c2dd-8e2e-469f-a216-c384312e2a2d" providerId="ADAL" clId="{CC07BEAC-85A7-44E0-BC28-578FC3DF3703}" dt="2019-02-21T02:31:28.065" v="13064" actId="1076"/>
          <ac:grpSpMkLst>
            <pc:docMk/>
            <pc:sldMk cId="3173525090" sldId="4718"/>
            <ac:grpSpMk id="4" creationId="{2517A6A0-F210-4B66-897A-D239B79CD65B}"/>
          </ac:grpSpMkLst>
        </pc:grpChg>
        <pc:grpChg chg="add mod">
          <ac:chgData name="Bob Ward" userId="6da7c2dd-8e2e-469f-a216-c384312e2a2d" providerId="ADAL" clId="{CC07BEAC-85A7-44E0-BC28-578FC3DF3703}" dt="2019-02-19T21:10:25.629" v="7073" actId="1076"/>
          <ac:grpSpMkLst>
            <pc:docMk/>
            <pc:sldMk cId="3173525090" sldId="4718"/>
            <ac:grpSpMk id="6" creationId="{A178F7F2-8023-494D-885E-C50430B4C846}"/>
          </ac:grpSpMkLst>
        </pc:grpChg>
        <pc:grpChg chg="add del mod">
          <ac:chgData name="Bob Ward" userId="6da7c2dd-8e2e-469f-a216-c384312e2a2d" providerId="ADAL" clId="{CC07BEAC-85A7-44E0-BC28-578FC3DF3703}" dt="2019-02-21T02:28:58.166" v="13049" actId="165"/>
          <ac:grpSpMkLst>
            <pc:docMk/>
            <pc:sldMk cId="3173525090" sldId="4718"/>
            <ac:grpSpMk id="13" creationId="{9197DF4B-F92D-4374-8BB6-830B2180C6FB}"/>
          </ac:grpSpMkLst>
        </pc:grpChg>
        <pc:grpChg chg="add mod topLvl">
          <ac:chgData name="Bob Ward" userId="6da7c2dd-8e2e-469f-a216-c384312e2a2d" providerId="ADAL" clId="{CC07BEAC-85A7-44E0-BC28-578FC3DF3703}" dt="2019-02-21T02:29:24.146" v="13051" actId="338"/>
          <ac:grpSpMkLst>
            <pc:docMk/>
            <pc:sldMk cId="3173525090" sldId="4718"/>
            <ac:grpSpMk id="15" creationId="{5ED78680-94EA-47E7-8DC6-282F8CA0C744}"/>
          </ac:grpSpMkLst>
        </pc:grpChg>
        <pc:grpChg chg="add mod">
          <ac:chgData name="Bob Ward" userId="6da7c2dd-8e2e-469f-a216-c384312e2a2d" providerId="ADAL" clId="{CC07BEAC-85A7-44E0-BC28-578FC3DF3703}" dt="2019-02-21T02:31:09.680" v="13060" actId="164"/>
          <ac:grpSpMkLst>
            <pc:docMk/>
            <pc:sldMk cId="3173525090" sldId="4718"/>
            <ac:grpSpMk id="22" creationId="{AA32D583-4349-4D4D-A1B6-AA6EA3E042A8}"/>
          </ac:grpSpMkLst>
        </pc:grpChg>
        <pc:grpChg chg="add del">
          <ac:chgData name="Bob Ward" userId="6da7c2dd-8e2e-469f-a216-c384312e2a2d" providerId="ADAL" clId="{CC07BEAC-85A7-44E0-BC28-578FC3DF3703}" dt="2019-02-19T21:06:07.728" v="6806"/>
          <ac:grpSpMkLst>
            <pc:docMk/>
            <pc:sldMk cId="3173525090" sldId="4718"/>
            <ac:grpSpMk id="26" creationId="{74026FDF-38A6-4EF6-8D98-3D6CAB3C2611}"/>
          </ac:grpSpMkLst>
        </pc:grpChg>
        <pc:picChg chg="add mod">
          <ac:chgData name="Bob Ward" userId="6da7c2dd-8e2e-469f-a216-c384312e2a2d" providerId="ADAL" clId="{CC07BEAC-85A7-44E0-BC28-578FC3DF3703}" dt="2019-02-19T21:07:02.872" v="6909" actId="1076"/>
          <ac:picMkLst>
            <pc:docMk/>
            <pc:sldMk cId="3173525090" sldId="4718"/>
            <ac:picMk id="9" creationId="{E1D1930B-C020-4A76-B80B-3B2F3DDD26B9}"/>
          </ac:picMkLst>
        </pc:picChg>
        <pc:picChg chg="add mod">
          <ac:chgData name="Bob Ward" userId="6da7c2dd-8e2e-469f-a216-c384312e2a2d" providerId="ADAL" clId="{CC07BEAC-85A7-44E0-BC28-578FC3DF3703}" dt="2019-02-19T21:07:28.852" v="6915" actId="1076"/>
          <ac:picMkLst>
            <pc:docMk/>
            <pc:sldMk cId="3173525090" sldId="4718"/>
            <ac:picMk id="10" creationId="{6F5585C5-3A18-462B-855A-E57B29DB4EDE}"/>
          </ac:picMkLst>
        </pc:picChg>
        <pc:picChg chg="add mod">
          <ac:chgData name="Bob Ward" userId="6da7c2dd-8e2e-469f-a216-c384312e2a2d" providerId="ADAL" clId="{CC07BEAC-85A7-44E0-BC28-578FC3DF3703}" dt="2019-02-21T02:31:09.680" v="13060" actId="164"/>
          <ac:picMkLst>
            <pc:docMk/>
            <pc:sldMk cId="3173525090" sldId="4718"/>
            <ac:picMk id="29" creationId="{B6C0260D-054A-478F-8995-0D4A5835DB1F}"/>
          </ac:picMkLst>
        </pc:picChg>
        <pc:picChg chg="add del">
          <ac:chgData name="Bob Ward" userId="6da7c2dd-8e2e-469f-a216-c384312e2a2d" providerId="ADAL" clId="{CC07BEAC-85A7-44E0-BC28-578FC3DF3703}" dt="2019-02-19T21:00:27.503" v="6601"/>
          <ac:picMkLst>
            <pc:docMk/>
            <pc:sldMk cId="3173525090" sldId="4718"/>
            <ac:picMk id="1026" creationId="{F548DE0C-F93D-4DAD-A282-AE291D34CC4A}"/>
          </ac:picMkLst>
        </pc:picChg>
        <pc:picChg chg="add mod topLvl">
          <ac:chgData name="Bob Ward" userId="6da7c2dd-8e2e-469f-a216-c384312e2a2d" providerId="ADAL" clId="{CC07BEAC-85A7-44E0-BC28-578FC3DF3703}" dt="2019-02-21T02:29:24.146" v="13051" actId="338"/>
          <ac:picMkLst>
            <pc:docMk/>
            <pc:sldMk cId="3173525090" sldId="4718"/>
            <ac:picMk id="1032" creationId="{611B8EA1-91C3-4EFE-A817-963D75D8841D}"/>
          </ac:picMkLst>
        </pc:picChg>
        <pc:picChg chg="add mod">
          <ac:chgData name="Bob Ward" userId="6da7c2dd-8e2e-469f-a216-c384312e2a2d" providerId="ADAL" clId="{CC07BEAC-85A7-44E0-BC28-578FC3DF3703}" dt="2019-02-19T21:10:37.387" v="7075" actId="1076"/>
          <ac:picMkLst>
            <pc:docMk/>
            <pc:sldMk cId="3173525090" sldId="4718"/>
            <ac:picMk id="1034" creationId="{7954E7A4-F30B-4139-BEFE-196931AFE921}"/>
          </ac:picMkLst>
        </pc:picChg>
        <pc:cxnChg chg="add mod">
          <ac:chgData name="Bob Ward" userId="6da7c2dd-8e2e-469f-a216-c384312e2a2d" providerId="ADAL" clId="{CC07BEAC-85A7-44E0-BC28-578FC3DF3703}" dt="2019-02-19T21:12:19.978" v="7101" actId="14100"/>
          <ac:cxnSpMkLst>
            <pc:docMk/>
            <pc:sldMk cId="3173525090" sldId="4718"/>
            <ac:cxnSpMk id="21" creationId="{61FA6561-EA1F-4B40-AFEC-5E7A0384C2DB}"/>
          </ac:cxnSpMkLst>
        </pc:cxnChg>
        <pc:cxnChg chg="add mod">
          <ac:chgData name="Bob Ward" userId="6da7c2dd-8e2e-469f-a216-c384312e2a2d" providerId="ADAL" clId="{CC07BEAC-85A7-44E0-BC28-578FC3DF3703}" dt="2019-02-19T21:12:09.900" v="7099" actId="14100"/>
          <ac:cxnSpMkLst>
            <pc:docMk/>
            <pc:sldMk cId="3173525090" sldId="4718"/>
            <ac:cxnSpMk id="36" creationId="{2878C043-297E-4E46-8EE4-6123B540474F}"/>
          </ac:cxnSpMkLst>
        </pc:cxnChg>
        <pc:cxnChg chg="add mod">
          <ac:chgData name="Bob Ward" userId="6da7c2dd-8e2e-469f-a216-c384312e2a2d" providerId="ADAL" clId="{CC07BEAC-85A7-44E0-BC28-578FC3DF3703}" dt="2019-02-19T21:12:15.636" v="7100" actId="14100"/>
          <ac:cxnSpMkLst>
            <pc:docMk/>
            <pc:sldMk cId="3173525090" sldId="4718"/>
            <ac:cxnSpMk id="38" creationId="{2DA199D8-3AB2-4504-B9C6-26E47F0D785E}"/>
          </ac:cxnSpMkLst>
        </pc:cxnChg>
        <pc:cxnChg chg="add mod">
          <ac:chgData name="Bob Ward" userId="6da7c2dd-8e2e-469f-a216-c384312e2a2d" providerId="ADAL" clId="{CC07BEAC-85A7-44E0-BC28-578FC3DF3703}" dt="2019-02-19T21:12:07.414" v="7097" actId="14100"/>
          <ac:cxnSpMkLst>
            <pc:docMk/>
            <pc:sldMk cId="3173525090" sldId="4718"/>
            <ac:cxnSpMk id="40" creationId="{35FCABA1-FA39-47C6-B00E-A7F189C7F98C}"/>
          </ac:cxnSpMkLst>
        </pc:cxnChg>
      </pc:sldChg>
      <pc:sldChg chg="addSp delSp modSp add modNotesTx">
        <pc:chgData name="Bob Ward" userId="6da7c2dd-8e2e-469f-a216-c384312e2a2d" providerId="ADAL" clId="{CC07BEAC-85A7-44E0-BC28-578FC3DF3703}" dt="2019-02-24T16:00:36.544" v="18807" actId="20577"/>
        <pc:sldMkLst>
          <pc:docMk/>
          <pc:sldMk cId="3150553957" sldId="4719"/>
        </pc:sldMkLst>
        <pc:spChg chg="mod">
          <ac:chgData name="Bob Ward" userId="6da7c2dd-8e2e-469f-a216-c384312e2a2d" providerId="ADAL" clId="{CC07BEAC-85A7-44E0-BC28-578FC3DF3703}" dt="2019-02-24T16:00:36.544" v="18807" actId="20577"/>
          <ac:spMkLst>
            <pc:docMk/>
            <pc:sldMk cId="3150553957" sldId="4719"/>
            <ac:spMk id="2" creationId="{DE203A52-CFA0-4EB3-9984-22D25512BD8F}"/>
          </ac:spMkLst>
        </pc:spChg>
        <pc:graphicFrameChg chg="add mod">
          <ac:chgData name="Bob Ward" userId="6da7c2dd-8e2e-469f-a216-c384312e2a2d" providerId="ADAL" clId="{CC07BEAC-85A7-44E0-BC28-578FC3DF3703}" dt="2019-02-19T23:49:21.587" v="8137" actId="1076"/>
          <ac:graphicFrameMkLst>
            <pc:docMk/>
            <pc:sldMk cId="3150553957" sldId="4719"/>
            <ac:graphicFrameMk id="3" creationId="{60D032D2-8571-4E52-A3AC-BBE604A7760B}"/>
          </ac:graphicFrameMkLst>
        </pc:graphicFrameChg>
        <pc:picChg chg="del">
          <ac:chgData name="Bob Ward" userId="6da7c2dd-8e2e-469f-a216-c384312e2a2d" providerId="ADAL" clId="{CC07BEAC-85A7-44E0-BC28-578FC3DF3703}" dt="2019-02-19T23:46:38.960" v="8065" actId="478"/>
          <ac:picMkLst>
            <pc:docMk/>
            <pc:sldMk cId="3150553957" sldId="4719"/>
            <ac:picMk id="3076" creationId="{CE12F756-5C03-49B9-9178-D6DE3A31F24F}"/>
          </ac:picMkLst>
        </pc:picChg>
        <pc:picChg chg="add mod">
          <ac:chgData name="Bob Ward" userId="6da7c2dd-8e2e-469f-a216-c384312e2a2d" providerId="ADAL" clId="{CC07BEAC-85A7-44E0-BC28-578FC3DF3703}" dt="2019-02-19T23:48:19.273" v="8074" actId="1076"/>
          <ac:picMkLst>
            <pc:docMk/>
            <pc:sldMk cId="3150553957" sldId="4719"/>
            <ac:picMk id="5122" creationId="{EC77D15C-D57A-4836-81D6-CDE03B49A3AF}"/>
          </ac:picMkLst>
        </pc:picChg>
      </pc:sldChg>
      <pc:sldChg chg="add del">
        <pc:chgData name="Bob Ward" userId="6da7c2dd-8e2e-469f-a216-c384312e2a2d" providerId="ADAL" clId="{CC07BEAC-85A7-44E0-BC28-578FC3DF3703}" dt="2019-02-21T01:33:52.837" v="10920" actId="2696"/>
        <pc:sldMkLst>
          <pc:docMk/>
          <pc:sldMk cId="1166251521" sldId="4720"/>
        </pc:sldMkLst>
      </pc:sldChg>
      <pc:sldChg chg="add del">
        <pc:chgData name="Bob Ward" userId="6da7c2dd-8e2e-469f-a216-c384312e2a2d" providerId="ADAL" clId="{CC07BEAC-85A7-44E0-BC28-578FC3DF3703}" dt="2019-02-21T01:12:06.295" v="10918" actId="2696"/>
        <pc:sldMkLst>
          <pc:docMk/>
          <pc:sldMk cId="3302767865" sldId="4720"/>
        </pc:sldMkLst>
      </pc:sldChg>
      <pc:sldChg chg="modSp add modNotesTx">
        <pc:chgData name="Bob Ward" userId="6da7c2dd-8e2e-469f-a216-c384312e2a2d" providerId="ADAL" clId="{CC07BEAC-85A7-44E0-BC28-578FC3DF3703}" dt="2019-02-23T20:00:21.583" v="18640" actId="20577"/>
        <pc:sldMkLst>
          <pc:docMk/>
          <pc:sldMk cId="3764378234" sldId="4720"/>
        </pc:sldMkLst>
        <pc:spChg chg="mod">
          <ac:chgData name="Bob Ward" userId="6da7c2dd-8e2e-469f-a216-c384312e2a2d" providerId="ADAL" clId="{CC07BEAC-85A7-44E0-BC28-578FC3DF3703}" dt="2019-02-21T01:34:28.135" v="10964" actId="20577"/>
          <ac:spMkLst>
            <pc:docMk/>
            <pc:sldMk cId="3764378234" sldId="4720"/>
            <ac:spMk id="3" creationId="{00000000-0000-0000-0000-000000000000}"/>
          </ac:spMkLst>
        </pc:spChg>
        <pc:spChg chg="mod">
          <ac:chgData name="Bob Ward" userId="6da7c2dd-8e2e-469f-a216-c384312e2a2d" providerId="ADAL" clId="{CC07BEAC-85A7-44E0-BC28-578FC3DF3703}" dt="2019-02-21T01:34:38.661" v="11012" actId="20577"/>
          <ac:spMkLst>
            <pc:docMk/>
            <pc:sldMk cId="3764378234" sldId="4720"/>
            <ac:spMk id="4" creationId="{19845D98-2CE9-45E6-9AA5-7DA5B4AF1C6D}"/>
          </ac:spMkLst>
        </pc:spChg>
      </pc:sldChg>
      <pc:sldChg chg="add del">
        <pc:chgData name="Bob Ward" userId="6da7c2dd-8e2e-469f-a216-c384312e2a2d" providerId="ADAL" clId="{CC07BEAC-85A7-44E0-BC28-578FC3DF3703}" dt="2019-02-21T15:05:47.171" v="16578" actId="2696"/>
        <pc:sldMkLst>
          <pc:docMk/>
          <pc:sldMk cId="316009005" sldId="4721"/>
        </pc:sldMkLst>
      </pc:sldChg>
      <pc:sldChg chg="addSp delSp modSp add">
        <pc:chgData name="Bob Ward" userId="6da7c2dd-8e2e-469f-a216-c384312e2a2d" providerId="ADAL" clId="{CC07BEAC-85A7-44E0-BC28-578FC3DF3703}" dt="2019-02-23T18:28:06.052" v="17823" actId="1076"/>
        <pc:sldMkLst>
          <pc:docMk/>
          <pc:sldMk cId="620814848" sldId="4721"/>
        </pc:sldMkLst>
        <pc:spChg chg="mod">
          <ac:chgData name="Bob Ward" userId="6da7c2dd-8e2e-469f-a216-c384312e2a2d" providerId="ADAL" clId="{CC07BEAC-85A7-44E0-BC28-578FC3DF3703}" dt="2019-02-23T18:22:05.197" v="17703" actId="20577"/>
          <ac:spMkLst>
            <pc:docMk/>
            <pc:sldMk cId="620814848" sldId="4721"/>
            <ac:spMk id="2" creationId="{0AABCCEA-9662-4E41-B878-3AD78365FB68}"/>
          </ac:spMkLst>
        </pc:spChg>
        <pc:spChg chg="del">
          <ac:chgData name="Bob Ward" userId="6da7c2dd-8e2e-469f-a216-c384312e2a2d" providerId="ADAL" clId="{CC07BEAC-85A7-44E0-BC28-578FC3DF3703}" dt="2019-02-23T18:22:08.072" v="17704" actId="478"/>
          <ac:spMkLst>
            <pc:docMk/>
            <pc:sldMk cId="620814848" sldId="4721"/>
            <ac:spMk id="3" creationId="{A98184CF-A18B-4C96-8B0A-22CA0948DBE3}"/>
          </ac:spMkLst>
        </pc:spChg>
        <pc:spChg chg="add del mod">
          <ac:chgData name="Bob Ward" userId="6da7c2dd-8e2e-469f-a216-c384312e2a2d" providerId="ADAL" clId="{CC07BEAC-85A7-44E0-BC28-578FC3DF3703}" dt="2019-02-23T18:22:59.819" v="17715"/>
          <ac:spMkLst>
            <pc:docMk/>
            <pc:sldMk cId="620814848" sldId="4721"/>
            <ac:spMk id="4" creationId="{77DA394A-572D-4F9D-A34C-A2E81319E571}"/>
          </ac:spMkLst>
        </pc:spChg>
        <pc:spChg chg="add mod">
          <ac:chgData name="Bob Ward" userId="6da7c2dd-8e2e-469f-a216-c384312e2a2d" providerId="ADAL" clId="{CC07BEAC-85A7-44E0-BC28-578FC3DF3703}" dt="2019-02-23T18:27:30.989" v="17775" actId="1076"/>
          <ac:spMkLst>
            <pc:docMk/>
            <pc:sldMk cId="620814848" sldId="4721"/>
            <ac:spMk id="6" creationId="{84794F1F-18FA-41A0-B617-98A6E6FE176C}"/>
          </ac:spMkLst>
        </pc:spChg>
        <pc:spChg chg="add mod">
          <ac:chgData name="Bob Ward" userId="6da7c2dd-8e2e-469f-a216-c384312e2a2d" providerId="ADAL" clId="{CC07BEAC-85A7-44E0-BC28-578FC3DF3703}" dt="2019-02-23T18:27:59.368" v="17822" actId="20577"/>
          <ac:spMkLst>
            <pc:docMk/>
            <pc:sldMk cId="620814848" sldId="4721"/>
            <ac:spMk id="7" creationId="{C0513B01-0AB7-4EE2-B758-1F8DC5B747D1}"/>
          </ac:spMkLst>
        </pc:spChg>
        <pc:picChg chg="add mod">
          <ac:chgData name="Bob Ward" userId="6da7c2dd-8e2e-469f-a216-c384312e2a2d" providerId="ADAL" clId="{CC07BEAC-85A7-44E0-BC28-578FC3DF3703}" dt="2019-02-23T18:28:06.052" v="17823" actId="1076"/>
          <ac:picMkLst>
            <pc:docMk/>
            <pc:sldMk cId="620814848" sldId="4721"/>
            <ac:picMk id="5" creationId="{850F3035-6166-45BF-8FDF-BA7C84D4CD6A}"/>
          </ac:picMkLst>
        </pc:picChg>
      </pc:sldChg>
      <pc:sldChg chg="add del">
        <pc:chgData name="Bob Ward" userId="6da7c2dd-8e2e-469f-a216-c384312e2a2d" providerId="ADAL" clId="{CC07BEAC-85A7-44E0-BC28-578FC3DF3703}" dt="2019-02-21T01:44:18.783" v="12113" actId="2696"/>
        <pc:sldMkLst>
          <pc:docMk/>
          <pc:sldMk cId="1319777615" sldId="4721"/>
        </pc:sldMkLst>
      </pc:sldChg>
      <pc:sldChg chg="add del">
        <pc:chgData name="Bob Ward" userId="6da7c2dd-8e2e-469f-a216-c384312e2a2d" providerId="ADAL" clId="{CC07BEAC-85A7-44E0-BC28-578FC3DF3703}" dt="2019-02-21T03:25:32.284" v="14081" actId="2696"/>
        <pc:sldMkLst>
          <pc:docMk/>
          <pc:sldMk cId="1368397816" sldId="4721"/>
        </pc:sldMkLst>
      </pc:sldChg>
      <pc:sldChg chg="add">
        <pc:chgData name="Bob Ward" userId="6da7c2dd-8e2e-469f-a216-c384312e2a2d" providerId="ADAL" clId="{CC07BEAC-85A7-44E0-BC28-578FC3DF3703}" dt="2019-02-24T15:51:17.321" v="18641"/>
        <pc:sldMkLst>
          <pc:docMk/>
          <pc:sldMk cId="1600639778" sldId="4722"/>
        </pc:sldMkLst>
      </pc:sldChg>
      <pc:sldChg chg="modSp add ord">
        <pc:chgData name="Bob Ward" userId="6da7c2dd-8e2e-469f-a216-c384312e2a2d" providerId="ADAL" clId="{CC07BEAC-85A7-44E0-BC28-578FC3DF3703}" dt="2019-02-24T15:57:13.634" v="18701"/>
        <pc:sldMkLst>
          <pc:docMk/>
          <pc:sldMk cId="540024495" sldId="4723"/>
        </pc:sldMkLst>
        <pc:spChg chg="mod">
          <ac:chgData name="Bob Ward" userId="6da7c2dd-8e2e-469f-a216-c384312e2a2d" providerId="ADAL" clId="{CC07BEAC-85A7-44E0-BC28-578FC3DF3703}" dt="2019-02-24T15:57:10.500" v="18700" actId="6549"/>
          <ac:spMkLst>
            <pc:docMk/>
            <pc:sldMk cId="540024495" sldId="4723"/>
            <ac:spMk id="4" creationId="{00000000-0000-0000-0000-000000000000}"/>
          </ac:spMkLst>
        </pc:spChg>
      </pc:sldChg>
      <pc:sldChg chg="modSp add ord">
        <pc:chgData name="Bob Ward" userId="6da7c2dd-8e2e-469f-a216-c384312e2a2d" providerId="ADAL" clId="{CC07BEAC-85A7-44E0-BC28-578FC3DF3703}" dt="2019-02-24T15:57:02.051" v="18699" actId="20577"/>
        <pc:sldMkLst>
          <pc:docMk/>
          <pc:sldMk cId="42702565" sldId="4724"/>
        </pc:sldMkLst>
        <pc:spChg chg="mod">
          <ac:chgData name="Bob Ward" userId="6da7c2dd-8e2e-469f-a216-c384312e2a2d" providerId="ADAL" clId="{CC07BEAC-85A7-44E0-BC28-578FC3DF3703}" dt="2019-02-24T15:57:02.051" v="18699" actId="20577"/>
          <ac:spMkLst>
            <pc:docMk/>
            <pc:sldMk cId="42702565" sldId="4724"/>
            <ac:spMk id="4" creationId="{00000000-0000-0000-0000-000000000000}"/>
          </ac:spMkLst>
        </pc:spChg>
      </pc:sldChg>
      <pc:sldMasterChg chg="delSldLayout">
        <pc:chgData name="Bob Ward" userId="6da7c2dd-8e2e-469f-a216-c384312e2a2d" providerId="ADAL" clId="{CC07BEAC-85A7-44E0-BC28-578FC3DF3703}" dt="2019-02-13T21:41:53.284" v="3756" actId="2696"/>
        <pc:sldMasterMkLst>
          <pc:docMk/>
          <pc:sldMasterMk cId="4137626204" sldId="2147484671"/>
        </pc:sldMasterMkLst>
        <pc:sldLayoutChg chg="del">
          <pc:chgData name="Bob Ward" userId="6da7c2dd-8e2e-469f-a216-c384312e2a2d" providerId="ADAL" clId="{CC07BEAC-85A7-44E0-BC28-578FC3DF3703}" dt="2019-02-13T21:41:53.284" v="3756" actId="2696"/>
          <pc:sldLayoutMkLst>
            <pc:docMk/>
            <pc:sldMasterMk cId="4137626204" sldId="2147484671"/>
            <pc:sldLayoutMk cId="2203773150" sldId="2147484765"/>
          </pc:sldLayoutMkLst>
        </pc:sldLayoutChg>
      </pc:sldMasterChg>
      <pc:sldMasterChg chg="delSldLayout">
        <pc:chgData name="Bob Ward" userId="6da7c2dd-8e2e-469f-a216-c384312e2a2d" providerId="ADAL" clId="{CC07BEAC-85A7-44E0-BC28-578FC3DF3703}" dt="2019-02-21T03:29:54.017" v="14290" actId="2696"/>
        <pc:sldMasterMkLst>
          <pc:docMk/>
          <pc:sldMasterMk cId="2545764285" sldId="2147484768"/>
        </pc:sldMasterMkLst>
        <pc:sldLayoutChg chg="del">
          <pc:chgData name="Bob Ward" userId="6da7c2dd-8e2e-469f-a216-c384312e2a2d" providerId="ADAL" clId="{CC07BEAC-85A7-44E0-BC28-578FC3DF3703}" dt="2019-02-21T03:29:54.017" v="14290" actId="2696"/>
          <pc:sldLayoutMkLst>
            <pc:docMk/>
            <pc:sldMasterMk cId="2545764285" sldId="2147484768"/>
            <pc:sldLayoutMk cId="1540442828" sldId="2147484793"/>
          </pc:sldLayoutMkLst>
        </pc:sldLayoutChg>
      </pc:sldMasterChg>
      <pc:sldMasterChg chg="delSldLayout">
        <pc:chgData name="Bob Ward" userId="6da7c2dd-8e2e-469f-a216-c384312e2a2d" providerId="ADAL" clId="{CC07BEAC-85A7-44E0-BC28-578FC3DF3703}" dt="2019-02-21T03:29:04.031" v="14287" actId="2696"/>
        <pc:sldMasterMkLst>
          <pc:docMk/>
          <pc:sldMasterMk cId="1920659585" sldId="2147484795"/>
        </pc:sldMasterMkLst>
        <pc:sldLayoutChg chg="del">
          <pc:chgData name="Bob Ward" userId="6da7c2dd-8e2e-469f-a216-c384312e2a2d" providerId="ADAL" clId="{CC07BEAC-85A7-44E0-BC28-578FC3DF3703}" dt="2019-02-21T03:29:04.031" v="14287" actId="2696"/>
          <pc:sldLayoutMkLst>
            <pc:docMk/>
            <pc:sldMasterMk cId="1920659585" sldId="2147484795"/>
            <pc:sldLayoutMk cId="1854613710" sldId="2147484818"/>
          </pc:sldLayoutMkLst>
        </pc:sldLayoutChg>
      </pc:sldMasterChg>
    </pc:docChg>
  </pc:docChgLst>
  <pc:docChgLst>
    <pc:chgData name="Bob Ward" userId="6da7c2dd-8e2e-469f-a216-c384312e2a2d" providerId="ADAL" clId="{468C33B5-D856-4B27-812E-489ED88384DA}"/>
    <pc:docChg chg="modSld">
      <pc:chgData name="Bob Ward" userId="6da7c2dd-8e2e-469f-a216-c384312e2a2d" providerId="ADAL" clId="{468C33B5-D856-4B27-812E-489ED88384DA}" dt="2019-01-13T19:24:37.744" v="0"/>
      <pc:docMkLst>
        <pc:docMk/>
      </pc:docMkLst>
      <pc:sldChg chg="modTransition">
        <pc:chgData name="Bob Ward" userId="6da7c2dd-8e2e-469f-a216-c384312e2a2d" providerId="ADAL" clId="{468C33B5-D856-4B27-812E-489ED88384DA}" dt="2019-01-13T19:24:37.744" v="0"/>
        <pc:sldMkLst>
          <pc:docMk/>
          <pc:sldMk cId="445609033" sldId="4351"/>
        </pc:sldMkLst>
      </pc:sldChg>
    </pc:docChg>
  </pc:docChgLst>
  <pc:docChgLst>
    <pc:chgData name="Bob Ward" userId="6da7c2dd-8e2e-469f-a216-c384312e2a2d" providerId="ADAL" clId="{76AB8CCA-EAB9-49A3-861E-0C0C76457356}"/>
    <pc:docChg chg="undo custSel addSld delSld modSld modSection">
      <pc:chgData name="Bob Ward" userId="6da7c2dd-8e2e-469f-a216-c384312e2a2d" providerId="ADAL" clId="{76AB8CCA-EAB9-49A3-861E-0C0C76457356}" dt="2018-11-05T23:06:47.163" v="1183" actId="5793"/>
      <pc:docMkLst>
        <pc:docMk/>
      </pc:docMkLst>
      <pc:sldChg chg="add del">
        <pc:chgData name="Bob Ward" userId="6da7c2dd-8e2e-469f-a216-c384312e2a2d" providerId="ADAL" clId="{76AB8CCA-EAB9-49A3-861E-0C0C76457356}" dt="2018-10-28T15:08:23.482" v="127"/>
        <pc:sldMkLst>
          <pc:docMk/>
          <pc:sldMk cId="1167667248" sldId="315"/>
        </pc:sldMkLst>
      </pc:sldChg>
      <pc:sldChg chg="modSp add del">
        <pc:chgData name="Bob Ward" userId="6da7c2dd-8e2e-469f-a216-c384312e2a2d" providerId="ADAL" clId="{76AB8CCA-EAB9-49A3-861E-0C0C76457356}" dt="2018-10-28T15:21:20.217" v="408" actId="14100"/>
        <pc:sldMkLst>
          <pc:docMk/>
          <pc:sldMk cId="1690938764" sldId="321"/>
        </pc:sldMkLst>
        <pc:spChg chg="mod">
          <ac:chgData name="Bob Ward" userId="6da7c2dd-8e2e-469f-a216-c384312e2a2d" providerId="ADAL" clId="{76AB8CCA-EAB9-49A3-861E-0C0C76457356}" dt="2018-10-28T15:07:45.179" v="74" actId="20577"/>
          <ac:spMkLst>
            <pc:docMk/>
            <pc:sldMk cId="1690938764" sldId="321"/>
            <ac:spMk id="2" creationId="{00000000-0000-0000-0000-000000000000}"/>
          </ac:spMkLst>
        </pc:spChg>
        <pc:spChg chg="mod">
          <ac:chgData name="Bob Ward" userId="6da7c2dd-8e2e-469f-a216-c384312e2a2d" providerId="ADAL" clId="{76AB8CCA-EAB9-49A3-861E-0C0C76457356}" dt="2018-10-28T15:21:20.217" v="408" actId="14100"/>
          <ac:spMkLst>
            <pc:docMk/>
            <pc:sldMk cId="1690938764" sldId="321"/>
            <ac:spMk id="3" creationId="{00000000-0000-0000-0000-000000000000}"/>
          </ac:spMkLst>
        </pc:spChg>
        <pc:spChg chg="mod">
          <ac:chgData name="Bob Ward" userId="6da7c2dd-8e2e-469f-a216-c384312e2a2d" providerId="ADAL" clId="{76AB8CCA-EAB9-49A3-861E-0C0C76457356}" dt="2018-10-28T15:07:31.069" v="34" actId="20577"/>
          <ac:spMkLst>
            <pc:docMk/>
            <pc:sldMk cId="1690938764" sldId="321"/>
            <ac:spMk id="4" creationId="{00000000-0000-0000-0000-000000000000}"/>
          </ac:spMkLst>
        </pc:spChg>
      </pc:sldChg>
      <pc:sldChg chg="modSp add">
        <pc:chgData name="Bob Ward" userId="6da7c2dd-8e2e-469f-a216-c384312e2a2d" providerId="ADAL" clId="{76AB8CCA-EAB9-49A3-861E-0C0C76457356}" dt="2018-10-28T15:09:00.655" v="202" actId="20577"/>
        <pc:sldMkLst>
          <pc:docMk/>
          <pc:sldMk cId="3666506997" sldId="324"/>
        </pc:sldMkLst>
        <pc:spChg chg="mod">
          <ac:chgData name="Bob Ward" userId="6da7c2dd-8e2e-469f-a216-c384312e2a2d" providerId="ADAL" clId="{76AB8CCA-EAB9-49A3-861E-0C0C76457356}" dt="2018-10-28T15:09:00.655" v="202" actId="20577"/>
          <ac:spMkLst>
            <pc:docMk/>
            <pc:sldMk cId="3666506997" sldId="324"/>
            <ac:spMk id="13" creationId="{00000000-0000-0000-0000-000000000000}"/>
          </ac:spMkLst>
        </pc:spChg>
        <pc:spChg chg="mod">
          <ac:chgData name="Bob Ward" userId="6da7c2dd-8e2e-469f-a216-c384312e2a2d" providerId="ADAL" clId="{76AB8CCA-EAB9-49A3-861E-0C0C76457356}" dt="2018-10-28T15:08:43.873" v="147" actId="20577"/>
          <ac:spMkLst>
            <pc:docMk/>
            <pc:sldMk cId="3666506997" sldId="324"/>
            <ac:spMk id="14" creationId="{00000000-0000-0000-0000-000000000000}"/>
          </ac:spMkLst>
        </pc:spChg>
        <pc:spChg chg="mod">
          <ac:chgData name="Bob Ward" userId="6da7c2dd-8e2e-469f-a216-c384312e2a2d" providerId="ADAL" clId="{76AB8CCA-EAB9-49A3-861E-0C0C76457356}" dt="2018-10-28T15:08:56.806" v="194" actId="20577"/>
          <ac:spMkLst>
            <pc:docMk/>
            <pc:sldMk cId="3666506997" sldId="324"/>
            <ac:spMk id="15" creationId="{00000000-0000-0000-0000-000000000000}"/>
          </ac:spMkLst>
        </pc:spChg>
      </pc:sldChg>
      <pc:sldChg chg="modTransition">
        <pc:chgData name="Bob Ward" userId="6da7c2dd-8e2e-469f-a216-c384312e2a2d" providerId="ADAL" clId="{76AB8CCA-EAB9-49A3-861E-0C0C76457356}" dt="2018-10-29T17:01:00.113" v="505"/>
        <pc:sldMkLst>
          <pc:docMk/>
          <pc:sldMk cId="1869999325" sldId="1861"/>
        </pc:sldMkLst>
      </pc:sldChg>
      <pc:sldChg chg="del">
        <pc:chgData name="Bob Ward" userId="6da7c2dd-8e2e-469f-a216-c384312e2a2d" providerId="ADAL" clId="{76AB8CCA-EAB9-49A3-861E-0C0C76457356}" dt="2018-10-28T16:21:34.826" v="409" actId="2696"/>
        <pc:sldMkLst>
          <pc:docMk/>
          <pc:sldMk cId="462358628" sldId="4350"/>
        </pc:sldMkLst>
      </pc:sldChg>
      <pc:sldChg chg="addSp modSp modNotesTx">
        <pc:chgData name="Bob Ward" userId="6da7c2dd-8e2e-469f-a216-c384312e2a2d" providerId="ADAL" clId="{76AB8CCA-EAB9-49A3-861E-0C0C76457356}" dt="2018-10-29T17:02:01.458" v="528"/>
        <pc:sldMkLst>
          <pc:docMk/>
          <pc:sldMk cId="445609033" sldId="4351"/>
        </pc:sldMkLst>
        <pc:spChg chg="mod">
          <ac:chgData name="Bob Ward" userId="6da7c2dd-8e2e-469f-a216-c384312e2a2d" providerId="ADAL" clId="{76AB8CCA-EAB9-49A3-861E-0C0C76457356}" dt="2018-10-29T17:01:59.789" v="527"/>
          <ac:spMkLst>
            <pc:docMk/>
            <pc:sldMk cId="445609033" sldId="4351"/>
            <ac:spMk id="3" creationId="{00000000-0000-0000-0000-000000000000}"/>
          </ac:spMkLst>
        </pc:spChg>
        <pc:spChg chg="add mod">
          <ac:chgData name="Bob Ward" userId="6da7c2dd-8e2e-469f-a216-c384312e2a2d" providerId="ADAL" clId="{76AB8CCA-EAB9-49A3-861E-0C0C76457356}" dt="2018-10-29T17:02:01.458" v="528"/>
          <ac:spMkLst>
            <pc:docMk/>
            <pc:sldMk cId="445609033" sldId="4351"/>
            <ac:spMk id="4" creationId="{19845D98-2CE9-45E6-9AA5-7DA5B4AF1C6D}"/>
          </ac:spMkLst>
        </pc:spChg>
      </pc:sldChg>
      <pc:sldChg chg="addSp delSp modSp">
        <pc:chgData name="Bob Ward" userId="6da7c2dd-8e2e-469f-a216-c384312e2a2d" providerId="ADAL" clId="{76AB8CCA-EAB9-49A3-861E-0C0C76457356}" dt="2018-10-30T20:34:53.390" v="784" actId="20577"/>
        <pc:sldMkLst>
          <pc:docMk/>
          <pc:sldMk cId="2973122093" sldId="4352"/>
        </pc:sldMkLst>
        <pc:spChg chg="mod">
          <ac:chgData name="Bob Ward" userId="6da7c2dd-8e2e-469f-a216-c384312e2a2d" providerId="ADAL" clId="{76AB8CCA-EAB9-49A3-861E-0C0C76457356}" dt="2018-10-30T20:34:53.390" v="784" actId="20577"/>
          <ac:spMkLst>
            <pc:docMk/>
            <pc:sldMk cId="2973122093" sldId="4352"/>
            <ac:spMk id="6" creationId="{00000000-0000-0000-0000-000000000000}"/>
          </ac:spMkLst>
        </pc:spChg>
        <pc:spChg chg="mod">
          <ac:chgData name="Bob Ward" userId="6da7c2dd-8e2e-469f-a216-c384312e2a2d" providerId="ADAL" clId="{76AB8CCA-EAB9-49A3-861E-0C0C76457356}" dt="2018-10-28T15:17:15.326" v="311" actId="1076"/>
          <ac:spMkLst>
            <pc:docMk/>
            <pc:sldMk cId="2973122093" sldId="4352"/>
            <ac:spMk id="21" creationId="{B2924516-36AF-4D67-89E8-D65C74AD5A19}"/>
          </ac:spMkLst>
        </pc:spChg>
        <pc:spChg chg="mod">
          <ac:chgData name="Bob Ward" userId="6da7c2dd-8e2e-469f-a216-c384312e2a2d" providerId="ADAL" clId="{76AB8CCA-EAB9-49A3-861E-0C0C76457356}" dt="2018-10-28T15:17:15.326" v="311" actId="1076"/>
          <ac:spMkLst>
            <pc:docMk/>
            <pc:sldMk cId="2973122093" sldId="4352"/>
            <ac:spMk id="24" creationId="{CF405002-1DCF-4B08-BF19-9ED07F9282C2}"/>
          </ac:spMkLst>
        </pc:spChg>
        <pc:spChg chg="mod">
          <ac:chgData name="Bob Ward" userId="6da7c2dd-8e2e-469f-a216-c384312e2a2d" providerId="ADAL" clId="{76AB8CCA-EAB9-49A3-861E-0C0C76457356}" dt="2018-10-28T15:17:15.326" v="311" actId="1076"/>
          <ac:spMkLst>
            <pc:docMk/>
            <pc:sldMk cId="2973122093" sldId="4352"/>
            <ac:spMk id="27" creationId="{0DEFA020-3E80-4522-AE30-FD3D03CB296E}"/>
          </ac:spMkLst>
        </pc:spChg>
        <pc:spChg chg="mod">
          <ac:chgData name="Bob Ward" userId="6da7c2dd-8e2e-469f-a216-c384312e2a2d" providerId="ADAL" clId="{76AB8CCA-EAB9-49A3-861E-0C0C76457356}" dt="2018-10-28T15:17:15.326" v="311" actId="1076"/>
          <ac:spMkLst>
            <pc:docMk/>
            <pc:sldMk cId="2973122093" sldId="4352"/>
            <ac:spMk id="30" creationId="{A62500B7-E168-482D-965A-A56B08B0D1A6}"/>
          </ac:spMkLst>
        </pc:spChg>
        <pc:spChg chg="mod">
          <ac:chgData name="Bob Ward" userId="6da7c2dd-8e2e-469f-a216-c384312e2a2d" providerId="ADAL" clId="{76AB8CCA-EAB9-49A3-861E-0C0C76457356}" dt="2018-10-28T15:19:42.520" v="387" actId="14100"/>
          <ac:spMkLst>
            <pc:docMk/>
            <pc:sldMk cId="2973122093" sldId="4352"/>
            <ac:spMk id="31" creationId="{50718FE6-848F-4911-835B-B785770CDD03}"/>
          </ac:spMkLst>
        </pc:spChg>
        <pc:spChg chg="add mod">
          <ac:chgData name="Bob Ward" userId="6da7c2dd-8e2e-469f-a216-c384312e2a2d" providerId="ADAL" clId="{76AB8CCA-EAB9-49A3-861E-0C0C76457356}" dt="2018-10-28T15:20:09.206" v="389" actId="20577"/>
          <ac:spMkLst>
            <pc:docMk/>
            <pc:sldMk cId="2973122093" sldId="4352"/>
            <ac:spMk id="32" creationId="{50361F8B-B78F-4DE0-90BF-7461F4B6E140}"/>
          </ac:spMkLst>
        </pc:spChg>
        <pc:spChg chg="mod">
          <ac:chgData name="Bob Ward" userId="6da7c2dd-8e2e-469f-a216-c384312e2a2d" providerId="ADAL" clId="{76AB8CCA-EAB9-49A3-861E-0C0C76457356}" dt="2018-10-28T15:17:15.326" v="311" actId="1076"/>
          <ac:spMkLst>
            <pc:docMk/>
            <pc:sldMk cId="2973122093" sldId="4352"/>
            <ac:spMk id="33" creationId="{DCE6503C-9448-4D60-9FF6-CA43233BF57C}"/>
          </ac:spMkLst>
        </pc:spChg>
        <pc:spChg chg="mod">
          <ac:chgData name="Bob Ward" userId="6da7c2dd-8e2e-469f-a216-c384312e2a2d" providerId="ADAL" clId="{76AB8CCA-EAB9-49A3-861E-0C0C76457356}" dt="2018-10-28T15:17:15.326" v="311" actId="1076"/>
          <ac:spMkLst>
            <pc:docMk/>
            <pc:sldMk cId="2973122093" sldId="4352"/>
            <ac:spMk id="36" creationId="{08F77E2F-AC0C-4639-987E-A64E0DE48B74}"/>
          </ac:spMkLst>
        </pc:spChg>
        <pc:spChg chg="mod">
          <ac:chgData name="Bob Ward" userId="6da7c2dd-8e2e-469f-a216-c384312e2a2d" providerId="ADAL" clId="{76AB8CCA-EAB9-49A3-861E-0C0C76457356}" dt="2018-10-28T15:17:15.326" v="311" actId="1076"/>
          <ac:spMkLst>
            <pc:docMk/>
            <pc:sldMk cId="2973122093" sldId="4352"/>
            <ac:spMk id="39" creationId="{660B5F05-B46B-4644-8723-4D7FBECAE158}"/>
          </ac:spMkLst>
        </pc:spChg>
        <pc:spChg chg="mod">
          <ac:chgData name="Bob Ward" userId="6da7c2dd-8e2e-469f-a216-c384312e2a2d" providerId="ADAL" clId="{76AB8CCA-EAB9-49A3-861E-0C0C76457356}" dt="2018-10-28T15:17:15.326" v="311" actId="1076"/>
          <ac:spMkLst>
            <pc:docMk/>
            <pc:sldMk cId="2973122093" sldId="4352"/>
            <ac:spMk id="42" creationId="{7B07E8EC-AD02-4FBC-B1E7-047330C39846}"/>
          </ac:spMkLst>
        </pc:spChg>
        <pc:spChg chg="mod">
          <ac:chgData name="Bob Ward" userId="6da7c2dd-8e2e-469f-a216-c384312e2a2d" providerId="ADAL" clId="{76AB8CCA-EAB9-49A3-861E-0C0C76457356}" dt="2018-10-28T15:17:15.326" v="311" actId="1076"/>
          <ac:spMkLst>
            <pc:docMk/>
            <pc:sldMk cId="2973122093" sldId="4352"/>
            <ac:spMk id="45" creationId="{6308A7D0-E484-48B1-83F6-9272A70ECC3F}"/>
          </ac:spMkLst>
        </pc:spChg>
        <pc:spChg chg="mod">
          <ac:chgData name="Bob Ward" userId="6da7c2dd-8e2e-469f-a216-c384312e2a2d" providerId="ADAL" clId="{76AB8CCA-EAB9-49A3-861E-0C0C76457356}" dt="2018-10-28T15:17:15.326" v="311" actId="1076"/>
          <ac:spMkLst>
            <pc:docMk/>
            <pc:sldMk cId="2973122093" sldId="4352"/>
            <ac:spMk id="48" creationId="{2D041344-93F7-4AD8-9BD2-9C5D369628ED}"/>
          </ac:spMkLst>
        </pc:spChg>
        <pc:spChg chg="mod">
          <ac:chgData name="Bob Ward" userId="6da7c2dd-8e2e-469f-a216-c384312e2a2d" providerId="ADAL" clId="{76AB8CCA-EAB9-49A3-861E-0C0C76457356}" dt="2018-10-28T15:17:15.326" v="311" actId="1076"/>
          <ac:spMkLst>
            <pc:docMk/>
            <pc:sldMk cId="2973122093" sldId="4352"/>
            <ac:spMk id="51" creationId="{B5DAC383-926C-4986-8EEB-3E51E3E4E792}"/>
          </ac:spMkLst>
        </pc:spChg>
        <pc:spChg chg="mod">
          <ac:chgData name="Bob Ward" userId="6da7c2dd-8e2e-469f-a216-c384312e2a2d" providerId="ADAL" clId="{76AB8CCA-EAB9-49A3-861E-0C0C76457356}" dt="2018-10-28T15:17:15.326" v="311" actId="1076"/>
          <ac:spMkLst>
            <pc:docMk/>
            <pc:sldMk cId="2973122093" sldId="4352"/>
            <ac:spMk id="53" creationId="{547D5832-084B-49A9-9A36-D0E5754921CF}"/>
          </ac:spMkLst>
        </pc:spChg>
        <pc:cxnChg chg="add mod">
          <ac:chgData name="Bob Ward" userId="6da7c2dd-8e2e-469f-a216-c384312e2a2d" providerId="ADAL" clId="{76AB8CCA-EAB9-49A3-861E-0C0C76457356}" dt="2018-10-28T15:19:10.894" v="383" actId="208"/>
          <ac:cxnSpMkLst>
            <pc:docMk/>
            <pc:sldMk cId="2973122093" sldId="4352"/>
            <ac:cxnSpMk id="4" creationId="{2183FEFE-F22C-472D-80C1-1AEE744B1065}"/>
          </ac:cxnSpMkLst>
        </pc:cxnChg>
        <pc:cxnChg chg="add del mod">
          <ac:chgData name="Bob Ward" userId="6da7c2dd-8e2e-469f-a216-c384312e2a2d" providerId="ADAL" clId="{76AB8CCA-EAB9-49A3-861E-0C0C76457356}" dt="2018-10-28T15:18:27.066" v="377"/>
          <ac:cxnSpMkLst>
            <pc:docMk/>
            <pc:sldMk cId="2973122093" sldId="4352"/>
            <ac:cxnSpMk id="34" creationId="{4BB7219C-8886-4373-BEFB-F1C0A0DFB7AE}"/>
          </ac:cxnSpMkLst>
        </pc:cxnChg>
        <pc:cxnChg chg="add mod">
          <ac:chgData name="Bob Ward" userId="6da7c2dd-8e2e-469f-a216-c384312e2a2d" providerId="ADAL" clId="{76AB8CCA-EAB9-49A3-861E-0C0C76457356}" dt="2018-10-28T15:19:10.894" v="383" actId="208"/>
          <ac:cxnSpMkLst>
            <pc:docMk/>
            <pc:sldMk cId="2973122093" sldId="4352"/>
            <ac:cxnSpMk id="35" creationId="{EC801D23-66A1-4E18-86CD-F07295970240}"/>
          </ac:cxnSpMkLst>
        </pc:cxnChg>
        <pc:cxnChg chg="mod">
          <ac:chgData name="Bob Ward" userId="6da7c2dd-8e2e-469f-a216-c384312e2a2d" providerId="ADAL" clId="{76AB8CCA-EAB9-49A3-861E-0C0C76457356}" dt="2018-10-28T15:17:15.326" v="311" actId="1076"/>
          <ac:cxnSpMkLst>
            <pc:docMk/>
            <pc:sldMk cId="2973122093" sldId="4352"/>
            <ac:cxnSpMk id="57" creationId="{5B0C2673-2380-4B3B-9879-69DAA50C118C}"/>
          </ac:cxnSpMkLst>
        </pc:cxnChg>
        <pc:cxnChg chg="mod">
          <ac:chgData name="Bob Ward" userId="6da7c2dd-8e2e-469f-a216-c384312e2a2d" providerId="ADAL" clId="{76AB8CCA-EAB9-49A3-861E-0C0C76457356}" dt="2018-10-28T15:17:15.326" v="311" actId="1076"/>
          <ac:cxnSpMkLst>
            <pc:docMk/>
            <pc:sldMk cId="2973122093" sldId="4352"/>
            <ac:cxnSpMk id="58" creationId="{98970BEF-679B-4F61-AD70-315ED8E60EB4}"/>
          </ac:cxnSpMkLst>
        </pc:cxnChg>
        <pc:cxnChg chg="mod">
          <ac:chgData name="Bob Ward" userId="6da7c2dd-8e2e-469f-a216-c384312e2a2d" providerId="ADAL" clId="{76AB8CCA-EAB9-49A3-861E-0C0C76457356}" dt="2018-10-28T15:17:15.326" v="311" actId="1076"/>
          <ac:cxnSpMkLst>
            <pc:docMk/>
            <pc:sldMk cId="2973122093" sldId="4352"/>
            <ac:cxnSpMk id="61" creationId="{24560B9B-846E-4D84-9C9A-54136C892A5A}"/>
          </ac:cxnSpMkLst>
        </pc:cxnChg>
        <pc:cxnChg chg="mod">
          <ac:chgData name="Bob Ward" userId="6da7c2dd-8e2e-469f-a216-c384312e2a2d" providerId="ADAL" clId="{76AB8CCA-EAB9-49A3-861E-0C0C76457356}" dt="2018-10-28T15:17:15.326" v="311" actId="1076"/>
          <ac:cxnSpMkLst>
            <pc:docMk/>
            <pc:sldMk cId="2973122093" sldId="4352"/>
            <ac:cxnSpMk id="63" creationId="{C111EF12-8983-43F1-97A7-79C47A6589FB}"/>
          </ac:cxnSpMkLst>
        </pc:cxnChg>
        <pc:cxnChg chg="mod">
          <ac:chgData name="Bob Ward" userId="6da7c2dd-8e2e-469f-a216-c384312e2a2d" providerId="ADAL" clId="{76AB8CCA-EAB9-49A3-861E-0C0C76457356}" dt="2018-10-28T15:17:15.326" v="311" actId="1076"/>
          <ac:cxnSpMkLst>
            <pc:docMk/>
            <pc:sldMk cId="2973122093" sldId="4352"/>
            <ac:cxnSpMk id="66" creationId="{B1D4C4D9-089C-4744-86D3-BD7151920201}"/>
          </ac:cxnSpMkLst>
        </pc:cxnChg>
        <pc:cxnChg chg="mod">
          <ac:chgData name="Bob Ward" userId="6da7c2dd-8e2e-469f-a216-c384312e2a2d" providerId="ADAL" clId="{76AB8CCA-EAB9-49A3-861E-0C0C76457356}" dt="2018-10-28T15:17:15.326" v="311" actId="1076"/>
          <ac:cxnSpMkLst>
            <pc:docMk/>
            <pc:sldMk cId="2973122093" sldId="4352"/>
            <ac:cxnSpMk id="68" creationId="{15EE9360-3715-4816-A827-99611212AF6D}"/>
          </ac:cxnSpMkLst>
        </pc:cxnChg>
        <pc:cxnChg chg="mod">
          <ac:chgData name="Bob Ward" userId="6da7c2dd-8e2e-469f-a216-c384312e2a2d" providerId="ADAL" clId="{76AB8CCA-EAB9-49A3-861E-0C0C76457356}" dt="2018-10-28T15:17:15.326" v="311" actId="1076"/>
          <ac:cxnSpMkLst>
            <pc:docMk/>
            <pc:sldMk cId="2973122093" sldId="4352"/>
            <ac:cxnSpMk id="69" creationId="{8CADFC45-721E-428C-8995-5189CD367FCA}"/>
          </ac:cxnSpMkLst>
        </pc:cxnChg>
        <pc:cxnChg chg="mod">
          <ac:chgData name="Bob Ward" userId="6da7c2dd-8e2e-469f-a216-c384312e2a2d" providerId="ADAL" clId="{76AB8CCA-EAB9-49A3-861E-0C0C76457356}" dt="2018-10-28T15:17:15.326" v="311" actId="1076"/>
          <ac:cxnSpMkLst>
            <pc:docMk/>
            <pc:sldMk cId="2973122093" sldId="4352"/>
            <ac:cxnSpMk id="73" creationId="{75FADEBA-E0F6-4B35-87EB-9AE7E17B8271}"/>
          </ac:cxnSpMkLst>
        </pc:cxnChg>
        <pc:cxnChg chg="mod">
          <ac:chgData name="Bob Ward" userId="6da7c2dd-8e2e-469f-a216-c384312e2a2d" providerId="ADAL" clId="{76AB8CCA-EAB9-49A3-861E-0C0C76457356}" dt="2018-10-28T15:17:15.326" v="311" actId="1076"/>
          <ac:cxnSpMkLst>
            <pc:docMk/>
            <pc:sldMk cId="2973122093" sldId="4352"/>
            <ac:cxnSpMk id="75" creationId="{53FE1575-912F-4577-8949-9A7483B24174}"/>
          </ac:cxnSpMkLst>
        </pc:cxnChg>
        <pc:cxnChg chg="mod">
          <ac:chgData name="Bob Ward" userId="6da7c2dd-8e2e-469f-a216-c384312e2a2d" providerId="ADAL" clId="{76AB8CCA-EAB9-49A3-861E-0C0C76457356}" dt="2018-10-28T15:17:15.326" v="311" actId="1076"/>
          <ac:cxnSpMkLst>
            <pc:docMk/>
            <pc:sldMk cId="2973122093" sldId="4352"/>
            <ac:cxnSpMk id="77" creationId="{4A0E597E-3386-4346-AAE8-DD704C74B2D3}"/>
          </ac:cxnSpMkLst>
        </pc:cxnChg>
        <pc:cxnChg chg="mod">
          <ac:chgData name="Bob Ward" userId="6da7c2dd-8e2e-469f-a216-c384312e2a2d" providerId="ADAL" clId="{76AB8CCA-EAB9-49A3-861E-0C0C76457356}" dt="2018-10-28T15:17:15.326" v="311" actId="1076"/>
          <ac:cxnSpMkLst>
            <pc:docMk/>
            <pc:sldMk cId="2973122093" sldId="4352"/>
            <ac:cxnSpMk id="79" creationId="{BBD9302B-24F0-4491-A026-3A438B1354EA}"/>
          </ac:cxnSpMkLst>
        </pc:cxnChg>
      </pc:sldChg>
      <pc:sldChg chg="modSp">
        <pc:chgData name="Bob Ward" userId="6da7c2dd-8e2e-469f-a216-c384312e2a2d" providerId="ADAL" clId="{76AB8CCA-EAB9-49A3-861E-0C0C76457356}" dt="2018-11-05T22:53:31.296" v="923" actId="6549"/>
        <pc:sldMkLst>
          <pc:docMk/>
          <pc:sldMk cId="1122910760" sldId="4353"/>
        </pc:sldMkLst>
        <pc:spChg chg="mod">
          <ac:chgData name="Bob Ward" userId="6da7c2dd-8e2e-469f-a216-c384312e2a2d" providerId="ADAL" clId="{76AB8CCA-EAB9-49A3-861E-0C0C76457356}" dt="2018-11-05T22:53:31.296" v="923" actId="6549"/>
          <ac:spMkLst>
            <pc:docMk/>
            <pc:sldMk cId="1122910760" sldId="4353"/>
            <ac:spMk id="6" creationId="{00000000-0000-0000-0000-000000000000}"/>
          </ac:spMkLst>
        </pc:spChg>
      </pc:sldChg>
      <pc:sldChg chg="del modTransition">
        <pc:chgData name="Bob Ward" userId="6da7c2dd-8e2e-469f-a216-c384312e2a2d" providerId="ADAL" clId="{76AB8CCA-EAB9-49A3-861E-0C0C76457356}" dt="2018-10-28T15:15:57.551" v="308" actId="2696"/>
        <pc:sldMkLst>
          <pc:docMk/>
          <pc:sldMk cId="1258176581" sldId="4356"/>
        </pc:sldMkLst>
      </pc:sldChg>
      <pc:sldChg chg="modNotesTx">
        <pc:chgData name="Bob Ward" userId="6da7c2dd-8e2e-469f-a216-c384312e2a2d" providerId="ADAL" clId="{76AB8CCA-EAB9-49A3-861E-0C0C76457356}" dt="2018-10-29T17:01:27.846" v="523" actId="20577"/>
        <pc:sldMkLst>
          <pc:docMk/>
          <pc:sldMk cId="3580746693" sldId="4357"/>
        </pc:sldMkLst>
      </pc:sldChg>
      <pc:sldChg chg="modSp">
        <pc:chgData name="Bob Ward" userId="6da7c2dd-8e2e-469f-a216-c384312e2a2d" providerId="ADAL" clId="{76AB8CCA-EAB9-49A3-861E-0C0C76457356}" dt="2018-10-29T17:02:46.055" v="534" actId="113"/>
        <pc:sldMkLst>
          <pc:docMk/>
          <pc:sldMk cId="3721142759" sldId="4359"/>
        </pc:sldMkLst>
        <pc:spChg chg="mod">
          <ac:chgData name="Bob Ward" userId="6da7c2dd-8e2e-469f-a216-c384312e2a2d" providerId="ADAL" clId="{76AB8CCA-EAB9-49A3-861E-0C0C76457356}" dt="2018-10-29T17:02:46.055" v="534" actId="113"/>
          <ac:spMkLst>
            <pc:docMk/>
            <pc:sldMk cId="3721142759" sldId="4359"/>
            <ac:spMk id="4" creationId="{044C4694-53A5-420E-9710-12BA2370BB34}"/>
          </ac:spMkLst>
        </pc:spChg>
      </pc:sldChg>
      <pc:sldChg chg="modNotesTx">
        <pc:chgData name="Bob Ward" userId="6da7c2dd-8e2e-469f-a216-c384312e2a2d" providerId="ADAL" clId="{76AB8CCA-EAB9-49A3-861E-0C0C76457356}" dt="2018-10-30T20:13:19.482" v="623" actId="20577"/>
        <pc:sldMkLst>
          <pc:docMk/>
          <pc:sldMk cId="3766069067" sldId="4360"/>
        </pc:sldMkLst>
      </pc:sldChg>
      <pc:sldChg chg="addSp delSp modSp modNotesTx">
        <pc:chgData name="Bob Ward" userId="6da7c2dd-8e2e-469f-a216-c384312e2a2d" providerId="ADAL" clId="{76AB8CCA-EAB9-49A3-861E-0C0C76457356}" dt="2018-11-05T23:06:47.163" v="1183" actId="5793"/>
        <pc:sldMkLst>
          <pc:docMk/>
          <pc:sldMk cId="276576014" sldId="4367"/>
        </pc:sldMkLst>
        <pc:spChg chg="add mod">
          <ac:chgData name="Bob Ward" userId="6da7c2dd-8e2e-469f-a216-c384312e2a2d" providerId="ADAL" clId="{76AB8CCA-EAB9-49A3-861E-0C0C76457356}" dt="2018-11-05T23:06:47.163" v="1183" actId="5793"/>
          <ac:spMkLst>
            <pc:docMk/>
            <pc:sldMk cId="276576014" sldId="4367"/>
            <ac:spMk id="5" creationId="{BCA91216-E90D-424E-84D6-905B2F6C5CA0}"/>
          </ac:spMkLst>
        </pc:spChg>
        <pc:spChg chg="mod">
          <ac:chgData name="Bob Ward" userId="6da7c2dd-8e2e-469f-a216-c384312e2a2d" providerId="ADAL" clId="{76AB8CCA-EAB9-49A3-861E-0C0C76457356}" dt="2018-11-05T23:02:50.873" v="1169" actId="20577"/>
          <ac:spMkLst>
            <pc:docMk/>
            <pc:sldMk cId="276576014" sldId="4367"/>
            <ac:spMk id="6" creationId="{849F8057-236A-4A49-9642-6F059030EA39}"/>
          </ac:spMkLst>
        </pc:spChg>
        <pc:spChg chg="mod">
          <ac:chgData name="Bob Ward" userId="6da7c2dd-8e2e-469f-a216-c384312e2a2d" providerId="ADAL" clId="{76AB8CCA-EAB9-49A3-861E-0C0C76457356}" dt="2018-10-28T16:25:14.025" v="501" actId="1076"/>
          <ac:spMkLst>
            <pc:docMk/>
            <pc:sldMk cId="276576014" sldId="4367"/>
            <ac:spMk id="7" creationId="{DB971EA3-9242-4CD2-860D-91D53C7F33FC}"/>
          </ac:spMkLst>
        </pc:spChg>
        <pc:spChg chg="mod">
          <ac:chgData name="Bob Ward" userId="6da7c2dd-8e2e-469f-a216-c384312e2a2d" providerId="ADAL" clId="{76AB8CCA-EAB9-49A3-861E-0C0C76457356}" dt="2018-10-28T16:25:31.281" v="504" actId="14100"/>
          <ac:spMkLst>
            <pc:docMk/>
            <pc:sldMk cId="276576014" sldId="4367"/>
            <ac:spMk id="9" creationId="{3141DD79-26B4-4ABA-8383-735F107CD87A}"/>
          </ac:spMkLst>
        </pc:spChg>
        <pc:graphicFrameChg chg="del">
          <ac:chgData name="Bob Ward" userId="6da7c2dd-8e2e-469f-a216-c384312e2a2d" providerId="ADAL" clId="{76AB8CCA-EAB9-49A3-861E-0C0C76457356}" dt="2018-11-05T22:56:08.164" v="994" actId="478"/>
          <ac:graphicFrameMkLst>
            <pc:docMk/>
            <pc:sldMk cId="276576014" sldId="4367"/>
            <ac:graphicFrameMk id="4" creationId="{57679521-AAA5-4DEE-8A8E-A1D6F4AFB08E}"/>
          </ac:graphicFrameMkLst>
        </pc:graphicFrameChg>
      </pc:sldChg>
      <pc:sldChg chg="modSp modNotesTx">
        <pc:chgData name="Bob Ward" userId="6da7c2dd-8e2e-469f-a216-c384312e2a2d" providerId="ADAL" clId="{76AB8CCA-EAB9-49A3-861E-0C0C76457356}" dt="2018-11-05T22:53:49.250" v="925" actId="6549"/>
        <pc:sldMkLst>
          <pc:docMk/>
          <pc:sldMk cId="4134612233" sldId="4375"/>
        </pc:sldMkLst>
        <pc:spChg chg="mod">
          <ac:chgData name="Bob Ward" userId="6da7c2dd-8e2e-469f-a216-c384312e2a2d" providerId="ADAL" clId="{76AB8CCA-EAB9-49A3-861E-0C0C76457356}" dt="2018-10-30T20:49:43.559" v="853" actId="20577"/>
          <ac:spMkLst>
            <pc:docMk/>
            <pc:sldMk cId="4134612233" sldId="4375"/>
            <ac:spMk id="6" creationId="{00000000-0000-0000-0000-000000000000}"/>
          </ac:spMkLst>
        </pc:spChg>
      </pc:sldChg>
      <pc:sldChg chg="addSp delSp modSp add modAnim">
        <pc:chgData name="Bob Ward" userId="6da7c2dd-8e2e-469f-a216-c384312e2a2d" providerId="ADAL" clId="{76AB8CCA-EAB9-49A3-861E-0C0C76457356}" dt="2018-11-05T22:54:21.734" v="993" actId="14100"/>
        <pc:sldMkLst>
          <pc:docMk/>
          <pc:sldMk cId="1021704877" sldId="4379"/>
        </pc:sldMkLst>
        <pc:spChg chg="add mod">
          <ac:chgData name="Bob Ward" userId="6da7c2dd-8e2e-469f-a216-c384312e2a2d" providerId="ADAL" clId="{76AB8CCA-EAB9-49A3-861E-0C0C76457356}" dt="2018-10-28T16:23:26.736" v="416" actId="1076"/>
          <ac:spMkLst>
            <pc:docMk/>
            <pc:sldMk cId="1021704877" sldId="4379"/>
            <ac:spMk id="2" creationId="{52961319-B32B-41FE-8BBF-24202B001C20}"/>
          </ac:spMkLst>
        </pc:spChg>
        <pc:spChg chg="add mod">
          <ac:chgData name="Bob Ward" userId="6da7c2dd-8e2e-469f-a216-c384312e2a2d" providerId="ADAL" clId="{76AB8CCA-EAB9-49A3-861E-0C0C76457356}" dt="2018-10-28T16:23:01.569" v="413" actId="552"/>
          <ac:spMkLst>
            <pc:docMk/>
            <pc:sldMk cId="1021704877" sldId="4379"/>
            <ac:spMk id="3" creationId="{60F0B44C-6BD4-4732-8D2A-E39307AF79EF}"/>
          </ac:spMkLst>
        </pc:spChg>
        <pc:spChg chg="del">
          <ac:chgData name="Bob Ward" userId="6da7c2dd-8e2e-469f-a216-c384312e2a2d" providerId="ADAL" clId="{76AB8CCA-EAB9-49A3-861E-0C0C76457356}" dt="2018-10-28T15:09:49.898" v="257" actId="478"/>
          <ac:spMkLst>
            <pc:docMk/>
            <pc:sldMk cId="1021704877" sldId="4379"/>
            <ac:spMk id="4" creationId="{3724EF2B-E64E-4F86-BCB0-C906BF0972FE}"/>
          </ac:spMkLst>
        </pc:spChg>
        <pc:spChg chg="del">
          <ac:chgData name="Bob Ward" userId="6da7c2dd-8e2e-469f-a216-c384312e2a2d" providerId="ADAL" clId="{76AB8CCA-EAB9-49A3-861E-0C0C76457356}" dt="2018-10-28T15:09:49.898" v="257" actId="478"/>
          <ac:spMkLst>
            <pc:docMk/>
            <pc:sldMk cId="1021704877" sldId="4379"/>
            <ac:spMk id="5" creationId="{50ADA6EC-E8F6-4EFF-9814-83147E20867E}"/>
          </ac:spMkLst>
        </pc:spChg>
        <pc:spChg chg="mod">
          <ac:chgData name="Bob Ward" userId="6da7c2dd-8e2e-469f-a216-c384312e2a2d" providerId="ADAL" clId="{76AB8CCA-EAB9-49A3-861E-0C0C76457356}" dt="2018-11-05T22:54:21.734" v="993" actId="14100"/>
          <ac:spMkLst>
            <pc:docMk/>
            <pc:sldMk cId="1021704877" sldId="4379"/>
            <ac:spMk id="6" creationId="{00000000-0000-0000-0000-000000000000}"/>
          </ac:spMkLst>
        </pc:spChg>
        <pc:spChg chg="del">
          <ac:chgData name="Bob Ward" userId="6da7c2dd-8e2e-469f-a216-c384312e2a2d" providerId="ADAL" clId="{76AB8CCA-EAB9-49A3-861E-0C0C76457356}" dt="2018-10-28T15:09:49.898" v="257" actId="478"/>
          <ac:spMkLst>
            <pc:docMk/>
            <pc:sldMk cId="1021704877" sldId="4379"/>
            <ac:spMk id="7" creationId="{FA5DD307-B1C3-4C2F-BD30-D83520203BC1}"/>
          </ac:spMkLst>
        </pc:spChg>
        <pc:spChg chg="add mod">
          <ac:chgData name="Bob Ward" userId="6da7c2dd-8e2e-469f-a216-c384312e2a2d" providerId="ADAL" clId="{76AB8CCA-EAB9-49A3-861E-0C0C76457356}" dt="2018-10-28T15:15:49.164" v="307" actId="113"/>
          <ac:spMkLst>
            <pc:docMk/>
            <pc:sldMk cId="1021704877" sldId="4379"/>
            <ac:spMk id="8" creationId="{E2DE072B-B9D7-4ABD-9B91-929BECC63230}"/>
          </ac:spMkLst>
        </pc:spChg>
        <pc:spChg chg="del">
          <ac:chgData name="Bob Ward" userId="6da7c2dd-8e2e-469f-a216-c384312e2a2d" providerId="ADAL" clId="{76AB8CCA-EAB9-49A3-861E-0C0C76457356}" dt="2018-10-28T15:09:49.898" v="257" actId="478"/>
          <ac:spMkLst>
            <pc:docMk/>
            <pc:sldMk cId="1021704877" sldId="4379"/>
            <ac:spMk id="51" creationId="{AA5DE190-0BAF-4625-8D30-CAFC48E4ECDD}"/>
          </ac:spMkLst>
        </pc:spChg>
        <pc:spChg chg="mod">
          <ac:chgData name="Bob Ward" userId="6da7c2dd-8e2e-469f-a216-c384312e2a2d" providerId="ADAL" clId="{76AB8CCA-EAB9-49A3-861E-0C0C76457356}" dt="2018-10-28T16:23:07.277" v="415" actId="1076"/>
          <ac:spMkLst>
            <pc:docMk/>
            <pc:sldMk cId="1021704877" sldId="4379"/>
            <ac:spMk id="56" creationId="{2F16C553-EA3D-0B4D-A558-04C3F1C6FD93}"/>
          </ac:spMkLst>
        </pc:spChg>
        <pc:grpChg chg="del">
          <ac:chgData name="Bob Ward" userId="6da7c2dd-8e2e-469f-a216-c384312e2a2d" providerId="ADAL" clId="{76AB8CCA-EAB9-49A3-861E-0C0C76457356}" dt="2018-10-28T15:09:49.898" v="257" actId="478"/>
          <ac:grpSpMkLst>
            <pc:docMk/>
            <pc:sldMk cId="1021704877" sldId="4379"/>
            <ac:grpSpMk id="11" creationId="{9D1659BB-4120-46D7-9CD3-9B0826D5CE06}"/>
          </ac:grpSpMkLst>
        </pc:grpChg>
        <pc:grpChg chg="del">
          <ac:chgData name="Bob Ward" userId="6da7c2dd-8e2e-469f-a216-c384312e2a2d" providerId="ADAL" clId="{76AB8CCA-EAB9-49A3-861E-0C0C76457356}" dt="2018-10-28T15:09:49.898" v="257" actId="478"/>
          <ac:grpSpMkLst>
            <pc:docMk/>
            <pc:sldMk cId="1021704877" sldId="4379"/>
            <ac:grpSpMk id="29" creationId="{7BD66919-DB4E-4FC3-BB5B-A80C859C42FB}"/>
          </ac:grpSpMkLst>
        </pc:grpChg>
        <pc:grpChg chg="del">
          <ac:chgData name="Bob Ward" userId="6da7c2dd-8e2e-469f-a216-c384312e2a2d" providerId="ADAL" clId="{76AB8CCA-EAB9-49A3-861E-0C0C76457356}" dt="2018-10-28T15:09:49.898" v="257" actId="478"/>
          <ac:grpSpMkLst>
            <pc:docMk/>
            <pc:sldMk cId="1021704877" sldId="4379"/>
            <ac:grpSpMk id="33" creationId="{E6472249-0662-48F7-9C55-13F5D55631C4}"/>
          </ac:grpSpMkLst>
        </pc:grpChg>
        <pc:grpChg chg="del">
          <ac:chgData name="Bob Ward" userId="6da7c2dd-8e2e-469f-a216-c384312e2a2d" providerId="ADAL" clId="{76AB8CCA-EAB9-49A3-861E-0C0C76457356}" dt="2018-10-28T15:09:49.898" v="257" actId="478"/>
          <ac:grpSpMkLst>
            <pc:docMk/>
            <pc:sldMk cId="1021704877" sldId="4379"/>
            <ac:grpSpMk id="41" creationId="{BB9345B9-7D0A-46AE-879B-F534919A9CD5}"/>
          </ac:grpSpMkLst>
        </pc:grpChg>
        <pc:grpChg chg="del">
          <ac:chgData name="Bob Ward" userId="6da7c2dd-8e2e-469f-a216-c384312e2a2d" providerId="ADAL" clId="{76AB8CCA-EAB9-49A3-861E-0C0C76457356}" dt="2018-10-28T15:09:49.898" v="257" actId="478"/>
          <ac:grpSpMkLst>
            <pc:docMk/>
            <pc:sldMk cId="1021704877" sldId="4379"/>
            <ac:grpSpMk id="53" creationId="{6A9C8646-B644-4C24-8642-6A5B21606A25}"/>
          </ac:grpSpMkLst>
        </pc:grpChg>
        <pc:cxnChg chg="del">
          <ac:chgData name="Bob Ward" userId="6da7c2dd-8e2e-469f-a216-c384312e2a2d" providerId="ADAL" clId="{76AB8CCA-EAB9-49A3-861E-0C0C76457356}" dt="2018-10-28T15:09:49.898" v="257" actId="478"/>
          <ac:cxnSpMkLst>
            <pc:docMk/>
            <pc:sldMk cId="1021704877" sldId="4379"/>
            <ac:cxnSpMk id="52" creationId="{7E8FFE1B-C5D6-447E-A741-ADAE6463D10B}"/>
          </ac:cxnSpMkLst>
        </pc:cxnChg>
      </pc:sldChg>
    </pc:docChg>
  </pc:docChgLst>
  <pc:docChgLst>
    <pc:chgData name="Amit Banerjee" userId="3be3e2ab-9fa1-40d3-a495-2728699c493f" providerId="ADAL" clId="{EA51BAF1-D491-4E8B-8D18-897618237E04}"/>
    <pc:docChg chg="custSel modSld">
      <pc:chgData name="Amit Banerjee" userId="3be3e2ab-9fa1-40d3-a495-2728699c493f" providerId="ADAL" clId="{EA51BAF1-D491-4E8B-8D18-897618237E04}" dt="2018-09-25T04:13:18.445" v="1315" actId="20577"/>
      <pc:docMkLst>
        <pc:docMk/>
      </pc:docMkLst>
      <pc:sldChg chg="modAnim modNotesTx">
        <pc:chgData name="Amit Banerjee" userId="3be3e2ab-9fa1-40d3-a495-2728699c493f" providerId="ADAL" clId="{EA51BAF1-D491-4E8B-8D18-897618237E04}" dt="2018-09-25T04:13:18.445" v="1315" actId="20577"/>
        <pc:sldMkLst>
          <pc:docMk/>
          <pc:sldMk cId="1057058229" sldId="1247"/>
        </pc:sldMkLst>
      </pc:sldChg>
      <pc:sldChg chg="modNotesTx">
        <pc:chgData name="Amit Banerjee" userId="3be3e2ab-9fa1-40d3-a495-2728699c493f" providerId="ADAL" clId="{EA51BAF1-D491-4E8B-8D18-897618237E04}" dt="2018-09-25T03:30:59.168" v="1291" actId="20577"/>
        <pc:sldMkLst>
          <pc:docMk/>
          <pc:sldMk cId="445609033" sldId="4351"/>
        </pc:sldMkLst>
      </pc:sldChg>
      <pc:sldChg chg="modNotesTx">
        <pc:chgData name="Amit Banerjee" userId="3be3e2ab-9fa1-40d3-a495-2728699c493f" providerId="ADAL" clId="{EA51BAF1-D491-4E8B-8D18-897618237E04}" dt="2018-09-25T03:46:32.809" v="1299" actId="20577"/>
        <pc:sldMkLst>
          <pc:docMk/>
          <pc:sldMk cId="1122910760" sldId="4353"/>
        </pc:sldMkLst>
      </pc:sldChg>
      <pc:sldChg chg="modNotesTx">
        <pc:chgData name="Amit Banerjee" userId="3be3e2ab-9fa1-40d3-a495-2728699c493f" providerId="ADAL" clId="{EA51BAF1-D491-4E8B-8D18-897618237E04}" dt="2018-09-25T03:26:46.925" v="1014" actId="20577"/>
        <pc:sldMkLst>
          <pc:docMk/>
          <pc:sldMk cId="3721142759" sldId="4359"/>
        </pc:sldMkLst>
      </pc:sldChg>
      <pc:sldChg chg="modNotesTx">
        <pc:chgData name="Amit Banerjee" userId="3be3e2ab-9fa1-40d3-a495-2728699c493f" providerId="ADAL" clId="{EA51BAF1-D491-4E8B-8D18-897618237E04}" dt="2018-09-25T03:25:50.901" v="1012" actId="20577"/>
        <pc:sldMkLst>
          <pc:docMk/>
          <pc:sldMk cId="2194511247" sldId="4362"/>
        </pc:sldMkLst>
      </pc:sldChg>
      <pc:sldChg chg="modSp modNotesTx">
        <pc:chgData name="Amit Banerjee" userId="3be3e2ab-9fa1-40d3-a495-2728699c493f" providerId="ADAL" clId="{EA51BAF1-D491-4E8B-8D18-897618237E04}" dt="2018-09-25T03:51:00.652" v="1308" actId="20577"/>
        <pc:sldMkLst>
          <pc:docMk/>
          <pc:sldMk cId="2497121907" sldId="4363"/>
        </pc:sldMkLst>
        <pc:spChg chg="mod">
          <ac:chgData name="Amit Banerjee" userId="3be3e2ab-9fa1-40d3-a495-2728699c493f" providerId="ADAL" clId="{EA51BAF1-D491-4E8B-8D18-897618237E04}" dt="2018-09-25T03:00:33.874" v="815" actId="20577"/>
          <ac:spMkLst>
            <pc:docMk/>
            <pc:sldMk cId="2497121907" sldId="4363"/>
            <ac:spMk id="71" creationId="{E5CD7ADF-88A8-4990-8817-A50391B2ABFE}"/>
          </ac:spMkLst>
        </pc:spChg>
      </pc:sldChg>
      <pc:sldChg chg="modAnim modNotesTx">
        <pc:chgData name="Amit Banerjee" userId="3be3e2ab-9fa1-40d3-a495-2728699c493f" providerId="ADAL" clId="{EA51BAF1-D491-4E8B-8D18-897618237E04}" dt="2018-09-25T02:57:02.544" v="808" actId="6549"/>
        <pc:sldMkLst>
          <pc:docMk/>
          <pc:sldMk cId="3562836415" sldId="4366"/>
        </pc:sldMkLst>
      </pc:sldChg>
      <pc:sldChg chg="modSp modNotesTx">
        <pc:chgData name="Amit Banerjee" userId="3be3e2ab-9fa1-40d3-a495-2728699c493f" providerId="ADAL" clId="{EA51BAF1-D491-4E8B-8D18-897618237E04}" dt="2018-09-25T03:47:40.209" v="1306" actId="20577"/>
        <pc:sldMkLst>
          <pc:docMk/>
          <pc:sldMk cId="4134612233" sldId="4375"/>
        </pc:sldMkLst>
        <pc:spChg chg="mod">
          <ac:chgData name="Amit Banerjee" userId="3be3e2ab-9fa1-40d3-a495-2728699c493f" providerId="ADAL" clId="{EA51BAF1-D491-4E8B-8D18-897618237E04}" dt="2018-09-25T03:47:27.299" v="1305" actId="20577"/>
          <ac:spMkLst>
            <pc:docMk/>
            <pc:sldMk cId="4134612233" sldId="4375"/>
            <ac:spMk id="6" creationId="{00000000-0000-0000-0000-000000000000}"/>
          </ac:spMkLst>
        </pc:spChg>
      </pc:sldChg>
    </pc:docChg>
  </pc:docChgLst>
  <pc:docChgLst>
    <pc:chgData name="Bob Ward" userId="6da7c2dd-8e2e-469f-a216-c384312e2a2d" providerId="ADAL" clId="{A38BE2B8-4FC7-4DB6-BA61-1BD2E37BAFED}"/>
    <pc:docChg chg="custSel modSld">
      <pc:chgData name="Bob Ward" userId="6da7c2dd-8e2e-469f-a216-c384312e2a2d" providerId="ADAL" clId="{A38BE2B8-4FC7-4DB6-BA61-1BD2E37BAFED}" dt="2018-09-24T15:33:48.846" v="924" actId="20577"/>
      <pc:docMkLst>
        <pc:docMk/>
      </pc:docMkLst>
      <pc:sldChg chg="modNotesTx">
        <pc:chgData name="Bob Ward" userId="6da7c2dd-8e2e-469f-a216-c384312e2a2d" providerId="ADAL" clId="{A38BE2B8-4FC7-4DB6-BA61-1BD2E37BAFED}" dt="2018-09-24T15:24:01.392" v="780" actId="20577"/>
        <pc:sldMkLst>
          <pc:docMk/>
          <pc:sldMk cId="1869999325" sldId="1861"/>
        </pc:sldMkLst>
      </pc:sldChg>
      <pc:sldChg chg="modNotesTx">
        <pc:chgData name="Bob Ward" userId="6da7c2dd-8e2e-469f-a216-c384312e2a2d" providerId="ADAL" clId="{A38BE2B8-4FC7-4DB6-BA61-1BD2E37BAFED}" dt="2018-09-24T15:21:13.630" v="510" actId="20577"/>
        <pc:sldMkLst>
          <pc:docMk/>
          <pc:sldMk cId="445609033" sldId="4351"/>
        </pc:sldMkLst>
      </pc:sldChg>
      <pc:sldChg chg="modNotesTx">
        <pc:chgData name="Bob Ward" userId="6da7c2dd-8e2e-469f-a216-c384312e2a2d" providerId="ADAL" clId="{A38BE2B8-4FC7-4DB6-BA61-1BD2E37BAFED}" dt="2018-09-24T15:08:24.331" v="159" actId="20577"/>
        <pc:sldMkLst>
          <pc:docMk/>
          <pc:sldMk cId="2973122093" sldId="4352"/>
        </pc:sldMkLst>
      </pc:sldChg>
      <pc:sldChg chg="modNotesTx">
        <pc:chgData name="Bob Ward" userId="6da7c2dd-8e2e-469f-a216-c384312e2a2d" providerId="ADAL" clId="{A38BE2B8-4FC7-4DB6-BA61-1BD2E37BAFED}" dt="2018-09-24T15:21:43.902" v="604" actId="20577"/>
        <pc:sldMkLst>
          <pc:docMk/>
          <pc:sldMk cId="1122910760" sldId="4353"/>
        </pc:sldMkLst>
      </pc:sldChg>
      <pc:sldChg chg="modNotesTx">
        <pc:chgData name="Bob Ward" userId="6da7c2dd-8e2e-469f-a216-c384312e2a2d" providerId="ADAL" clId="{A38BE2B8-4FC7-4DB6-BA61-1BD2E37BAFED}" dt="2018-09-24T15:23:07.341" v="665" actId="20577"/>
        <pc:sldMkLst>
          <pc:docMk/>
          <pc:sldMk cId="1087001240" sldId="4355"/>
        </pc:sldMkLst>
      </pc:sldChg>
      <pc:sldChg chg="modNotesTx">
        <pc:chgData name="Bob Ward" userId="6da7c2dd-8e2e-469f-a216-c384312e2a2d" providerId="ADAL" clId="{A38BE2B8-4FC7-4DB6-BA61-1BD2E37BAFED}" dt="2018-09-24T15:23:25.082" v="729" actId="20577"/>
        <pc:sldMkLst>
          <pc:docMk/>
          <pc:sldMk cId="1258176581" sldId="4356"/>
        </pc:sldMkLst>
      </pc:sldChg>
      <pc:sldChg chg="modNotesTx">
        <pc:chgData name="Bob Ward" userId="6da7c2dd-8e2e-469f-a216-c384312e2a2d" providerId="ADAL" clId="{A38BE2B8-4FC7-4DB6-BA61-1BD2E37BAFED}" dt="2018-09-24T15:21:34.669" v="585" actId="20577"/>
        <pc:sldMkLst>
          <pc:docMk/>
          <pc:sldMk cId="3580746693" sldId="4357"/>
        </pc:sldMkLst>
      </pc:sldChg>
      <pc:sldChg chg="modNotesTx">
        <pc:chgData name="Bob Ward" userId="6da7c2dd-8e2e-469f-a216-c384312e2a2d" providerId="ADAL" clId="{A38BE2B8-4FC7-4DB6-BA61-1BD2E37BAFED}" dt="2018-09-24T15:10:28.029" v="258" actId="20577"/>
        <pc:sldMkLst>
          <pc:docMk/>
          <pc:sldMk cId="870761287" sldId="4358"/>
        </pc:sldMkLst>
      </pc:sldChg>
      <pc:sldChg chg="modNotesTx">
        <pc:chgData name="Bob Ward" userId="6da7c2dd-8e2e-469f-a216-c384312e2a2d" providerId="ADAL" clId="{A38BE2B8-4FC7-4DB6-BA61-1BD2E37BAFED}" dt="2018-09-24T15:23:39.371" v="750" actId="20577"/>
        <pc:sldMkLst>
          <pc:docMk/>
          <pc:sldMk cId="3721142759" sldId="4359"/>
        </pc:sldMkLst>
      </pc:sldChg>
      <pc:sldChg chg="modNotesTx">
        <pc:chgData name="Bob Ward" userId="6da7c2dd-8e2e-469f-a216-c384312e2a2d" providerId="ADAL" clId="{A38BE2B8-4FC7-4DB6-BA61-1BD2E37BAFED}" dt="2018-09-24T15:11:30.096" v="300" actId="20577"/>
        <pc:sldMkLst>
          <pc:docMk/>
          <pc:sldMk cId="3766069067" sldId="4360"/>
        </pc:sldMkLst>
      </pc:sldChg>
      <pc:sldChg chg="modNotesTx">
        <pc:chgData name="Bob Ward" userId="6da7c2dd-8e2e-469f-a216-c384312e2a2d" providerId="ADAL" clId="{A38BE2B8-4FC7-4DB6-BA61-1BD2E37BAFED}" dt="2018-09-24T15:33:48.846" v="924" actId="20577"/>
        <pc:sldMkLst>
          <pc:docMk/>
          <pc:sldMk cId="3032733911" sldId="4364"/>
        </pc:sldMkLst>
      </pc:sldChg>
      <pc:sldChg chg="modNotesTx">
        <pc:chgData name="Bob Ward" userId="6da7c2dd-8e2e-469f-a216-c384312e2a2d" providerId="ADAL" clId="{A38BE2B8-4FC7-4DB6-BA61-1BD2E37BAFED}" dt="2018-09-24T15:11:36.299" v="305" actId="20577"/>
        <pc:sldMkLst>
          <pc:docMk/>
          <pc:sldMk cId="107596063" sldId="4365"/>
        </pc:sldMkLst>
      </pc:sldChg>
      <pc:sldChg chg="modNotesTx">
        <pc:chgData name="Bob Ward" userId="6da7c2dd-8e2e-469f-a216-c384312e2a2d" providerId="ADAL" clId="{A38BE2B8-4FC7-4DB6-BA61-1BD2E37BAFED}" dt="2018-09-24T15:21:07.983" v="487" actId="20577"/>
        <pc:sldMkLst>
          <pc:docMk/>
          <pc:sldMk cId="3562836415" sldId="4366"/>
        </pc:sldMkLst>
      </pc:sldChg>
      <pc:sldChg chg="modNotesTx">
        <pc:chgData name="Bob Ward" userId="6da7c2dd-8e2e-469f-a216-c384312e2a2d" providerId="ADAL" clId="{A38BE2B8-4FC7-4DB6-BA61-1BD2E37BAFED}" dt="2018-09-24T15:16:34.587" v="363" actId="20577"/>
        <pc:sldMkLst>
          <pc:docMk/>
          <pc:sldMk cId="276576014" sldId="4367"/>
        </pc:sldMkLst>
      </pc:sldChg>
      <pc:sldChg chg="modNotesTx">
        <pc:chgData name="Bob Ward" userId="6da7c2dd-8e2e-469f-a216-c384312e2a2d" providerId="ADAL" clId="{A38BE2B8-4FC7-4DB6-BA61-1BD2E37BAFED}" dt="2018-09-24T15:20:59.399" v="468" actId="20577"/>
        <pc:sldMkLst>
          <pc:docMk/>
          <pc:sldMk cId="3360446397" sldId="4369"/>
        </pc:sldMkLst>
      </pc:sldChg>
      <pc:sldChg chg="modNotesTx">
        <pc:chgData name="Bob Ward" userId="6da7c2dd-8e2e-469f-a216-c384312e2a2d" providerId="ADAL" clId="{A38BE2B8-4FC7-4DB6-BA61-1BD2E37BAFED}" dt="2018-09-24T15:22:42.656" v="627" actId="20577"/>
        <pc:sldMkLst>
          <pc:docMk/>
          <pc:sldMk cId="3020045409" sldId="4378"/>
        </pc:sldMkLst>
      </pc:sldChg>
    </pc:docChg>
  </pc:docChgLst>
  <pc:docChgLst>
    <pc:chgData name="Bob Ward" userId="6da7c2dd-8e2e-469f-a216-c384312e2a2d" providerId="ADAL" clId="{1DC02916-B96B-4A1C-898B-2B470794A648}"/>
    <pc:docChg chg="undo custSel addSld delSld modSld sldOrd modSection">
      <pc:chgData name="Bob Ward" userId="6da7c2dd-8e2e-469f-a216-c384312e2a2d" providerId="ADAL" clId="{1DC02916-B96B-4A1C-898B-2B470794A648}" dt="2019-01-17T23:48:07.439" v="2222" actId="1076"/>
      <pc:docMkLst>
        <pc:docMk/>
      </pc:docMkLst>
      <pc:sldChg chg="modSp add">
        <pc:chgData name="Bob Ward" userId="6da7c2dd-8e2e-469f-a216-c384312e2a2d" providerId="ADAL" clId="{1DC02916-B96B-4A1C-898B-2B470794A648}" dt="2019-01-17T23:45:00.797" v="2068" actId="20577"/>
        <pc:sldMkLst>
          <pc:docMk/>
          <pc:sldMk cId="940594756" sldId="300"/>
        </pc:sldMkLst>
        <pc:spChg chg="mod">
          <ac:chgData name="Bob Ward" userId="6da7c2dd-8e2e-469f-a216-c384312e2a2d" providerId="ADAL" clId="{1DC02916-B96B-4A1C-898B-2B470794A648}" dt="2019-01-17T23:45:00.797" v="2068" actId="20577"/>
          <ac:spMkLst>
            <pc:docMk/>
            <pc:sldMk cId="940594756" sldId="300"/>
            <ac:spMk id="59" creationId="{51F67288-4225-2446-9C6F-47E04CFDE915}"/>
          </ac:spMkLst>
        </pc:spChg>
      </pc:sldChg>
      <pc:sldChg chg="modSp add">
        <pc:chgData name="Bob Ward" userId="6da7c2dd-8e2e-469f-a216-c384312e2a2d" providerId="ADAL" clId="{1DC02916-B96B-4A1C-898B-2B470794A648}" dt="2019-01-17T23:44:44.385" v="2040" actId="20577"/>
        <pc:sldMkLst>
          <pc:docMk/>
          <pc:sldMk cId="3734631647" sldId="599"/>
        </pc:sldMkLst>
        <pc:spChg chg="mod">
          <ac:chgData name="Bob Ward" userId="6da7c2dd-8e2e-469f-a216-c384312e2a2d" providerId="ADAL" clId="{1DC02916-B96B-4A1C-898B-2B470794A648}" dt="2019-01-17T23:44:44.385" v="2040" actId="20577"/>
          <ac:spMkLst>
            <pc:docMk/>
            <pc:sldMk cId="3734631647" sldId="599"/>
            <ac:spMk id="2" creationId="{8E3FC566-493B-44F4-9043-EC75600C2F44}"/>
          </ac:spMkLst>
        </pc:spChg>
      </pc:sldChg>
      <pc:sldChg chg="modSp">
        <pc:chgData name="Bob Ward" userId="6da7c2dd-8e2e-469f-a216-c384312e2a2d" providerId="ADAL" clId="{1DC02916-B96B-4A1C-898B-2B470794A648}" dt="2019-01-17T23:45:35.663" v="2092" actId="1076"/>
        <pc:sldMkLst>
          <pc:docMk/>
          <pc:sldMk cId="1057058229" sldId="1247"/>
        </pc:sldMkLst>
        <pc:spChg chg="mod">
          <ac:chgData name="Bob Ward" userId="6da7c2dd-8e2e-469f-a216-c384312e2a2d" providerId="ADAL" clId="{1DC02916-B96B-4A1C-898B-2B470794A648}" dt="2019-01-17T23:45:28.391" v="2091" actId="20577"/>
          <ac:spMkLst>
            <pc:docMk/>
            <pc:sldMk cId="1057058229" sldId="1247"/>
            <ac:spMk id="2" creationId="{D53BB3F0-C6E8-4B45-BF0D-A821BECF14F2}"/>
          </ac:spMkLst>
        </pc:spChg>
        <pc:picChg chg="mod">
          <ac:chgData name="Bob Ward" userId="6da7c2dd-8e2e-469f-a216-c384312e2a2d" providerId="ADAL" clId="{1DC02916-B96B-4A1C-898B-2B470794A648}" dt="2019-01-17T23:45:35.663" v="2092" actId="1076"/>
          <ac:picMkLst>
            <pc:docMk/>
            <pc:sldMk cId="1057058229" sldId="1247"/>
            <ac:picMk id="253" creationId="{C82ECAE6-3E1B-4F7A-8463-24AECF9147B2}"/>
          </ac:picMkLst>
        </pc:picChg>
      </pc:sldChg>
      <pc:sldChg chg="modSp">
        <pc:chgData name="Bob Ward" userId="6da7c2dd-8e2e-469f-a216-c384312e2a2d" providerId="ADAL" clId="{1DC02916-B96B-4A1C-898B-2B470794A648}" dt="2019-01-17T22:37:11.419" v="131" actId="20577"/>
        <pc:sldMkLst>
          <pc:docMk/>
          <pc:sldMk cId="1869999325" sldId="1861"/>
        </pc:sldMkLst>
        <pc:spChg chg="mod">
          <ac:chgData name="Bob Ward" userId="6da7c2dd-8e2e-469f-a216-c384312e2a2d" providerId="ADAL" clId="{1DC02916-B96B-4A1C-898B-2B470794A648}" dt="2019-01-17T22:37:11.419" v="131" actId="20577"/>
          <ac:spMkLst>
            <pc:docMk/>
            <pc:sldMk cId="1869999325" sldId="1861"/>
            <ac:spMk id="2" creationId="{AF57CFD1-12DE-4287-8E0D-77F399553290}"/>
          </ac:spMkLst>
        </pc:spChg>
        <pc:spChg chg="mod">
          <ac:chgData name="Bob Ward" userId="6da7c2dd-8e2e-469f-a216-c384312e2a2d" providerId="ADAL" clId="{1DC02916-B96B-4A1C-898B-2B470794A648}" dt="2019-01-17T22:33:09.431" v="85" actId="20577"/>
          <ac:spMkLst>
            <pc:docMk/>
            <pc:sldMk cId="1869999325" sldId="1861"/>
            <ac:spMk id="6" creationId="{ACBB8B40-F3D1-4331-B430-E127860A693D}"/>
          </ac:spMkLst>
        </pc:spChg>
      </pc:sldChg>
      <pc:sldChg chg="add">
        <pc:chgData name="Bob Ward" userId="6da7c2dd-8e2e-469f-a216-c384312e2a2d" providerId="ADAL" clId="{1DC02916-B96B-4A1C-898B-2B470794A648}" dt="2019-01-17T23:44:13.701" v="2004"/>
        <pc:sldMkLst>
          <pc:docMk/>
          <pc:sldMk cId="691647947" sldId="3211"/>
        </pc:sldMkLst>
      </pc:sldChg>
      <pc:sldChg chg="modSp modNotesTx">
        <pc:chgData name="Bob Ward" userId="6da7c2dd-8e2e-469f-a216-c384312e2a2d" providerId="ADAL" clId="{1DC02916-B96B-4A1C-898B-2B470794A648}" dt="2019-01-17T23:46:50.515" v="2220" actId="20577"/>
        <pc:sldMkLst>
          <pc:docMk/>
          <pc:sldMk cId="445609033" sldId="4351"/>
        </pc:sldMkLst>
        <pc:spChg chg="mod">
          <ac:chgData name="Bob Ward" userId="6da7c2dd-8e2e-469f-a216-c384312e2a2d" providerId="ADAL" clId="{1DC02916-B96B-4A1C-898B-2B470794A648}" dt="2019-01-17T23:46:50.515" v="2220" actId="20577"/>
          <ac:spMkLst>
            <pc:docMk/>
            <pc:sldMk cId="445609033" sldId="4351"/>
            <ac:spMk id="3" creationId="{00000000-0000-0000-0000-000000000000}"/>
          </ac:spMkLst>
        </pc:spChg>
        <pc:spChg chg="mod">
          <ac:chgData name="Bob Ward" userId="6da7c2dd-8e2e-469f-a216-c384312e2a2d" providerId="ADAL" clId="{1DC02916-B96B-4A1C-898B-2B470794A648}" dt="2019-01-17T23:42:57.919" v="1977" actId="20577"/>
          <ac:spMkLst>
            <pc:docMk/>
            <pc:sldMk cId="445609033" sldId="4351"/>
            <ac:spMk id="4" creationId="{19845D98-2CE9-45E6-9AA5-7DA5B4AF1C6D}"/>
          </ac:spMkLst>
        </pc:spChg>
      </pc:sldChg>
      <pc:sldChg chg="addSp modSp">
        <pc:chgData name="Bob Ward" userId="6da7c2dd-8e2e-469f-a216-c384312e2a2d" providerId="ADAL" clId="{1DC02916-B96B-4A1C-898B-2B470794A648}" dt="2019-01-17T23:48:07.439" v="2222" actId="1076"/>
        <pc:sldMkLst>
          <pc:docMk/>
          <pc:sldMk cId="1087001240" sldId="4355"/>
        </pc:sldMkLst>
        <pc:spChg chg="add mod">
          <ac:chgData name="Bob Ward" userId="6da7c2dd-8e2e-469f-a216-c384312e2a2d" providerId="ADAL" clId="{1DC02916-B96B-4A1C-898B-2B470794A648}" dt="2019-01-17T23:48:07.439" v="2222" actId="1076"/>
          <ac:spMkLst>
            <pc:docMk/>
            <pc:sldMk cId="1087001240" sldId="4355"/>
            <ac:spMk id="61" creationId="{FDE8F9E0-1BB5-4898-90D4-07D4810740B9}"/>
          </ac:spMkLst>
        </pc:spChg>
        <pc:picChg chg="add mod">
          <ac:chgData name="Bob Ward" userId="6da7c2dd-8e2e-469f-a216-c384312e2a2d" providerId="ADAL" clId="{1DC02916-B96B-4A1C-898B-2B470794A648}" dt="2019-01-17T23:48:07.439" v="2222" actId="1076"/>
          <ac:picMkLst>
            <pc:docMk/>
            <pc:sldMk cId="1087001240" sldId="4355"/>
            <ac:picMk id="62" creationId="{17A4A74C-DC6F-49AA-A526-8754DE0909BB}"/>
          </ac:picMkLst>
        </pc:picChg>
      </pc:sldChg>
      <pc:sldChg chg="modSp modNotesTx">
        <pc:chgData name="Bob Ward" userId="6da7c2dd-8e2e-469f-a216-c384312e2a2d" providerId="ADAL" clId="{1DC02916-B96B-4A1C-898B-2B470794A648}" dt="2019-01-17T23:30:49.662" v="1763" actId="20577"/>
        <pc:sldMkLst>
          <pc:docMk/>
          <pc:sldMk cId="3580746693" sldId="4357"/>
        </pc:sldMkLst>
        <pc:spChg chg="mod">
          <ac:chgData name="Bob Ward" userId="6da7c2dd-8e2e-469f-a216-c384312e2a2d" providerId="ADAL" clId="{1DC02916-B96B-4A1C-898B-2B470794A648}" dt="2019-01-17T23:30:42.774" v="1746" actId="20577"/>
          <ac:spMkLst>
            <pc:docMk/>
            <pc:sldMk cId="3580746693" sldId="4357"/>
            <ac:spMk id="4" creationId="{00000000-0000-0000-0000-000000000000}"/>
          </ac:spMkLst>
        </pc:spChg>
      </pc:sldChg>
      <pc:sldChg chg="ord">
        <pc:chgData name="Bob Ward" userId="6da7c2dd-8e2e-469f-a216-c384312e2a2d" providerId="ADAL" clId="{1DC02916-B96B-4A1C-898B-2B470794A648}" dt="2019-01-17T23:00:09.224" v="1188"/>
        <pc:sldMkLst>
          <pc:docMk/>
          <pc:sldMk cId="870761287" sldId="4358"/>
        </pc:sldMkLst>
      </pc:sldChg>
      <pc:sldChg chg="ord modNotesTx">
        <pc:chgData name="Bob Ward" userId="6da7c2dd-8e2e-469f-a216-c384312e2a2d" providerId="ADAL" clId="{1DC02916-B96B-4A1C-898B-2B470794A648}" dt="2019-01-17T23:29:09.117" v="1469" actId="20577"/>
        <pc:sldMkLst>
          <pc:docMk/>
          <pc:sldMk cId="3721142759" sldId="4359"/>
        </pc:sldMkLst>
      </pc:sldChg>
      <pc:sldChg chg="del">
        <pc:chgData name="Bob Ward" userId="6da7c2dd-8e2e-469f-a216-c384312e2a2d" providerId="ADAL" clId="{1DC02916-B96B-4A1C-898B-2B470794A648}" dt="2019-01-17T23:23:46.206" v="1402" actId="2696"/>
        <pc:sldMkLst>
          <pc:docMk/>
          <pc:sldMk cId="3766069067" sldId="4360"/>
        </pc:sldMkLst>
      </pc:sldChg>
      <pc:sldChg chg="modTransition">
        <pc:chgData name="Bob Ward" userId="6da7c2dd-8e2e-469f-a216-c384312e2a2d" providerId="ADAL" clId="{1DC02916-B96B-4A1C-898B-2B470794A648}" dt="2019-01-17T22:55:11.576" v="1023"/>
        <pc:sldMkLst>
          <pc:docMk/>
          <pc:sldMk cId="2497121907" sldId="4363"/>
        </pc:sldMkLst>
      </pc:sldChg>
      <pc:sldChg chg="del ord">
        <pc:chgData name="Bob Ward" userId="6da7c2dd-8e2e-469f-a216-c384312e2a2d" providerId="ADAL" clId="{1DC02916-B96B-4A1C-898B-2B470794A648}" dt="2019-01-17T23:12:09.959" v="1279" actId="2696"/>
        <pc:sldMkLst>
          <pc:docMk/>
          <pc:sldMk cId="3032733911" sldId="4364"/>
        </pc:sldMkLst>
      </pc:sldChg>
      <pc:sldChg chg="del">
        <pc:chgData name="Bob Ward" userId="6da7c2dd-8e2e-469f-a216-c384312e2a2d" providerId="ADAL" clId="{1DC02916-B96B-4A1C-898B-2B470794A648}" dt="2019-01-17T23:03:04.289" v="1214" actId="2696"/>
        <pc:sldMkLst>
          <pc:docMk/>
          <pc:sldMk cId="107596063" sldId="4365"/>
        </pc:sldMkLst>
      </pc:sldChg>
      <pc:sldChg chg="modSp">
        <pc:chgData name="Bob Ward" userId="6da7c2dd-8e2e-469f-a216-c384312e2a2d" providerId="ADAL" clId="{1DC02916-B96B-4A1C-898B-2B470794A648}" dt="2019-01-17T23:03:08.929" v="1232" actId="20577"/>
        <pc:sldMkLst>
          <pc:docMk/>
          <pc:sldMk cId="1021704877" sldId="4379"/>
        </pc:sldMkLst>
        <pc:spChg chg="mod">
          <ac:chgData name="Bob Ward" userId="6da7c2dd-8e2e-469f-a216-c384312e2a2d" providerId="ADAL" clId="{1DC02916-B96B-4A1C-898B-2B470794A648}" dt="2019-01-17T23:03:08.929" v="1232" actId="20577"/>
          <ac:spMkLst>
            <pc:docMk/>
            <pc:sldMk cId="1021704877" sldId="4379"/>
            <ac:spMk id="17" creationId="{00000000-0000-0000-0000-000000000000}"/>
          </ac:spMkLst>
        </pc:spChg>
      </pc:sldChg>
      <pc:sldChg chg="add">
        <pc:chgData name="Bob Ward" userId="6da7c2dd-8e2e-469f-a216-c384312e2a2d" providerId="ADAL" clId="{1DC02916-B96B-4A1C-898B-2B470794A648}" dt="2019-01-17T23:10:04.558" v="1277"/>
        <pc:sldMkLst>
          <pc:docMk/>
          <pc:sldMk cId="537828195" sldId="4509"/>
        </pc:sldMkLst>
      </pc:sldChg>
      <pc:sldChg chg="modSp add del">
        <pc:chgData name="Bob Ward" userId="6da7c2dd-8e2e-469f-a216-c384312e2a2d" providerId="ADAL" clId="{1DC02916-B96B-4A1C-898B-2B470794A648}" dt="2019-01-17T23:28:54.534" v="1412" actId="2696"/>
        <pc:sldMkLst>
          <pc:docMk/>
          <pc:sldMk cId="3740122714" sldId="4510"/>
        </pc:sldMkLst>
        <pc:spChg chg="mod">
          <ac:chgData name="Bob Ward" userId="6da7c2dd-8e2e-469f-a216-c384312e2a2d" providerId="ADAL" clId="{1DC02916-B96B-4A1C-898B-2B470794A648}" dt="2019-01-17T23:12:36.454" v="1305" actId="20577"/>
          <ac:spMkLst>
            <pc:docMk/>
            <pc:sldMk cId="3740122714" sldId="4510"/>
            <ac:spMk id="27" creationId="{C5348828-34BF-9240-B0FE-9BFC7DE8E126}"/>
          </ac:spMkLst>
        </pc:spChg>
        <pc:cxnChg chg="mod">
          <ac:chgData name="Bob Ward" userId="6da7c2dd-8e2e-469f-a216-c384312e2a2d" providerId="ADAL" clId="{1DC02916-B96B-4A1C-898B-2B470794A648}" dt="2019-01-17T23:28:30.212" v="1411" actId="208"/>
          <ac:cxnSpMkLst>
            <pc:docMk/>
            <pc:sldMk cId="3740122714" sldId="4510"/>
            <ac:cxnSpMk id="28" creationId="{6A76343F-5938-C141-89A6-93BB86E9F2A4}"/>
          </ac:cxnSpMkLst>
        </pc:cxnChg>
        <pc:cxnChg chg="mod">
          <ac:chgData name="Bob Ward" userId="6da7c2dd-8e2e-469f-a216-c384312e2a2d" providerId="ADAL" clId="{1DC02916-B96B-4A1C-898B-2B470794A648}" dt="2019-01-17T23:28:30.212" v="1411" actId="208"/>
          <ac:cxnSpMkLst>
            <pc:docMk/>
            <pc:sldMk cId="3740122714" sldId="4510"/>
            <ac:cxnSpMk id="30" creationId="{CC297370-8F4B-C947-8CE5-D555F42A3A0E}"/>
          </ac:cxnSpMkLst>
        </pc:cxnChg>
        <pc:cxnChg chg="mod">
          <ac:chgData name="Bob Ward" userId="6da7c2dd-8e2e-469f-a216-c384312e2a2d" providerId="ADAL" clId="{1DC02916-B96B-4A1C-898B-2B470794A648}" dt="2019-01-17T23:28:30.212" v="1411" actId="208"/>
          <ac:cxnSpMkLst>
            <pc:docMk/>
            <pc:sldMk cId="3740122714" sldId="4510"/>
            <ac:cxnSpMk id="34" creationId="{0B6C847F-F8C6-8D49-BB77-8A6F28C297F2}"/>
          </ac:cxnSpMkLst>
        </pc:cxnChg>
        <pc:cxnChg chg="mod">
          <ac:chgData name="Bob Ward" userId="6da7c2dd-8e2e-469f-a216-c384312e2a2d" providerId="ADAL" clId="{1DC02916-B96B-4A1C-898B-2B470794A648}" dt="2019-01-17T23:28:30.212" v="1411" actId="208"/>
          <ac:cxnSpMkLst>
            <pc:docMk/>
            <pc:sldMk cId="3740122714" sldId="4510"/>
            <ac:cxnSpMk id="38" creationId="{8F186F8A-5EBC-4A10-A69F-45181CCA0707}"/>
          </ac:cxnSpMkLst>
        </pc:cxnChg>
      </pc:sldChg>
      <pc:sldChg chg="add">
        <pc:chgData name="Bob Ward" userId="6da7c2dd-8e2e-469f-a216-c384312e2a2d" providerId="ADAL" clId="{1DC02916-B96B-4A1C-898B-2B470794A648}" dt="2019-01-17T23:22:38.451" v="1306"/>
        <pc:sldMkLst>
          <pc:docMk/>
          <pc:sldMk cId="3044339129" sldId="4512"/>
        </pc:sldMkLst>
      </pc:sldChg>
      <pc:sldChg chg="addSp modSp add">
        <pc:chgData name="Bob Ward" userId="6da7c2dd-8e2e-469f-a216-c384312e2a2d" providerId="ADAL" clId="{1DC02916-B96B-4A1C-898B-2B470794A648}" dt="2019-01-17T23:24:39.304" v="1410" actId="208"/>
        <pc:sldMkLst>
          <pc:docMk/>
          <pc:sldMk cId="4023305083" sldId="4524"/>
        </pc:sldMkLst>
        <pc:spChg chg="mod">
          <ac:chgData name="Bob Ward" userId="6da7c2dd-8e2e-469f-a216-c384312e2a2d" providerId="ADAL" clId="{1DC02916-B96B-4A1C-898B-2B470794A648}" dt="2019-01-17T23:23:37.991" v="1401" actId="6549"/>
          <ac:spMkLst>
            <pc:docMk/>
            <pc:sldMk cId="4023305083" sldId="4524"/>
            <ac:spMk id="3" creationId="{0326F37C-242E-4D5C-9985-21ADC1F94314}"/>
          </ac:spMkLst>
        </pc:spChg>
        <pc:spChg chg="add mod ord">
          <ac:chgData name="Bob Ward" userId="6da7c2dd-8e2e-469f-a216-c384312e2a2d" providerId="ADAL" clId="{1DC02916-B96B-4A1C-898B-2B470794A648}" dt="2019-01-17T23:24:19.666" v="1407" actId="14100"/>
          <ac:spMkLst>
            <pc:docMk/>
            <pc:sldMk cId="4023305083" sldId="4524"/>
            <ac:spMk id="69" creationId="{071EA82D-AD81-49BA-8A09-941F7B0B6109}"/>
          </ac:spMkLst>
        </pc:spChg>
        <pc:spChg chg="mod">
          <ac:chgData name="Bob Ward" userId="6da7c2dd-8e2e-469f-a216-c384312e2a2d" providerId="ADAL" clId="{1DC02916-B96B-4A1C-898B-2B470794A648}" dt="2019-01-17T23:24:29.511" v="1409" actId="208"/>
          <ac:spMkLst>
            <pc:docMk/>
            <pc:sldMk cId="4023305083" sldId="4524"/>
            <ac:spMk id="117" creationId="{594C84C0-4293-DE4A-9D0E-EF66BF407F06}"/>
          </ac:spMkLst>
        </pc:spChg>
        <pc:spChg chg="mod">
          <ac:chgData name="Bob Ward" userId="6da7c2dd-8e2e-469f-a216-c384312e2a2d" providerId="ADAL" clId="{1DC02916-B96B-4A1C-898B-2B470794A648}" dt="2019-01-17T23:24:24.970" v="1408" actId="208"/>
          <ac:spMkLst>
            <pc:docMk/>
            <pc:sldMk cId="4023305083" sldId="4524"/>
            <ac:spMk id="118" creationId="{99434DB6-C53B-E847-979F-D41F8C6AE91B}"/>
          </ac:spMkLst>
        </pc:spChg>
        <pc:spChg chg="mod">
          <ac:chgData name="Bob Ward" userId="6da7c2dd-8e2e-469f-a216-c384312e2a2d" providerId="ADAL" clId="{1DC02916-B96B-4A1C-898B-2B470794A648}" dt="2019-01-17T23:24:39.304" v="1410" actId="208"/>
          <ac:spMkLst>
            <pc:docMk/>
            <pc:sldMk cId="4023305083" sldId="4524"/>
            <ac:spMk id="120" creationId="{8DAE9158-3CA9-5640-A4F5-80BC8E690763}"/>
          </ac:spMkLst>
        </pc:spChg>
      </pc:sldChg>
      <pc:sldChg chg="addSp delSp modSp add">
        <pc:chgData name="Bob Ward" userId="6da7c2dd-8e2e-469f-a216-c384312e2a2d" providerId="ADAL" clId="{1DC02916-B96B-4A1C-898B-2B470794A648}" dt="2019-01-17T23:41:45.039" v="1870" actId="1076"/>
        <pc:sldMkLst>
          <pc:docMk/>
          <pc:sldMk cId="462353666" sldId="4671"/>
        </pc:sldMkLst>
        <pc:spChg chg="del">
          <ac:chgData name="Bob Ward" userId="6da7c2dd-8e2e-469f-a216-c384312e2a2d" providerId="ADAL" clId="{1DC02916-B96B-4A1C-898B-2B470794A648}" dt="2019-01-17T23:41:25.786" v="1863" actId="931"/>
          <ac:spMkLst>
            <pc:docMk/>
            <pc:sldMk cId="462353666" sldId="4671"/>
            <ac:spMk id="2" creationId="{CBC186E3-5F1C-4215-834E-28BC0B943F58}"/>
          </ac:spMkLst>
        </pc:spChg>
        <pc:spChg chg="mod">
          <ac:chgData name="Bob Ward" userId="6da7c2dd-8e2e-469f-a216-c384312e2a2d" providerId="ADAL" clId="{1DC02916-B96B-4A1C-898B-2B470794A648}" dt="2019-01-17T22:51:45.329" v="873" actId="1076"/>
          <ac:spMkLst>
            <pc:docMk/>
            <pc:sldMk cId="462353666" sldId="4671"/>
            <ac:spMk id="3" creationId="{5F4F1939-8F07-470E-8893-CC6355A4463C}"/>
          </ac:spMkLst>
        </pc:spChg>
        <pc:spChg chg="mod">
          <ac:chgData name="Bob Ward" userId="6da7c2dd-8e2e-469f-a216-c384312e2a2d" providerId="ADAL" clId="{1DC02916-B96B-4A1C-898B-2B470794A648}" dt="2019-01-17T23:41:45.039" v="1870" actId="1076"/>
          <ac:spMkLst>
            <pc:docMk/>
            <pc:sldMk cId="462353666" sldId="4671"/>
            <ac:spMk id="4" creationId="{3FD460F1-8934-4D85-9E6B-F2F97B124D32}"/>
          </ac:spMkLst>
        </pc:spChg>
        <pc:picChg chg="add mod">
          <ac:chgData name="Bob Ward" userId="6da7c2dd-8e2e-469f-a216-c384312e2a2d" providerId="ADAL" clId="{1DC02916-B96B-4A1C-898B-2B470794A648}" dt="2019-01-17T23:41:34.286" v="1866" actId="1076"/>
          <ac:picMkLst>
            <pc:docMk/>
            <pc:sldMk cId="462353666" sldId="4671"/>
            <ac:picMk id="6" creationId="{4368A3B9-4C24-4C0E-AFEA-7DC2DCAEDBAF}"/>
          </ac:picMkLst>
        </pc:picChg>
      </pc:sldChg>
      <pc:sldChg chg="add del">
        <pc:chgData name="Bob Ward" userId="6da7c2dd-8e2e-469f-a216-c384312e2a2d" providerId="ADAL" clId="{1DC02916-B96B-4A1C-898B-2B470794A648}" dt="2019-01-17T22:43:59.506" v="133"/>
        <pc:sldMkLst>
          <pc:docMk/>
          <pc:sldMk cId="831882893" sldId="4671"/>
        </pc:sldMkLst>
      </pc:sldChg>
      <pc:sldChg chg="add del">
        <pc:chgData name="Bob Ward" userId="6da7c2dd-8e2e-469f-a216-c384312e2a2d" providerId="ADAL" clId="{1DC02916-B96B-4A1C-898B-2B470794A648}" dt="2019-01-17T22:45:02.603" v="137"/>
        <pc:sldMkLst>
          <pc:docMk/>
          <pc:sldMk cId="1670984002" sldId="4671"/>
        </pc:sldMkLst>
      </pc:sldChg>
      <pc:sldChg chg="add del">
        <pc:chgData name="Bob Ward" userId="6da7c2dd-8e2e-469f-a216-c384312e2a2d" providerId="ADAL" clId="{1DC02916-B96B-4A1C-898B-2B470794A648}" dt="2019-01-17T22:44:27.106" v="135"/>
        <pc:sldMkLst>
          <pc:docMk/>
          <pc:sldMk cId="3555373367" sldId="4671"/>
        </pc:sldMkLst>
      </pc:sldChg>
      <pc:sldChg chg="modSp add">
        <pc:chgData name="Bob Ward" userId="6da7c2dd-8e2e-469f-a216-c384312e2a2d" providerId="ADAL" clId="{1DC02916-B96B-4A1C-898B-2B470794A648}" dt="2019-01-17T22:53:18.720" v="922" actId="20577"/>
        <pc:sldMkLst>
          <pc:docMk/>
          <pc:sldMk cId="3986034393" sldId="4672"/>
        </pc:sldMkLst>
        <pc:spChg chg="mod">
          <ac:chgData name="Bob Ward" userId="6da7c2dd-8e2e-469f-a216-c384312e2a2d" providerId="ADAL" clId="{1DC02916-B96B-4A1C-898B-2B470794A648}" dt="2019-01-17T22:53:18.720" v="922" actId="20577"/>
          <ac:spMkLst>
            <pc:docMk/>
            <pc:sldMk cId="3986034393" sldId="4672"/>
            <ac:spMk id="2" creationId="{131DE104-D85B-43D4-AC99-58903696A798}"/>
          </ac:spMkLst>
        </pc:spChg>
      </pc:sldChg>
      <pc:sldChg chg="modSp add ord modNotesTx">
        <pc:chgData name="Bob Ward" userId="6da7c2dd-8e2e-469f-a216-c384312e2a2d" providerId="ADAL" clId="{1DC02916-B96B-4A1C-898B-2B470794A648}" dt="2019-01-17T23:29:59.637" v="1657" actId="20577"/>
        <pc:sldMkLst>
          <pc:docMk/>
          <pc:sldMk cId="4126442811" sldId="4673"/>
        </pc:sldMkLst>
        <pc:spChg chg="mod">
          <ac:chgData name="Bob Ward" userId="6da7c2dd-8e2e-469f-a216-c384312e2a2d" providerId="ADAL" clId="{1DC02916-B96B-4A1C-898B-2B470794A648}" dt="2019-01-17T22:55:05.797" v="1022" actId="20577"/>
          <ac:spMkLst>
            <pc:docMk/>
            <pc:sldMk cId="4126442811" sldId="4673"/>
            <ac:spMk id="2" creationId="{131DE104-D85B-43D4-AC99-58903696A798}"/>
          </ac:spMkLst>
        </pc:spChg>
      </pc:sldChg>
      <pc:sldChg chg="modSp add ord">
        <pc:chgData name="Bob Ward" userId="6da7c2dd-8e2e-469f-a216-c384312e2a2d" providerId="ADAL" clId="{1DC02916-B96B-4A1C-898B-2B470794A648}" dt="2019-01-17T22:57:37.829" v="1065" actId="20577"/>
        <pc:sldMkLst>
          <pc:docMk/>
          <pc:sldMk cId="1126219469" sldId="4674"/>
        </pc:sldMkLst>
        <pc:spChg chg="mod">
          <ac:chgData name="Bob Ward" userId="6da7c2dd-8e2e-469f-a216-c384312e2a2d" providerId="ADAL" clId="{1DC02916-B96B-4A1C-898B-2B470794A648}" dt="2019-01-17T22:57:37.829" v="1065" actId="20577"/>
          <ac:spMkLst>
            <pc:docMk/>
            <pc:sldMk cId="1126219469" sldId="4674"/>
            <ac:spMk id="2" creationId="{131DE104-D85B-43D4-AC99-58903696A798}"/>
          </ac:spMkLst>
        </pc:spChg>
      </pc:sldChg>
      <pc:sldChg chg="modSp add ord">
        <pc:chgData name="Bob Ward" userId="6da7c2dd-8e2e-469f-a216-c384312e2a2d" providerId="ADAL" clId="{1DC02916-B96B-4A1C-898B-2B470794A648}" dt="2019-01-17T22:58:15.348" v="1095" actId="20577"/>
        <pc:sldMkLst>
          <pc:docMk/>
          <pc:sldMk cId="1489928992" sldId="4675"/>
        </pc:sldMkLst>
        <pc:spChg chg="mod">
          <ac:chgData name="Bob Ward" userId="6da7c2dd-8e2e-469f-a216-c384312e2a2d" providerId="ADAL" clId="{1DC02916-B96B-4A1C-898B-2B470794A648}" dt="2019-01-17T22:58:15.348" v="1095" actId="20577"/>
          <ac:spMkLst>
            <pc:docMk/>
            <pc:sldMk cId="1489928992" sldId="4675"/>
            <ac:spMk id="2" creationId="{131DE104-D85B-43D4-AC99-58903696A798}"/>
          </ac:spMkLst>
        </pc:spChg>
      </pc:sldChg>
      <pc:sldChg chg="modSp add ord">
        <pc:chgData name="Bob Ward" userId="6da7c2dd-8e2e-469f-a216-c384312e2a2d" providerId="ADAL" clId="{1DC02916-B96B-4A1C-898B-2B470794A648}" dt="2019-01-17T22:58:32.571" v="1144" actId="20577"/>
        <pc:sldMkLst>
          <pc:docMk/>
          <pc:sldMk cId="2723179339" sldId="4676"/>
        </pc:sldMkLst>
        <pc:spChg chg="mod">
          <ac:chgData name="Bob Ward" userId="6da7c2dd-8e2e-469f-a216-c384312e2a2d" providerId="ADAL" clId="{1DC02916-B96B-4A1C-898B-2B470794A648}" dt="2019-01-17T22:58:32.571" v="1144" actId="20577"/>
          <ac:spMkLst>
            <pc:docMk/>
            <pc:sldMk cId="2723179339" sldId="4676"/>
            <ac:spMk id="2" creationId="{131DE104-D85B-43D4-AC99-58903696A798}"/>
          </ac:spMkLst>
        </pc:spChg>
      </pc:sldChg>
      <pc:sldChg chg="modSp add ord">
        <pc:chgData name="Bob Ward" userId="6da7c2dd-8e2e-469f-a216-c384312e2a2d" providerId="ADAL" clId="{1DC02916-B96B-4A1C-898B-2B470794A648}" dt="2019-01-17T22:59:37.029" v="1186" actId="20577"/>
        <pc:sldMkLst>
          <pc:docMk/>
          <pc:sldMk cId="3139904282" sldId="4677"/>
        </pc:sldMkLst>
        <pc:spChg chg="mod">
          <ac:chgData name="Bob Ward" userId="6da7c2dd-8e2e-469f-a216-c384312e2a2d" providerId="ADAL" clId="{1DC02916-B96B-4A1C-898B-2B470794A648}" dt="2019-01-17T22:59:37.029" v="1186" actId="20577"/>
          <ac:spMkLst>
            <pc:docMk/>
            <pc:sldMk cId="3139904282" sldId="4677"/>
            <ac:spMk id="2" creationId="{131DE104-D85B-43D4-AC99-58903696A798}"/>
          </ac:spMkLst>
        </pc:spChg>
      </pc:sldChg>
      <pc:sldChg chg="modSp add ord">
        <pc:chgData name="Bob Ward" userId="6da7c2dd-8e2e-469f-a216-c384312e2a2d" providerId="ADAL" clId="{1DC02916-B96B-4A1C-898B-2B470794A648}" dt="2019-01-17T23:00:23.171" v="1213" actId="20577"/>
        <pc:sldMkLst>
          <pc:docMk/>
          <pc:sldMk cId="2957100619" sldId="4678"/>
        </pc:sldMkLst>
        <pc:spChg chg="mod">
          <ac:chgData name="Bob Ward" userId="6da7c2dd-8e2e-469f-a216-c384312e2a2d" providerId="ADAL" clId="{1DC02916-B96B-4A1C-898B-2B470794A648}" dt="2019-01-17T23:00:23.171" v="1213" actId="20577"/>
          <ac:spMkLst>
            <pc:docMk/>
            <pc:sldMk cId="2957100619" sldId="4678"/>
            <ac:spMk id="2" creationId="{131DE104-D85B-43D4-AC99-58903696A798}"/>
          </ac:spMkLst>
        </pc:spChg>
      </pc:sldChg>
      <pc:sldChg chg="modSp add ord">
        <pc:chgData name="Bob Ward" userId="6da7c2dd-8e2e-469f-a216-c384312e2a2d" providerId="ADAL" clId="{1DC02916-B96B-4A1C-898B-2B470794A648}" dt="2019-01-17T23:04:52.580" v="1276" actId="20577"/>
        <pc:sldMkLst>
          <pc:docMk/>
          <pc:sldMk cId="1195019611" sldId="4679"/>
        </pc:sldMkLst>
        <pc:spChg chg="mod">
          <ac:chgData name="Bob Ward" userId="6da7c2dd-8e2e-469f-a216-c384312e2a2d" providerId="ADAL" clId="{1DC02916-B96B-4A1C-898B-2B470794A648}" dt="2019-01-17T23:04:52.580" v="1276" actId="20577"/>
          <ac:spMkLst>
            <pc:docMk/>
            <pc:sldMk cId="1195019611" sldId="4679"/>
            <ac:spMk id="2" creationId="{131DE104-D85B-43D4-AC99-58903696A798}"/>
          </ac:spMkLst>
        </pc:spChg>
      </pc:sldChg>
      <pc:sldChg chg="modSp add ord modNotesTx">
        <pc:chgData name="Bob Ward" userId="6da7c2dd-8e2e-469f-a216-c384312e2a2d" providerId="ADAL" clId="{1DC02916-B96B-4A1C-898B-2B470794A648}" dt="2019-01-17T23:30:26.430" v="1684" actId="6549"/>
        <pc:sldMkLst>
          <pc:docMk/>
          <pc:sldMk cId="737723831" sldId="4680"/>
        </pc:sldMkLst>
        <pc:spChg chg="mod">
          <ac:chgData name="Bob Ward" userId="6da7c2dd-8e2e-469f-a216-c384312e2a2d" providerId="ADAL" clId="{1DC02916-B96B-4A1C-898B-2B470794A648}" dt="2019-01-17T23:30:16.674" v="1674" actId="20577"/>
          <ac:spMkLst>
            <pc:docMk/>
            <pc:sldMk cId="737723831" sldId="4680"/>
            <ac:spMk id="3" creationId="{00000000-0000-0000-0000-000000000000}"/>
          </ac:spMkLst>
        </pc:spChg>
        <pc:spChg chg="mod">
          <ac:chgData name="Bob Ward" userId="6da7c2dd-8e2e-469f-a216-c384312e2a2d" providerId="ADAL" clId="{1DC02916-B96B-4A1C-898B-2B470794A648}" dt="2019-01-17T23:30:22.062" v="1683" actId="20577"/>
          <ac:spMkLst>
            <pc:docMk/>
            <pc:sldMk cId="737723831" sldId="4680"/>
            <ac:spMk id="4" creationId="{00000000-0000-0000-0000-000000000000}"/>
          </ac:spMkLst>
        </pc:spChg>
      </pc:sldChg>
      <pc:sldChg chg="modSp add ord">
        <pc:chgData name="Bob Ward" userId="6da7c2dd-8e2e-469f-a216-c384312e2a2d" providerId="ADAL" clId="{1DC02916-B96B-4A1C-898B-2B470794A648}" dt="2019-01-17T23:31:05.857" v="1782" actId="20577"/>
        <pc:sldMkLst>
          <pc:docMk/>
          <pc:sldMk cId="3844499360" sldId="4681"/>
        </pc:sldMkLst>
        <pc:spChg chg="mod">
          <ac:chgData name="Bob Ward" userId="6da7c2dd-8e2e-469f-a216-c384312e2a2d" providerId="ADAL" clId="{1DC02916-B96B-4A1C-898B-2B470794A648}" dt="2019-01-17T23:31:05.857" v="1782" actId="20577"/>
          <ac:spMkLst>
            <pc:docMk/>
            <pc:sldMk cId="3844499360" sldId="4681"/>
            <ac:spMk id="3" creationId="{00000000-0000-0000-0000-000000000000}"/>
          </ac:spMkLst>
        </pc:spChg>
      </pc:sldChg>
      <pc:sldChg chg="modSp add ord">
        <pc:chgData name="Bob Ward" userId="6da7c2dd-8e2e-469f-a216-c384312e2a2d" providerId="ADAL" clId="{1DC02916-B96B-4A1C-898B-2B470794A648}" dt="2019-01-17T23:31:46.335" v="1807" actId="20577"/>
        <pc:sldMkLst>
          <pc:docMk/>
          <pc:sldMk cId="1846894708" sldId="4682"/>
        </pc:sldMkLst>
        <pc:spChg chg="mod">
          <ac:chgData name="Bob Ward" userId="6da7c2dd-8e2e-469f-a216-c384312e2a2d" providerId="ADAL" clId="{1DC02916-B96B-4A1C-898B-2B470794A648}" dt="2019-01-17T23:31:43.998" v="1804" actId="20577"/>
          <ac:spMkLst>
            <pc:docMk/>
            <pc:sldMk cId="1846894708" sldId="4682"/>
            <ac:spMk id="3" creationId="{00000000-0000-0000-0000-000000000000}"/>
          </ac:spMkLst>
        </pc:spChg>
        <pc:spChg chg="mod">
          <ac:chgData name="Bob Ward" userId="6da7c2dd-8e2e-469f-a216-c384312e2a2d" providerId="ADAL" clId="{1DC02916-B96B-4A1C-898B-2B470794A648}" dt="2019-01-17T23:31:46.335" v="1807" actId="20577"/>
          <ac:spMkLst>
            <pc:docMk/>
            <pc:sldMk cId="1846894708" sldId="4682"/>
            <ac:spMk id="4" creationId="{00000000-0000-0000-0000-000000000000}"/>
          </ac:spMkLst>
        </pc:spChg>
      </pc:sldChg>
      <pc:sldChg chg="add del ord">
        <pc:chgData name="Bob Ward" userId="6da7c2dd-8e2e-469f-a216-c384312e2a2d" providerId="ADAL" clId="{1DC02916-B96B-4A1C-898B-2B470794A648}" dt="2019-01-17T23:31:14.711" v="1785" actId="2696"/>
        <pc:sldMkLst>
          <pc:docMk/>
          <pc:sldMk cId="3801569778" sldId="4682"/>
        </pc:sldMkLst>
      </pc:sldChg>
      <pc:sldChg chg="modSp add ord">
        <pc:chgData name="Bob Ward" userId="6da7c2dd-8e2e-469f-a216-c384312e2a2d" providerId="ADAL" clId="{1DC02916-B96B-4A1C-898B-2B470794A648}" dt="2019-01-17T23:32:04.204" v="1862" actId="20577"/>
        <pc:sldMkLst>
          <pc:docMk/>
          <pc:sldMk cId="3046267396" sldId="4683"/>
        </pc:sldMkLst>
        <pc:spChg chg="mod">
          <ac:chgData name="Bob Ward" userId="6da7c2dd-8e2e-469f-a216-c384312e2a2d" providerId="ADAL" clId="{1DC02916-B96B-4A1C-898B-2B470794A648}" dt="2019-01-17T23:32:04.204" v="1862" actId="20577"/>
          <ac:spMkLst>
            <pc:docMk/>
            <pc:sldMk cId="3046267396" sldId="4683"/>
            <ac:spMk id="3" creationId="{00000000-0000-0000-0000-000000000000}"/>
          </ac:spMkLst>
        </pc:spChg>
      </pc:sldChg>
    </pc:docChg>
  </pc:docChgLst>
  <pc:docChgLst>
    <pc:chgData name="Bob Ward" userId="6da7c2dd-8e2e-469f-a216-c384312e2a2d" providerId="ADAL" clId="{4A6957CE-BE70-4854-87C8-1BCB29356301}"/>
    <pc:docChg chg="custSel addSld delSld modSld sldOrd delMainMaster modSection">
      <pc:chgData name="Bob Ward" userId="6da7c2dd-8e2e-469f-a216-c384312e2a2d" providerId="ADAL" clId="{4A6957CE-BE70-4854-87C8-1BCB29356301}" dt="2018-11-12T14:13:00.687" v="151"/>
      <pc:docMkLst>
        <pc:docMk/>
      </pc:docMkLst>
      <pc:sldChg chg="del">
        <pc:chgData name="Bob Ward" userId="6da7c2dd-8e2e-469f-a216-c384312e2a2d" providerId="ADAL" clId="{4A6957CE-BE70-4854-87C8-1BCB29356301}" dt="2018-11-11T14:12:56.109" v="46" actId="2696"/>
        <pc:sldMkLst>
          <pc:docMk/>
          <pc:sldMk cId="1167667248" sldId="315"/>
        </pc:sldMkLst>
      </pc:sldChg>
      <pc:sldChg chg="del">
        <pc:chgData name="Bob Ward" userId="6da7c2dd-8e2e-469f-a216-c384312e2a2d" providerId="ADAL" clId="{4A6957CE-BE70-4854-87C8-1BCB29356301}" dt="2018-11-11T14:09:55.630" v="0" actId="2696"/>
        <pc:sldMkLst>
          <pc:docMk/>
          <pc:sldMk cId="1690938764" sldId="321"/>
        </pc:sldMkLst>
      </pc:sldChg>
      <pc:sldChg chg="del">
        <pc:chgData name="Bob Ward" userId="6da7c2dd-8e2e-469f-a216-c384312e2a2d" providerId="ADAL" clId="{4A6957CE-BE70-4854-87C8-1BCB29356301}" dt="2018-11-11T14:12:58.362" v="47" actId="2696"/>
        <pc:sldMkLst>
          <pc:docMk/>
          <pc:sldMk cId="3666506997" sldId="324"/>
        </pc:sldMkLst>
      </pc:sldChg>
      <pc:sldChg chg="addSp modSp">
        <pc:chgData name="Bob Ward" userId="6da7c2dd-8e2e-469f-a216-c384312e2a2d" providerId="ADAL" clId="{4A6957CE-BE70-4854-87C8-1BCB29356301}" dt="2018-11-12T13:55:53.522" v="137" actId="1076"/>
        <pc:sldMkLst>
          <pc:docMk/>
          <pc:sldMk cId="1869999325" sldId="1861"/>
        </pc:sldMkLst>
        <pc:spChg chg="add mod">
          <ac:chgData name="Bob Ward" userId="6da7c2dd-8e2e-469f-a216-c384312e2a2d" providerId="ADAL" clId="{4A6957CE-BE70-4854-87C8-1BCB29356301}" dt="2018-11-12T13:55:53.522" v="137" actId="1076"/>
          <ac:spMkLst>
            <pc:docMk/>
            <pc:sldMk cId="1869999325" sldId="1861"/>
            <ac:spMk id="2" creationId="{AF57CFD1-12DE-4287-8E0D-77F399553290}"/>
          </ac:spMkLst>
        </pc:spChg>
        <pc:spChg chg="mod">
          <ac:chgData name="Bob Ward" userId="6da7c2dd-8e2e-469f-a216-c384312e2a2d" providerId="ADAL" clId="{4A6957CE-BE70-4854-87C8-1BCB29356301}" dt="2018-11-11T14:10:08.413" v="36" actId="20577"/>
          <ac:spMkLst>
            <pc:docMk/>
            <pc:sldMk cId="1869999325" sldId="1861"/>
            <ac:spMk id="6" creationId="{ACBB8B40-F3D1-4331-B430-E127860A693D}"/>
          </ac:spMkLst>
        </pc:spChg>
        <pc:picChg chg="add mod">
          <ac:chgData name="Bob Ward" userId="6da7c2dd-8e2e-469f-a216-c384312e2a2d" providerId="ADAL" clId="{4A6957CE-BE70-4854-87C8-1BCB29356301}" dt="2018-11-11T14:11:10.572" v="40" actId="1076"/>
          <ac:picMkLst>
            <pc:docMk/>
            <pc:sldMk cId="1869999325" sldId="1861"/>
            <ac:picMk id="3" creationId="{ED5AAC40-7D58-4ECC-A011-D234AD62C3F7}"/>
          </ac:picMkLst>
        </pc:picChg>
      </pc:sldChg>
      <pc:sldChg chg="modTransition">
        <pc:chgData name="Bob Ward" userId="6da7c2dd-8e2e-469f-a216-c384312e2a2d" providerId="ADAL" clId="{4A6957CE-BE70-4854-87C8-1BCB29356301}" dt="2018-11-11T14:11:31.806" v="41"/>
        <pc:sldMkLst>
          <pc:docMk/>
          <pc:sldMk cId="445609033" sldId="4351"/>
        </pc:sldMkLst>
      </pc:sldChg>
      <pc:sldChg chg="ord">
        <pc:chgData name="Bob Ward" userId="6da7c2dd-8e2e-469f-a216-c384312e2a2d" providerId="ADAL" clId="{4A6957CE-BE70-4854-87C8-1BCB29356301}" dt="2018-11-12T13:56:00.786" v="138"/>
        <pc:sldMkLst>
          <pc:docMk/>
          <pc:sldMk cId="3766069067" sldId="4360"/>
        </pc:sldMkLst>
      </pc:sldChg>
      <pc:sldChg chg="delSp modSp">
        <pc:chgData name="Bob Ward" userId="6da7c2dd-8e2e-469f-a216-c384312e2a2d" providerId="ADAL" clId="{4A6957CE-BE70-4854-87C8-1BCB29356301}" dt="2018-11-11T14:13:30.246" v="66" actId="1076"/>
        <pc:sldMkLst>
          <pc:docMk/>
          <pc:sldMk cId="276576014" sldId="4367"/>
        </pc:sldMkLst>
        <pc:spChg chg="mod">
          <ac:chgData name="Bob Ward" userId="6da7c2dd-8e2e-469f-a216-c384312e2a2d" providerId="ADAL" clId="{4A6957CE-BE70-4854-87C8-1BCB29356301}" dt="2018-11-11T14:13:18.250" v="64" actId="1076"/>
          <ac:spMkLst>
            <pc:docMk/>
            <pc:sldMk cId="276576014" sldId="4367"/>
            <ac:spMk id="3" creationId="{C0749521-6EDD-4067-B1EC-0DEDEB339E91}"/>
          </ac:spMkLst>
        </pc:spChg>
        <pc:spChg chg="del">
          <ac:chgData name="Bob Ward" userId="6da7c2dd-8e2e-469f-a216-c384312e2a2d" providerId="ADAL" clId="{4A6957CE-BE70-4854-87C8-1BCB29356301}" dt="2018-11-11T14:12:53.655" v="45" actId="478"/>
          <ac:spMkLst>
            <pc:docMk/>
            <pc:sldMk cId="276576014" sldId="4367"/>
            <ac:spMk id="5" creationId="{BCA91216-E90D-424E-84D6-905B2F6C5CA0}"/>
          </ac:spMkLst>
        </pc:spChg>
        <pc:spChg chg="del">
          <ac:chgData name="Bob Ward" userId="6da7c2dd-8e2e-469f-a216-c384312e2a2d" providerId="ADAL" clId="{4A6957CE-BE70-4854-87C8-1BCB29356301}" dt="2018-11-11T14:12:53.655" v="45" actId="478"/>
          <ac:spMkLst>
            <pc:docMk/>
            <pc:sldMk cId="276576014" sldId="4367"/>
            <ac:spMk id="6" creationId="{849F8057-236A-4A49-9642-6F059030EA39}"/>
          </ac:spMkLst>
        </pc:spChg>
        <pc:spChg chg="mod">
          <ac:chgData name="Bob Ward" userId="6da7c2dd-8e2e-469f-a216-c384312e2a2d" providerId="ADAL" clId="{4A6957CE-BE70-4854-87C8-1BCB29356301}" dt="2018-11-11T14:13:18.250" v="64" actId="1076"/>
          <ac:spMkLst>
            <pc:docMk/>
            <pc:sldMk cId="276576014" sldId="4367"/>
            <ac:spMk id="7" creationId="{DB971EA3-9242-4CD2-860D-91D53C7F33FC}"/>
          </ac:spMkLst>
        </pc:spChg>
        <pc:spChg chg="mod">
          <ac:chgData name="Bob Ward" userId="6da7c2dd-8e2e-469f-a216-c384312e2a2d" providerId="ADAL" clId="{4A6957CE-BE70-4854-87C8-1BCB29356301}" dt="2018-11-11T14:13:22.925" v="65" actId="14100"/>
          <ac:spMkLst>
            <pc:docMk/>
            <pc:sldMk cId="276576014" sldId="4367"/>
            <ac:spMk id="9" creationId="{3141DD79-26B4-4ABA-8383-735F107CD87A}"/>
          </ac:spMkLst>
        </pc:spChg>
        <pc:picChg chg="mod">
          <ac:chgData name="Bob Ward" userId="6da7c2dd-8e2e-469f-a216-c384312e2a2d" providerId="ADAL" clId="{4A6957CE-BE70-4854-87C8-1BCB29356301}" dt="2018-11-11T14:13:30.246" v="66" actId="1076"/>
          <ac:picMkLst>
            <pc:docMk/>
            <pc:sldMk cId="276576014" sldId="4367"/>
            <ac:picMk id="8" creationId="{B882A5E8-58C3-46F4-ACAE-7A9B03E459B6}"/>
          </ac:picMkLst>
        </pc:picChg>
      </pc:sldChg>
      <pc:sldChg chg="modSp modTransition">
        <pc:chgData name="Bob Ward" userId="6da7c2dd-8e2e-469f-a216-c384312e2a2d" providerId="ADAL" clId="{4A6957CE-BE70-4854-87C8-1BCB29356301}" dt="2018-11-12T14:13:00.687" v="151"/>
        <pc:sldMkLst>
          <pc:docMk/>
          <pc:sldMk cId="4134612233" sldId="4375"/>
        </pc:sldMkLst>
        <pc:spChg chg="mod">
          <ac:chgData name="Bob Ward" userId="6da7c2dd-8e2e-469f-a216-c384312e2a2d" providerId="ADAL" clId="{4A6957CE-BE70-4854-87C8-1BCB29356301}" dt="2018-11-11T14:12:14.009" v="42" actId="113"/>
          <ac:spMkLst>
            <pc:docMk/>
            <pc:sldMk cId="4134612233" sldId="4375"/>
            <ac:spMk id="6" creationId="{00000000-0000-0000-0000-000000000000}"/>
          </ac:spMkLst>
        </pc:spChg>
      </pc:sldChg>
      <pc:sldChg chg="del modTransition">
        <pc:chgData name="Bob Ward" userId="6da7c2dd-8e2e-469f-a216-c384312e2a2d" providerId="ADAL" clId="{4A6957CE-BE70-4854-87C8-1BCB29356301}" dt="2018-11-12T14:12:16.560" v="143" actId="2696"/>
        <pc:sldMkLst>
          <pc:docMk/>
          <pc:sldMk cId="198936585" sldId="4380"/>
        </pc:sldMkLst>
      </pc:sldChg>
      <pc:sldChg chg="modSp add modAnim">
        <pc:chgData name="Bob Ward" userId="6da7c2dd-8e2e-469f-a216-c384312e2a2d" providerId="ADAL" clId="{4A6957CE-BE70-4854-87C8-1BCB29356301}" dt="2018-11-12T14:12:38.708" v="150"/>
        <pc:sldMkLst>
          <pc:docMk/>
          <pc:sldMk cId="2849558357" sldId="4670"/>
        </pc:sldMkLst>
        <pc:spChg chg="mod">
          <ac:chgData name="Bob Ward" userId="6da7c2dd-8e2e-469f-a216-c384312e2a2d" providerId="ADAL" clId="{4A6957CE-BE70-4854-87C8-1BCB29356301}" dt="2018-11-12T14:12:35.079" v="149" actId="113"/>
          <ac:spMkLst>
            <pc:docMk/>
            <pc:sldMk cId="2849558357" sldId="4670"/>
            <ac:spMk id="6" creationId="{00000000-0000-0000-0000-000000000000}"/>
          </ac:spMkLst>
        </pc:spChg>
      </pc:sldChg>
      <pc:sldMasterChg chg="del delSldLayout">
        <pc:chgData name="Bob Ward" userId="6da7c2dd-8e2e-469f-a216-c384312e2a2d" providerId="ADAL" clId="{4A6957CE-BE70-4854-87C8-1BCB29356301}" dt="2018-11-11T14:12:58.411" v="63" actId="2696"/>
        <pc:sldMasterMkLst>
          <pc:docMk/>
          <pc:sldMasterMk cId="2150920890" sldId="2147484729"/>
        </pc:sldMasterMkLst>
        <pc:sldLayoutChg chg="del">
          <pc:chgData name="Bob Ward" userId="6da7c2dd-8e2e-469f-a216-c384312e2a2d" providerId="ADAL" clId="{4A6957CE-BE70-4854-87C8-1BCB29356301}" dt="2018-11-11T14:12:58.365" v="48" actId="2696"/>
          <pc:sldLayoutMkLst>
            <pc:docMk/>
            <pc:sldMasterMk cId="2150920890" sldId="2147484729"/>
            <pc:sldLayoutMk cId="2513192858" sldId="2147484730"/>
          </pc:sldLayoutMkLst>
        </pc:sldLayoutChg>
        <pc:sldLayoutChg chg="del">
          <pc:chgData name="Bob Ward" userId="6da7c2dd-8e2e-469f-a216-c384312e2a2d" providerId="ADAL" clId="{4A6957CE-BE70-4854-87C8-1BCB29356301}" dt="2018-11-11T14:12:58.368" v="49" actId="2696"/>
          <pc:sldLayoutMkLst>
            <pc:docMk/>
            <pc:sldMasterMk cId="2150920890" sldId="2147484729"/>
            <pc:sldLayoutMk cId="1877320617" sldId="2147484731"/>
          </pc:sldLayoutMkLst>
        </pc:sldLayoutChg>
        <pc:sldLayoutChg chg="del">
          <pc:chgData name="Bob Ward" userId="6da7c2dd-8e2e-469f-a216-c384312e2a2d" providerId="ADAL" clId="{4A6957CE-BE70-4854-87C8-1BCB29356301}" dt="2018-11-11T14:12:58.372" v="50" actId="2696"/>
          <pc:sldLayoutMkLst>
            <pc:docMk/>
            <pc:sldMasterMk cId="2150920890" sldId="2147484729"/>
            <pc:sldLayoutMk cId="2343758983" sldId="2147484732"/>
          </pc:sldLayoutMkLst>
        </pc:sldLayoutChg>
        <pc:sldLayoutChg chg="del">
          <pc:chgData name="Bob Ward" userId="6da7c2dd-8e2e-469f-a216-c384312e2a2d" providerId="ADAL" clId="{4A6957CE-BE70-4854-87C8-1BCB29356301}" dt="2018-11-11T14:12:58.373" v="51" actId="2696"/>
          <pc:sldLayoutMkLst>
            <pc:docMk/>
            <pc:sldMasterMk cId="2150920890" sldId="2147484729"/>
            <pc:sldLayoutMk cId="1834650513" sldId="2147484733"/>
          </pc:sldLayoutMkLst>
        </pc:sldLayoutChg>
        <pc:sldLayoutChg chg="del">
          <pc:chgData name="Bob Ward" userId="6da7c2dd-8e2e-469f-a216-c384312e2a2d" providerId="ADAL" clId="{4A6957CE-BE70-4854-87C8-1BCB29356301}" dt="2018-11-11T14:12:58.376" v="52" actId="2696"/>
          <pc:sldLayoutMkLst>
            <pc:docMk/>
            <pc:sldMasterMk cId="2150920890" sldId="2147484729"/>
            <pc:sldLayoutMk cId="3653261629" sldId="2147484734"/>
          </pc:sldLayoutMkLst>
        </pc:sldLayoutChg>
        <pc:sldLayoutChg chg="del">
          <pc:chgData name="Bob Ward" userId="6da7c2dd-8e2e-469f-a216-c384312e2a2d" providerId="ADAL" clId="{4A6957CE-BE70-4854-87C8-1BCB29356301}" dt="2018-11-11T14:12:58.379" v="53" actId="2696"/>
          <pc:sldLayoutMkLst>
            <pc:docMk/>
            <pc:sldMasterMk cId="2150920890" sldId="2147484729"/>
            <pc:sldLayoutMk cId="3227250680" sldId="2147484735"/>
          </pc:sldLayoutMkLst>
        </pc:sldLayoutChg>
        <pc:sldLayoutChg chg="del">
          <pc:chgData name="Bob Ward" userId="6da7c2dd-8e2e-469f-a216-c384312e2a2d" providerId="ADAL" clId="{4A6957CE-BE70-4854-87C8-1BCB29356301}" dt="2018-11-11T14:12:58.381" v="54" actId="2696"/>
          <pc:sldLayoutMkLst>
            <pc:docMk/>
            <pc:sldMasterMk cId="2150920890" sldId="2147484729"/>
            <pc:sldLayoutMk cId="2064895503" sldId="2147484736"/>
          </pc:sldLayoutMkLst>
        </pc:sldLayoutChg>
        <pc:sldLayoutChg chg="del">
          <pc:chgData name="Bob Ward" userId="6da7c2dd-8e2e-469f-a216-c384312e2a2d" providerId="ADAL" clId="{4A6957CE-BE70-4854-87C8-1BCB29356301}" dt="2018-11-11T14:12:58.384" v="55" actId="2696"/>
          <pc:sldLayoutMkLst>
            <pc:docMk/>
            <pc:sldMasterMk cId="2150920890" sldId="2147484729"/>
            <pc:sldLayoutMk cId="3740811278" sldId="2147484737"/>
          </pc:sldLayoutMkLst>
        </pc:sldLayoutChg>
        <pc:sldLayoutChg chg="del">
          <pc:chgData name="Bob Ward" userId="6da7c2dd-8e2e-469f-a216-c384312e2a2d" providerId="ADAL" clId="{4A6957CE-BE70-4854-87C8-1BCB29356301}" dt="2018-11-11T14:12:58.388" v="56" actId="2696"/>
          <pc:sldLayoutMkLst>
            <pc:docMk/>
            <pc:sldMasterMk cId="2150920890" sldId="2147484729"/>
            <pc:sldLayoutMk cId="1864187502" sldId="2147484738"/>
          </pc:sldLayoutMkLst>
        </pc:sldLayoutChg>
        <pc:sldLayoutChg chg="del">
          <pc:chgData name="Bob Ward" userId="6da7c2dd-8e2e-469f-a216-c384312e2a2d" providerId="ADAL" clId="{4A6957CE-BE70-4854-87C8-1BCB29356301}" dt="2018-11-11T14:12:58.390" v="57" actId="2696"/>
          <pc:sldLayoutMkLst>
            <pc:docMk/>
            <pc:sldMasterMk cId="2150920890" sldId="2147484729"/>
            <pc:sldLayoutMk cId="1637440357" sldId="2147484739"/>
          </pc:sldLayoutMkLst>
        </pc:sldLayoutChg>
        <pc:sldLayoutChg chg="del">
          <pc:chgData name="Bob Ward" userId="6da7c2dd-8e2e-469f-a216-c384312e2a2d" providerId="ADAL" clId="{4A6957CE-BE70-4854-87C8-1BCB29356301}" dt="2018-11-11T14:12:58.392" v="58" actId="2696"/>
          <pc:sldLayoutMkLst>
            <pc:docMk/>
            <pc:sldMasterMk cId="2150920890" sldId="2147484729"/>
            <pc:sldLayoutMk cId="1406901259" sldId="2147484740"/>
          </pc:sldLayoutMkLst>
        </pc:sldLayoutChg>
        <pc:sldLayoutChg chg="del">
          <pc:chgData name="Bob Ward" userId="6da7c2dd-8e2e-469f-a216-c384312e2a2d" providerId="ADAL" clId="{4A6957CE-BE70-4854-87C8-1BCB29356301}" dt="2018-11-11T14:12:58.394" v="59" actId="2696"/>
          <pc:sldLayoutMkLst>
            <pc:docMk/>
            <pc:sldMasterMk cId="2150920890" sldId="2147484729"/>
            <pc:sldLayoutMk cId="3321501675" sldId="2147484741"/>
          </pc:sldLayoutMkLst>
        </pc:sldLayoutChg>
        <pc:sldLayoutChg chg="del">
          <pc:chgData name="Bob Ward" userId="6da7c2dd-8e2e-469f-a216-c384312e2a2d" providerId="ADAL" clId="{4A6957CE-BE70-4854-87C8-1BCB29356301}" dt="2018-11-11T14:12:58.398" v="60" actId="2696"/>
          <pc:sldLayoutMkLst>
            <pc:docMk/>
            <pc:sldMasterMk cId="2150920890" sldId="2147484729"/>
            <pc:sldLayoutMk cId="4120117284" sldId="2147484742"/>
          </pc:sldLayoutMkLst>
        </pc:sldLayoutChg>
        <pc:sldLayoutChg chg="del">
          <pc:chgData name="Bob Ward" userId="6da7c2dd-8e2e-469f-a216-c384312e2a2d" providerId="ADAL" clId="{4A6957CE-BE70-4854-87C8-1BCB29356301}" dt="2018-11-11T14:12:58.402" v="61" actId="2696"/>
          <pc:sldLayoutMkLst>
            <pc:docMk/>
            <pc:sldMasterMk cId="2150920890" sldId="2147484729"/>
            <pc:sldLayoutMk cId="848861870" sldId="2147484743"/>
          </pc:sldLayoutMkLst>
        </pc:sldLayoutChg>
        <pc:sldLayoutChg chg="del">
          <pc:chgData name="Bob Ward" userId="6da7c2dd-8e2e-469f-a216-c384312e2a2d" providerId="ADAL" clId="{4A6957CE-BE70-4854-87C8-1BCB29356301}" dt="2018-11-11T14:12:58.408" v="62" actId="2696"/>
          <pc:sldLayoutMkLst>
            <pc:docMk/>
            <pc:sldMasterMk cId="2150920890" sldId="2147484729"/>
            <pc:sldLayoutMk cId="2603942188" sldId="2147484744"/>
          </pc:sldLayoutMkLst>
        </pc:sldLayoutChg>
      </pc:sldMasterChg>
    </pc:docChg>
  </pc:docChgLst>
  <pc:docChgLst>
    <pc:chgData name="Bob Ward" userId="6da7c2dd-8e2e-469f-a216-c384312e2a2d" providerId="ADAL" clId="{FBE8B008-2EB3-425E-BFC2-BF50521ECA05}"/>
    <pc:docChg chg="modSld">
      <pc:chgData name="Bob Ward" userId="6da7c2dd-8e2e-469f-a216-c384312e2a2d" providerId="ADAL" clId="{FBE8B008-2EB3-425E-BFC2-BF50521ECA05}" dt="2018-09-24T14:55:45.804" v="13" actId="20577"/>
      <pc:docMkLst>
        <pc:docMk/>
      </pc:docMkLst>
      <pc:sldChg chg="modNotesTx">
        <pc:chgData name="Bob Ward" userId="6da7c2dd-8e2e-469f-a216-c384312e2a2d" providerId="ADAL" clId="{FBE8B008-2EB3-425E-BFC2-BF50521ECA05}" dt="2018-09-24T14:55:45.804" v="13" actId="20577"/>
        <pc:sldMkLst>
          <pc:docMk/>
          <pc:sldMk cId="3360446397" sldId="4369"/>
        </pc:sldMkLst>
      </pc:sldChg>
    </pc:docChg>
  </pc:docChgLst>
  <pc:docChgLst>
    <pc:chgData name="Bob Ward" userId="6da7c2dd-8e2e-469f-a216-c384312e2a2d" providerId="ADAL" clId="{CF9A90AB-B499-4FDE-A924-DF9BEF63B8DF}"/>
    <pc:docChg chg="undo custSel addSld delSld modSld sldOrd">
      <pc:chgData name="Bob Ward" userId="6da7c2dd-8e2e-469f-a216-c384312e2a2d" providerId="ADAL" clId="{CF9A90AB-B499-4FDE-A924-DF9BEF63B8DF}" dt="2019-01-03T14:31:56.614" v="278"/>
      <pc:docMkLst>
        <pc:docMk/>
      </pc:docMkLst>
      <pc:sldChg chg="addSp delSp modSp modTransition">
        <pc:chgData name="Bob Ward" userId="6da7c2dd-8e2e-469f-a216-c384312e2a2d" providerId="ADAL" clId="{CF9A90AB-B499-4FDE-A924-DF9BEF63B8DF}" dt="2018-12-06T21:37:21.243" v="276" actId="1076"/>
        <pc:sldMkLst>
          <pc:docMk/>
          <pc:sldMk cId="1869999325" sldId="1861"/>
        </pc:sldMkLst>
        <pc:spChg chg="add mod">
          <ac:chgData name="Bob Ward" userId="6da7c2dd-8e2e-469f-a216-c384312e2a2d" providerId="ADAL" clId="{CF9A90AB-B499-4FDE-A924-DF9BEF63B8DF}" dt="2018-12-06T21:37:21.243" v="276" actId="1076"/>
          <ac:spMkLst>
            <pc:docMk/>
            <pc:sldMk cId="1869999325" sldId="1861"/>
            <ac:spMk id="3" creationId="{2E64FF85-A4F0-446F-8EFE-A2BE02881491}"/>
          </ac:spMkLst>
        </pc:spChg>
        <pc:picChg chg="del">
          <ac:chgData name="Bob Ward" userId="6da7c2dd-8e2e-469f-a216-c384312e2a2d" providerId="ADAL" clId="{CF9A90AB-B499-4FDE-A924-DF9BEF63B8DF}" dt="2018-11-27T16:55:50.748" v="0" actId="478"/>
          <ac:picMkLst>
            <pc:docMk/>
            <pc:sldMk cId="1869999325" sldId="1861"/>
            <ac:picMk id="3" creationId="{ED5AAC40-7D58-4ECC-A011-D234AD62C3F7}"/>
          </ac:picMkLst>
        </pc:picChg>
      </pc:sldChg>
      <pc:sldChg chg="modSp modTransition modNotesTx">
        <pc:chgData name="Bob Ward" userId="6da7c2dd-8e2e-469f-a216-c384312e2a2d" providerId="ADAL" clId="{CF9A90AB-B499-4FDE-A924-DF9BEF63B8DF}" dt="2019-01-03T14:31:46.924" v="277"/>
        <pc:sldMkLst>
          <pc:docMk/>
          <pc:sldMk cId="445609033" sldId="4351"/>
        </pc:sldMkLst>
        <pc:spChg chg="mod">
          <ac:chgData name="Bob Ward" userId="6da7c2dd-8e2e-469f-a216-c384312e2a2d" providerId="ADAL" clId="{CF9A90AB-B499-4FDE-A924-DF9BEF63B8DF}" dt="2018-11-29T01:43:42.756" v="107" actId="20577"/>
          <ac:spMkLst>
            <pc:docMk/>
            <pc:sldMk cId="445609033" sldId="4351"/>
            <ac:spMk id="4" creationId="{19845D98-2CE9-45E6-9AA5-7DA5B4AF1C6D}"/>
          </ac:spMkLst>
        </pc:spChg>
      </pc:sldChg>
      <pc:sldChg chg="modSp modTransition">
        <pc:chgData name="Bob Ward" userId="6da7c2dd-8e2e-469f-a216-c384312e2a2d" providerId="ADAL" clId="{CF9A90AB-B499-4FDE-A924-DF9BEF63B8DF}" dt="2019-01-03T14:31:56.614" v="278"/>
        <pc:sldMkLst>
          <pc:docMk/>
          <pc:sldMk cId="3580746693" sldId="4357"/>
        </pc:sldMkLst>
        <pc:spChg chg="mod">
          <ac:chgData name="Bob Ward" userId="6da7c2dd-8e2e-469f-a216-c384312e2a2d" providerId="ADAL" clId="{CF9A90AB-B499-4FDE-A924-DF9BEF63B8DF}" dt="2018-11-29T01:44:06.052" v="187" actId="20577"/>
          <ac:spMkLst>
            <pc:docMk/>
            <pc:sldMk cId="3580746693" sldId="4357"/>
            <ac:spMk id="4" creationId="{00000000-0000-0000-0000-000000000000}"/>
          </ac:spMkLst>
        </pc:spChg>
      </pc:sldChg>
      <pc:sldChg chg="addSp delSp modSp ord">
        <pc:chgData name="Bob Ward" userId="6da7c2dd-8e2e-469f-a216-c384312e2a2d" providerId="ADAL" clId="{CF9A90AB-B499-4FDE-A924-DF9BEF63B8DF}" dt="2018-12-06T21:10:18.309" v="229"/>
        <pc:sldMkLst>
          <pc:docMk/>
          <pc:sldMk cId="3721142759" sldId="4359"/>
        </pc:sldMkLst>
        <pc:spChg chg="add mod">
          <ac:chgData name="Bob Ward" userId="6da7c2dd-8e2e-469f-a216-c384312e2a2d" providerId="ADAL" clId="{CF9A90AB-B499-4FDE-A924-DF9BEF63B8DF}" dt="2018-12-06T21:10:11.293" v="228" actId="11529"/>
          <ac:spMkLst>
            <pc:docMk/>
            <pc:sldMk cId="3721142759" sldId="4359"/>
            <ac:spMk id="6" creationId="{A23D6328-E77C-45FB-A4D9-078BEA2F5558}"/>
          </ac:spMkLst>
        </pc:spChg>
        <pc:spChg chg="add">
          <ac:chgData name="Bob Ward" userId="6da7c2dd-8e2e-469f-a216-c384312e2a2d" providerId="ADAL" clId="{CF9A90AB-B499-4FDE-A924-DF9BEF63B8DF}" dt="2018-12-06T21:10:18.309" v="229"/>
          <ac:spMkLst>
            <pc:docMk/>
            <pc:sldMk cId="3721142759" sldId="4359"/>
            <ac:spMk id="8" creationId="{C626E821-554F-41E9-859E-8E058436B065}"/>
          </ac:spMkLst>
        </pc:spChg>
        <pc:graphicFrameChg chg="add del mod">
          <ac:chgData name="Bob Ward" userId="6da7c2dd-8e2e-469f-a216-c384312e2a2d" providerId="ADAL" clId="{CF9A90AB-B499-4FDE-A924-DF9BEF63B8DF}" dt="2018-12-06T21:09:59.137" v="227" actId="1032"/>
          <ac:graphicFrameMkLst>
            <pc:docMk/>
            <pc:sldMk cId="3721142759" sldId="4359"/>
            <ac:graphicFrameMk id="5" creationId="{068F0089-8922-4F8F-A958-3D4E99B76F76}"/>
          </ac:graphicFrameMkLst>
        </pc:graphicFrameChg>
      </pc:sldChg>
      <pc:sldChg chg="modSp modAnim">
        <pc:chgData name="Bob Ward" userId="6da7c2dd-8e2e-469f-a216-c384312e2a2d" providerId="ADAL" clId="{CF9A90AB-B499-4FDE-A924-DF9BEF63B8DF}" dt="2018-11-27T17:01:30.240" v="69"/>
        <pc:sldMkLst>
          <pc:docMk/>
          <pc:sldMk cId="3454480862" sldId="4361"/>
        </pc:sldMkLst>
        <pc:spChg chg="mod">
          <ac:chgData name="Bob Ward" userId="6da7c2dd-8e2e-469f-a216-c384312e2a2d" providerId="ADAL" clId="{CF9A90AB-B499-4FDE-A924-DF9BEF63B8DF}" dt="2018-11-27T16:56:19.525" v="37" actId="20577"/>
          <ac:spMkLst>
            <pc:docMk/>
            <pc:sldMk cId="3454480862" sldId="4361"/>
            <ac:spMk id="2" creationId="{D0E37A8B-817C-4BAF-97EA-57F6E0E697E8}"/>
          </ac:spMkLst>
        </pc:spChg>
        <pc:spChg chg="mod">
          <ac:chgData name="Bob Ward" userId="6da7c2dd-8e2e-469f-a216-c384312e2a2d" providerId="ADAL" clId="{CF9A90AB-B499-4FDE-A924-DF9BEF63B8DF}" dt="2018-11-27T17:00:47.554" v="68" actId="20577"/>
          <ac:spMkLst>
            <pc:docMk/>
            <pc:sldMk cId="3454480862" sldId="4361"/>
            <ac:spMk id="3" creationId="{7B2A7C7E-7B3C-4E4F-9853-16303F557B12}"/>
          </ac:spMkLst>
        </pc:spChg>
      </pc:sldChg>
      <pc:sldChg chg="modTransition">
        <pc:chgData name="Bob Ward" userId="6da7c2dd-8e2e-469f-a216-c384312e2a2d" providerId="ADAL" clId="{CF9A90AB-B499-4FDE-A924-DF9BEF63B8DF}" dt="2018-12-05T23:57:09.985" v="220"/>
        <pc:sldMkLst>
          <pc:docMk/>
          <pc:sldMk cId="2497121907" sldId="4363"/>
        </pc:sldMkLst>
      </pc:sldChg>
      <pc:sldChg chg="addSp">
        <pc:chgData name="Bob Ward" userId="6da7c2dd-8e2e-469f-a216-c384312e2a2d" providerId="ADAL" clId="{CF9A90AB-B499-4FDE-A924-DF9BEF63B8DF}" dt="2018-12-06T00:01:40.765" v="223"/>
        <pc:sldMkLst>
          <pc:docMk/>
          <pc:sldMk cId="276576014" sldId="4367"/>
        </pc:sldMkLst>
        <pc:spChg chg="add">
          <ac:chgData name="Bob Ward" userId="6da7c2dd-8e2e-469f-a216-c384312e2a2d" providerId="ADAL" clId="{CF9A90AB-B499-4FDE-A924-DF9BEF63B8DF}" dt="2018-12-06T00:01:40.765" v="223"/>
          <ac:spMkLst>
            <pc:docMk/>
            <pc:sldMk cId="276576014" sldId="4367"/>
            <ac:spMk id="10" creationId="{3F0FF318-DC7F-48E5-A671-424D48FC4818}"/>
          </ac:spMkLst>
        </pc:spChg>
      </pc:sldChg>
      <pc:sldChg chg="modTransition">
        <pc:chgData name="Bob Ward" userId="6da7c2dd-8e2e-469f-a216-c384312e2a2d" providerId="ADAL" clId="{CF9A90AB-B499-4FDE-A924-DF9BEF63B8DF}" dt="2018-12-06T00:03:55.845" v="225"/>
        <pc:sldMkLst>
          <pc:docMk/>
          <pc:sldMk cId="1236760568" sldId="4669"/>
        </pc:sldMkLst>
      </pc:sldChg>
      <pc:sldChg chg="modSp">
        <pc:chgData name="Bob Ward" userId="6da7c2dd-8e2e-469f-a216-c384312e2a2d" providerId="ADAL" clId="{CF9A90AB-B499-4FDE-A924-DF9BEF63B8DF}" dt="2018-12-06T00:00:05.182" v="221" actId="2711"/>
        <pc:sldMkLst>
          <pc:docMk/>
          <pc:sldMk cId="2849558357" sldId="4670"/>
        </pc:sldMkLst>
        <pc:spChg chg="mod">
          <ac:chgData name="Bob Ward" userId="6da7c2dd-8e2e-469f-a216-c384312e2a2d" providerId="ADAL" clId="{CF9A90AB-B499-4FDE-A924-DF9BEF63B8DF}" dt="2018-12-06T00:00:05.182" v="221" actId="2711"/>
          <ac:spMkLst>
            <pc:docMk/>
            <pc:sldMk cId="2849558357" sldId="4670"/>
            <ac:spMk id="6" creationId="{00000000-0000-0000-0000-000000000000}"/>
          </ac:spMkLst>
        </pc:spChg>
      </pc:sldChg>
      <pc:sldChg chg="add del ord">
        <pc:chgData name="Bob Ward" userId="6da7c2dd-8e2e-469f-a216-c384312e2a2d" providerId="ADAL" clId="{CF9A90AB-B499-4FDE-A924-DF9BEF63B8DF}" dt="2018-11-29T01:43:20.044" v="73"/>
        <pc:sldMkLst>
          <pc:docMk/>
          <pc:sldMk cId="793228388" sldId="4671"/>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dk1" tx1="lt1" bg2="dk2" tx2="lt2" accent1="accent1" accent2="accent2" accent3="accent3" accent4="accent4" accent5="accent5" accent6="accent6" hlink="hlink" folHlink="folHlink"/>
  <c:chart>
    <c:autoTitleDeleted val="1"/>
    <c:plotArea>
      <c:layout>
        <c:manualLayout>
          <c:layoutTarget val="inner"/>
          <c:xMode val="edge"/>
          <c:yMode val="edge"/>
          <c:x val="0.27676944270985598"/>
          <c:y val="3.9964695040431965E-2"/>
          <c:w val="0.65969385040175499"/>
          <c:h val="0.71895286676642545"/>
        </c:manualLayout>
      </c:layout>
      <c:barChart>
        <c:barDir val="col"/>
        <c:grouping val="clustered"/>
        <c:varyColors val="0"/>
        <c:ser>
          <c:idx val="0"/>
          <c:order val="0"/>
          <c:tx>
            <c:strRef>
              <c:f>Sheet1!$B$1</c:f>
              <c:strCache>
                <c:ptCount val="1"/>
                <c:pt idx="0">
                  <c:v>SQL Server</c:v>
                </c:pt>
              </c:strCache>
            </c:strRef>
          </c:tx>
          <c:spPr>
            <a:solidFill>
              <a:schemeClr val="accent1"/>
            </a:solidFill>
            <a:ln>
              <a:noFill/>
            </a:ln>
            <a:effectLst/>
          </c:spPr>
          <c:invertIfNegative val="0"/>
          <c:dPt>
            <c:idx val="0"/>
            <c:invertIfNegative val="0"/>
            <c:bubble3D val="0"/>
            <c:spPr>
              <a:solidFill>
                <a:srgbClr val="50E6FF"/>
              </a:solidFill>
              <a:ln>
                <a:noFill/>
              </a:ln>
              <a:effectLst/>
            </c:spPr>
            <c:extLst>
              <c:ext xmlns:c16="http://schemas.microsoft.com/office/drawing/2014/chart" uri="{C3380CC4-5D6E-409C-BE32-E72D297353CC}">
                <c16:uniqueId val="{00000001-9EFD-4D7C-8B1D-379395958C18}"/>
              </c:ext>
            </c:extLst>
          </c:dPt>
          <c:dPt>
            <c:idx val="1"/>
            <c:invertIfNegative val="0"/>
            <c:bubble3D val="0"/>
            <c:spPr>
              <a:solidFill>
                <a:srgbClr val="0078D7"/>
              </a:solidFill>
              <a:ln>
                <a:noFill/>
              </a:ln>
              <a:effectLst/>
            </c:spPr>
            <c:extLst>
              <c:ext xmlns:c16="http://schemas.microsoft.com/office/drawing/2014/chart" uri="{C3380CC4-5D6E-409C-BE32-E72D297353CC}">
                <c16:uniqueId val="{00000003-9EFD-4D7C-8B1D-379395958C18}"/>
              </c:ext>
            </c:extLst>
          </c:dPt>
          <c:dPt>
            <c:idx val="2"/>
            <c:invertIfNegative val="0"/>
            <c:bubble3D val="0"/>
            <c:spPr>
              <a:solidFill>
                <a:srgbClr val="0078D7"/>
              </a:solidFill>
              <a:ln>
                <a:noFill/>
              </a:ln>
              <a:effectLst/>
            </c:spPr>
            <c:extLst>
              <c:ext xmlns:c16="http://schemas.microsoft.com/office/drawing/2014/chart" uri="{C3380CC4-5D6E-409C-BE32-E72D297353CC}">
                <c16:uniqueId val="{00000005-9EFD-4D7C-8B1D-379395958C18}"/>
              </c:ext>
            </c:extLst>
          </c:dPt>
          <c:dPt>
            <c:idx val="3"/>
            <c:invertIfNegative val="0"/>
            <c:bubble3D val="0"/>
            <c:spPr>
              <a:solidFill>
                <a:srgbClr val="0078D7"/>
              </a:solidFill>
              <a:ln>
                <a:noFill/>
              </a:ln>
              <a:effectLst/>
            </c:spPr>
            <c:extLst>
              <c:ext xmlns:c16="http://schemas.microsoft.com/office/drawing/2014/chart" uri="{C3380CC4-5D6E-409C-BE32-E72D297353CC}">
                <c16:uniqueId val="{00000007-9EFD-4D7C-8B1D-379395958C18}"/>
              </c:ext>
            </c:extLst>
          </c:dPt>
          <c:dPt>
            <c:idx val="4"/>
            <c:invertIfNegative val="0"/>
            <c:bubble3D val="0"/>
            <c:spPr>
              <a:solidFill>
                <a:srgbClr val="0078D7"/>
              </a:solidFill>
              <a:ln>
                <a:noFill/>
              </a:ln>
              <a:effectLst/>
            </c:spPr>
            <c:extLst>
              <c:ext xmlns:c16="http://schemas.microsoft.com/office/drawing/2014/chart" uri="{C3380CC4-5D6E-409C-BE32-E72D297353CC}">
                <c16:uniqueId val="{00000009-9EFD-4D7C-8B1D-379395958C18}"/>
              </c:ext>
            </c:extLst>
          </c:dPt>
          <c:dPt>
            <c:idx val="5"/>
            <c:invertIfNegative val="0"/>
            <c:bubble3D val="0"/>
            <c:spPr>
              <a:solidFill>
                <a:srgbClr val="0078D7"/>
              </a:solidFill>
              <a:ln>
                <a:noFill/>
              </a:ln>
              <a:effectLst/>
            </c:spPr>
            <c:extLst>
              <c:ext xmlns:c16="http://schemas.microsoft.com/office/drawing/2014/chart" uri="{C3380CC4-5D6E-409C-BE32-E72D297353CC}">
                <c16:uniqueId val="{0000000B-9EFD-4D7C-8B1D-379395958C18}"/>
              </c:ext>
            </c:extLst>
          </c:dPt>
          <c:cat>
            <c:strRef>
              <c:f>Sheet1!$A$2:$A$7</c:f>
              <c:strCache>
                <c:ptCount val="6"/>
                <c:pt idx="0">
                  <c:v>SQL Server</c:v>
                </c:pt>
                <c:pt idx="1">
                  <c:v>MySQL</c:v>
                </c:pt>
                <c:pt idx="2">
                  <c:v>Oracle</c:v>
                </c:pt>
                <c:pt idx="3">
                  <c:v>IBM DB2</c:v>
                </c:pt>
                <c:pt idx="4">
                  <c:v>PostgreSQL</c:v>
                </c:pt>
                <c:pt idx="5">
                  <c:v>SAP HANA</c:v>
                </c:pt>
              </c:strCache>
            </c:strRef>
          </c:cat>
          <c:val>
            <c:numRef>
              <c:f>Sheet1!$B$2:$B$7</c:f>
              <c:numCache>
                <c:formatCode>General</c:formatCode>
                <c:ptCount val="6"/>
                <c:pt idx="0">
                  <c:v>16</c:v>
                </c:pt>
                <c:pt idx="1">
                  <c:v>393</c:v>
                </c:pt>
                <c:pt idx="2">
                  <c:v>200</c:v>
                </c:pt>
                <c:pt idx="3">
                  <c:v>61</c:v>
                </c:pt>
                <c:pt idx="4">
                  <c:v>43</c:v>
                </c:pt>
                <c:pt idx="5">
                  <c:v>29</c:v>
                </c:pt>
              </c:numCache>
            </c:numRef>
          </c:val>
          <c:extLst>
            <c:ext xmlns:c16="http://schemas.microsoft.com/office/drawing/2014/chart" uri="{C3380CC4-5D6E-409C-BE32-E72D297353CC}">
              <c16:uniqueId val="{0000000C-9EFD-4D7C-8B1D-379395958C18}"/>
            </c:ext>
          </c:extLst>
        </c:ser>
        <c:dLbls>
          <c:showLegendKey val="0"/>
          <c:showVal val="0"/>
          <c:showCatName val="0"/>
          <c:showSerName val="0"/>
          <c:showPercent val="0"/>
          <c:showBubbleSize val="0"/>
        </c:dLbls>
        <c:gapWidth val="219"/>
        <c:overlap val="-27"/>
        <c:axId val="-1585982592"/>
        <c:axId val="-1714280784"/>
      </c:barChart>
      <c:catAx>
        <c:axId val="-1585982592"/>
        <c:scaling>
          <c:orientation val="minMax"/>
        </c:scaling>
        <c:delete val="0"/>
        <c:axPos val="b"/>
        <c:numFmt formatCode="General" sourceLinked="1"/>
        <c:majorTickMark val="none"/>
        <c:minorTickMark val="none"/>
        <c:tickLblPos val="nextTo"/>
        <c:spPr>
          <a:noFill/>
          <a:ln w="9525" cap="flat" cmpd="sng" algn="ctr">
            <a:solidFill>
              <a:srgbClr val="EBEBEB"/>
            </a:solidFill>
            <a:round/>
          </a:ln>
          <a:effectLst/>
        </c:spPr>
        <c:txPr>
          <a:bodyPr rot="-60000000" spcFirstLastPara="1" vertOverflow="ellipsis" vert="horz" wrap="square" anchor="ctr" anchorCtr="1"/>
          <a:lstStyle/>
          <a:p>
            <a:pPr>
              <a:defRPr sz="700" b="0" i="0" u="none" strike="noStrike" kern="1200" spc="0" baseline="0">
                <a:solidFill>
                  <a:srgbClr val="000000"/>
                </a:solidFill>
                <a:latin typeface="Segoe UI" panose="020B0502040204020203" pitchFamily="34" charset="0"/>
                <a:ea typeface="+mn-ea"/>
                <a:cs typeface="Segoe UI" panose="020B0502040204020203" pitchFamily="34" charset="0"/>
              </a:defRPr>
            </a:pPr>
            <a:endParaRPr lang="en-US"/>
          </a:p>
        </c:txPr>
        <c:crossAx val="-1714280784"/>
        <c:crosses val="autoZero"/>
        <c:auto val="1"/>
        <c:lblAlgn val="ctr"/>
        <c:lblOffset val="100"/>
        <c:noMultiLvlLbl val="0"/>
      </c:catAx>
      <c:valAx>
        <c:axId val="-1714280784"/>
        <c:scaling>
          <c:orientation val="minMax"/>
          <c:max val="205"/>
          <c:min val="0"/>
        </c:scaling>
        <c:delete val="0"/>
        <c:axPos val="l"/>
        <c:majorGridlines>
          <c:spPr>
            <a:ln w="9525" cap="flat" cmpd="sng" algn="ctr">
              <a:solidFill>
                <a:srgbClr val="EBEBEB"/>
              </a:solidFill>
              <a:round/>
            </a:ln>
            <a:effectLst/>
          </c:spPr>
        </c:majorGridlines>
        <c:title>
          <c:tx>
            <c:rich>
              <a:bodyPr rot="-5400000" spcFirstLastPara="1" vertOverflow="ellipsis" vert="horz" wrap="square" anchor="ctr" anchorCtr="1"/>
              <a:lstStyle/>
              <a:p>
                <a:pPr>
                  <a:defRPr sz="700" b="1" i="0" u="none" strike="noStrike" kern="1200" baseline="0">
                    <a:solidFill>
                      <a:srgbClr val="000000"/>
                    </a:solidFill>
                    <a:latin typeface="Segoe UI Semibold" panose="020B0502040204020203" pitchFamily="34" charset="0"/>
                    <a:ea typeface="+mn-ea"/>
                    <a:cs typeface="Segoe UI Semibold" panose="020B0502040204020203" pitchFamily="34" charset="0"/>
                  </a:defRPr>
                </a:pPr>
                <a:r>
                  <a:rPr lang="en-US" sz="700" b="1" i="0" baseline="0" dirty="0">
                    <a:solidFill>
                      <a:srgbClr val="000000"/>
                    </a:solidFill>
                    <a:effectLst/>
                    <a:latin typeface="Segoe UI Semibold" panose="020B0502040204020203" pitchFamily="34" charset="0"/>
                    <a:cs typeface="Segoe UI Semibold" panose="020B0502040204020203" pitchFamily="34" charset="0"/>
                  </a:rPr>
                  <a:t>Vulnerabilities (2010-2017)</a:t>
                </a:r>
                <a:endParaRPr lang="en-US" sz="700" b="1" i="0" dirty="0">
                  <a:solidFill>
                    <a:srgbClr val="000000"/>
                  </a:solidFill>
                  <a:effectLst/>
                  <a:latin typeface="Segoe UI Semibold" panose="020B0502040204020203" pitchFamily="34" charset="0"/>
                  <a:cs typeface="Segoe UI Semibold" panose="020B0502040204020203" pitchFamily="34" charset="0"/>
                </a:endParaRPr>
              </a:p>
            </c:rich>
          </c:tx>
          <c:layout>
            <c:manualLayout>
              <c:xMode val="edge"/>
              <c:yMode val="edge"/>
              <c:x val="7.5646385974360297E-2"/>
              <c:y val="0.169173167029877"/>
            </c:manualLayout>
          </c:layout>
          <c:overlay val="0"/>
          <c:spPr>
            <a:noFill/>
            <a:ln>
              <a:noFill/>
            </a:ln>
            <a:effectLst/>
          </c:spPr>
          <c:txPr>
            <a:bodyPr rot="-5400000" spcFirstLastPara="1" vertOverflow="ellipsis" vert="horz" wrap="square" anchor="ctr" anchorCtr="1"/>
            <a:lstStyle/>
            <a:p>
              <a:pPr>
                <a:defRPr sz="700" b="1" i="0" u="none" strike="noStrike" kern="1200" baseline="0">
                  <a:solidFill>
                    <a:srgbClr val="000000"/>
                  </a:solidFill>
                  <a:latin typeface="Segoe UI Semibold" panose="020B0502040204020203" pitchFamily="34" charset="0"/>
                  <a:ea typeface="+mn-ea"/>
                  <a:cs typeface="Segoe UI Semibold" panose="020B0502040204020203" pitchFamily="34" charset="0"/>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rgbClr val="000000"/>
                </a:solidFill>
                <a:latin typeface="+mn-lt"/>
                <a:ea typeface="+mn-ea"/>
                <a:cs typeface="+mn-cs"/>
              </a:defRPr>
            </a:pPr>
            <a:endParaRPr lang="en-US"/>
          </a:p>
        </c:txPr>
        <c:crossAx val="-1585982592"/>
        <c:crosses val="autoZero"/>
        <c:crossBetween val="between"/>
        <c:majorUnit val="20"/>
      </c:valAx>
      <c:spPr>
        <a:noFill/>
        <a:ln>
          <a:noFill/>
        </a:ln>
        <a:effectLst/>
      </c:spPr>
    </c:plotArea>
    <c:plotVisOnly val="1"/>
    <c:dispBlanksAs val="gap"/>
    <c:showDLblsOverMax val="0"/>
  </c:chart>
  <c:spPr>
    <a:noFill/>
    <a:ln>
      <a:noFill/>
    </a:ln>
    <a:effectLst/>
  </c:spPr>
  <c:txPr>
    <a:bodyPr/>
    <a:lstStyle/>
    <a:p>
      <a:pPr>
        <a:defRPr/>
      </a:pPr>
      <a:endParaRPr lang="en-US"/>
    </a:p>
  </c:txPr>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12.xml.rels><?xml version="1.0" encoding="UTF-8" standalone="yes"?>
<Relationships xmlns="http://schemas.openxmlformats.org/package/2006/relationships"><Relationship Id="rId1" Type="http://schemas.openxmlformats.org/officeDocument/2006/relationships/hyperlink" Target="https://docs.microsoft.com/en-us/sql/linux/sql-server-linux-setup-machine-learning?view=sqlallproducts-allversions#install-all" TargetMode="External"/></Relationships>
</file>

<file path=ppt/diagrams/_rels/data17.xml.rels><?xml version="1.0" encoding="UTF-8" standalone="yes"?>
<Relationships xmlns="http://schemas.openxmlformats.org/package/2006/relationships"><Relationship Id="rId1" Type="http://schemas.openxmlformats.org/officeDocument/2006/relationships/hyperlink" Target="https://github.com/Microsoft/mssql-docker/tree/master/linux/preview/examples/mssql-agent-fts-ha-tools" TargetMode="External"/></Relationships>
</file>

<file path=ppt/diagrams/_rels/drawing12.xml.rels><?xml version="1.0" encoding="UTF-8" standalone="yes"?>
<Relationships xmlns="http://schemas.openxmlformats.org/package/2006/relationships"><Relationship Id="rId1" Type="http://schemas.openxmlformats.org/officeDocument/2006/relationships/hyperlink" Target="https://docs.microsoft.com/en-us/sql/linux/sql-server-linux-setup-machine-learning?view=sqlallproducts-allversions#install-all" TargetMode="External"/></Relationships>
</file>

<file path=ppt/diagrams/_rels/drawing17.xml.rels><?xml version="1.0" encoding="UTF-8" standalone="yes"?>
<Relationships xmlns="http://schemas.openxmlformats.org/package/2006/relationships"><Relationship Id="rId1" Type="http://schemas.openxmlformats.org/officeDocument/2006/relationships/hyperlink" Target="https://github.com/Microsoft/mssql-docker/tree/master/linux/preview/examples/mssql-agent-fts-ha-tools"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739A664-2D40-416D-A42F-CE18B9833F35}" type="doc">
      <dgm:prSet loTypeId="urn:microsoft.com/office/officeart/2005/8/layout/lProcess2" loCatId="list" qsTypeId="urn:microsoft.com/office/officeart/2005/8/quickstyle/simple1" qsCatId="simple" csTypeId="urn:microsoft.com/office/officeart/2005/8/colors/accent1_2" csCatId="accent1" phldr="1"/>
      <dgm:spPr/>
      <dgm:t>
        <a:bodyPr/>
        <a:lstStyle/>
        <a:p>
          <a:endParaRPr lang="en-US"/>
        </a:p>
      </dgm:t>
    </dgm:pt>
    <dgm:pt modelId="{FD6EE726-9166-4148-93D6-6AA7724F3FE1}">
      <dgm:prSet phldrT="[Text]"/>
      <dgm:spPr/>
      <dgm:t>
        <a:bodyPr/>
        <a:lstStyle/>
        <a:p>
          <a:r>
            <a:rPr lang="en-US" dirty="0"/>
            <a:t>SQL Server 2016</a:t>
          </a:r>
        </a:p>
      </dgm:t>
    </dgm:pt>
    <dgm:pt modelId="{7BB36E54-14D8-48DA-93E4-C212CE67A33E}" type="parTrans" cxnId="{128BB5F8-6672-4A7A-8C65-BE613802AD59}">
      <dgm:prSet/>
      <dgm:spPr/>
      <dgm:t>
        <a:bodyPr/>
        <a:lstStyle/>
        <a:p>
          <a:endParaRPr lang="en-US"/>
        </a:p>
      </dgm:t>
    </dgm:pt>
    <dgm:pt modelId="{FE6F2F45-5989-42E3-8EDE-BE0D22DF86BB}" type="sibTrans" cxnId="{128BB5F8-6672-4A7A-8C65-BE613802AD59}">
      <dgm:prSet/>
      <dgm:spPr/>
      <dgm:t>
        <a:bodyPr/>
        <a:lstStyle/>
        <a:p>
          <a:endParaRPr lang="en-US"/>
        </a:p>
      </dgm:t>
    </dgm:pt>
    <dgm:pt modelId="{881EB94D-3F62-48CE-94A5-13B9A9F84058}">
      <dgm:prSet phldrT="[Text]"/>
      <dgm:spPr/>
      <dgm:t>
        <a:bodyPr/>
        <a:lstStyle/>
        <a:p>
          <a:r>
            <a:rPr lang="en-US" dirty="0"/>
            <a:t>Query Store</a:t>
          </a:r>
        </a:p>
      </dgm:t>
    </dgm:pt>
    <dgm:pt modelId="{BC909361-7E12-4BE3-B7C4-7ED67F159DA2}" type="parTrans" cxnId="{DF63D9DC-623B-42CD-82F8-B3DB2BD64C3F}">
      <dgm:prSet/>
      <dgm:spPr/>
      <dgm:t>
        <a:bodyPr/>
        <a:lstStyle/>
        <a:p>
          <a:endParaRPr lang="en-US"/>
        </a:p>
      </dgm:t>
    </dgm:pt>
    <dgm:pt modelId="{F98EF4F1-C204-4EE4-8174-1E12A75CF540}" type="sibTrans" cxnId="{DF63D9DC-623B-42CD-82F8-B3DB2BD64C3F}">
      <dgm:prSet/>
      <dgm:spPr/>
      <dgm:t>
        <a:bodyPr/>
        <a:lstStyle/>
        <a:p>
          <a:endParaRPr lang="en-US"/>
        </a:p>
      </dgm:t>
    </dgm:pt>
    <dgm:pt modelId="{8AD665DB-0508-4D5B-B1AD-691EDEC4BD8D}">
      <dgm:prSet phldrT="[Text]"/>
      <dgm:spPr/>
      <dgm:t>
        <a:bodyPr/>
        <a:lstStyle/>
        <a:p>
          <a:r>
            <a:rPr lang="en-US" dirty="0"/>
            <a:t>SQL Server 2017</a:t>
          </a:r>
        </a:p>
      </dgm:t>
    </dgm:pt>
    <dgm:pt modelId="{83247137-A056-4C97-9251-7F0869287AF4}" type="parTrans" cxnId="{8CB127A4-50ED-4B07-B427-205A9F91F7E4}">
      <dgm:prSet/>
      <dgm:spPr/>
      <dgm:t>
        <a:bodyPr/>
        <a:lstStyle/>
        <a:p>
          <a:endParaRPr lang="en-US"/>
        </a:p>
      </dgm:t>
    </dgm:pt>
    <dgm:pt modelId="{15900B0D-A15C-4556-91E5-0B57D9693B81}" type="sibTrans" cxnId="{8CB127A4-50ED-4B07-B427-205A9F91F7E4}">
      <dgm:prSet/>
      <dgm:spPr/>
      <dgm:t>
        <a:bodyPr/>
        <a:lstStyle/>
        <a:p>
          <a:endParaRPr lang="en-US"/>
        </a:p>
      </dgm:t>
    </dgm:pt>
    <dgm:pt modelId="{C093F4C6-A700-48CB-9750-40366AB6AB0E}">
      <dgm:prSet phldrT="[Text]"/>
      <dgm:spPr/>
      <dgm:t>
        <a:bodyPr/>
        <a:lstStyle/>
        <a:p>
          <a:r>
            <a:rPr lang="en-US" dirty="0"/>
            <a:t>Linux and Containers</a:t>
          </a:r>
        </a:p>
      </dgm:t>
    </dgm:pt>
    <dgm:pt modelId="{C2FB4E9B-AFEF-43EB-9F24-ACC3DDBD03A5}" type="parTrans" cxnId="{8B6F7302-2958-4D40-ADC2-A1FD64B36EEC}">
      <dgm:prSet/>
      <dgm:spPr/>
      <dgm:t>
        <a:bodyPr/>
        <a:lstStyle/>
        <a:p>
          <a:endParaRPr lang="en-US"/>
        </a:p>
      </dgm:t>
    </dgm:pt>
    <dgm:pt modelId="{10730959-3164-41C0-A612-9A65CED1EEC6}" type="sibTrans" cxnId="{8B6F7302-2958-4D40-ADC2-A1FD64B36EEC}">
      <dgm:prSet/>
      <dgm:spPr/>
      <dgm:t>
        <a:bodyPr/>
        <a:lstStyle/>
        <a:p>
          <a:endParaRPr lang="en-US"/>
        </a:p>
      </dgm:t>
    </dgm:pt>
    <dgm:pt modelId="{2418D345-B411-4C58-BD23-E51F318848A8}">
      <dgm:prSet phldrT="[Text]"/>
      <dgm:spPr/>
      <dgm:t>
        <a:bodyPr/>
        <a:lstStyle/>
        <a:p>
          <a:r>
            <a:rPr lang="en-US" dirty="0"/>
            <a:t>Adaptive Query Processing</a:t>
          </a:r>
        </a:p>
      </dgm:t>
    </dgm:pt>
    <dgm:pt modelId="{F5A1D081-4D79-42CC-B0B0-B189721F85F1}" type="parTrans" cxnId="{89B051A5-273E-45D8-B9F3-E519F578F344}">
      <dgm:prSet/>
      <dgm:spPr/>
      <dgm:t>
        <a:bodyPr/>
        <a:lstStyle/>
        <a:p>
          <a:endParaRPr lang="en-US"/>
        </a:p>
      </dgm:t>
    </dgm:pt>
    <dgm:pt modelId="{C7117A94-F704-432E-A635-CFE495B2B2A6}" type="sibTrans" cxnId="{89B051A5-273E-45D8-B9F3-E519F578F344}">
      <dgm:prSet/>
      <dgm:spPr/>
      <dgm:t>
        <a:bodyPr/>
        <a:lstStyle/>
        <a:p>
          <a:endParaRPr lang="en-US"/>
        </a:p>
      </dgm:t>
    </dgm:pt>
    <dgm:pt modelId="{4B6AEE15-6C43-4717-8017-F0556BB33716}">
      <dgm:prSet phldrT="[Text]"/>
      <dgm:spPr/>
      <dgm:t>
        <a:bodyPr/>
        <a:lstStyle/>
        <a:p>
          <a:r>
            <a:rPr lang="en-US" dirty="0"/>
            <a:t>Temporal Tables</a:t>
          </a:r>
        </a:p>
      </dgm:t>
    </dgm:pt>
    <dgm:pt modelId="{0918F771-7E9F-4A4B-BD4A-8392A0C8DB84}" type="parTrans" cxnId="{6522B082-A16B-45FE-B1F3-F5C368CB5E90}">
      <dgm:prSet/>
      <dgm:spPr/>
      <dgm:t>
        <a:bodyPr/>
        <a:lstStyle/>
        <a:p>
          <a:endParaRPr lang="en-US"/>
        </a:p>
      </dgm:t>
    </dgm:pt>
    <dgm:pt modelId="{9497ADA9-A83E-462B-9453-6E825A59DD71}" type="sibTrans" cxnId="{6522B082-A16B-45FE-B1F3-F5C368CB5E90}">
      <dgm:prSet/>
      <dgm:spPr/>
      <dgm:t>
        <a:bodyPr/>
        <a:lstStyle/>
        <a:p>
          <a:endParaRPr lang="en-US"/>
        </a:p>
      </dgm:t>
    </dgm:pt>
    <dgm:pt modelId="{933C4498-AB0C-4E61-9879-AEB2129C493F}">
      <dgm:prSet phldrT="[Text]"/>
      <dgm:spPr/>
      <dgm:t>
        <a:bodyPr/>
        <a:lstStyle/>
        <a:p>
          <a:r>
            <a:rPr lang="en-US" dirty="0"/>
            <a:t>JSON</a:t>
          </a:r>
        </a:p>
      </dgm:t>
    </dgm:pt>
    <dgm:pt modelId="{E9E0D327-8837-4E20-A9A4-EBBEEB1C9C2D}" type="parTrans" cxnId="{EE4E61B9-71D3-4E22-8129-7D7D478F8E15}">
      <dgm:prSet/>
      <dgm:spPr/>
      <dgm:t>
        <a:bodyPr/>
        <a:lstStyle/>
        <a:p>
          <a:endParaRPr lang="en-US"/>
        </a:p>
      </dgm:t>
    </dgm:pt>
    <dgm:pt modelId="{892A4CA4-E336-4FA7-BC5B-C8F233008980}" type="sibTrans" cxnId="{EE4E61B9-71D3-4E22-8129-7D7D478F8E15}">
      <dgm:prSet/>
      <dgm:spPr/>
      <dgm:t>
        <a:bodyPr/>
        <a:lstStyle/>
        <a:p>
          <a:endParaRPr lang="en-US"/>
        </a:p>
      </dgm:t>
    </dgm:pt>
    <dgm:pt modelId="{66B7DDCB-EADA-40AD-BFE0-F80D0A6EA175}">
      <dgm:prSet phldrT="[Text]"/>
      <dgm:spPr/>
      <dgm:t>
        <a:bodyPr/>
        <a:lstStyle/>
        <a:p>
          <a:r>
            <a:rPr lang="en-US" dirty="0"/>
            <a:t>Always Encrypted</a:t>
          </a:r>
        </a:p>
      </dgm:t>
    </dgm:pt>
    <dgm:pt modelId="{0088B0B6-BD40-423F-9DC0-34E5F4236BE9}" type="parTrans" cxnId="{2887CED1-DFEA-4F2B-9C74-5128B8AE5003}">
      <dgm:prSet/>
      <dgm:spPr/>
      <dgm:t>
        <a:bodyPr/>
        <a:lstStyle/>
        <a:p>
          <a:endParaRPr lang="en-US"/>
        </a:p>
      </dgm:t>
    </dgm:pt>
    <dgm:pt modelId="{996929F7-9332-4238-AB68-7ADB6684F082}" type="sibTrans" cxnId="{2887CED1-DFEA-4F2B-9C74-5128B8AE5003}">
      <dgm:prSet/>
      <dgm:spPr/>
      <dgm:t>
        <a:bodyPr/>
        <a:lstStyle/>
        <a:p>
          <a:endParaRPr lang="en-US"/>
        </a:p>
      </dgm:t>
    </dgm:pt>
    <dgm:pt modelId="{02F92CA9-480A-46FD-9907-4A614B2177DF}">
      <dgm:prSet phldrT="[Text]"/>
      <dgm:spPr/>
      <dgm:t>
        <a:bodyPr/>
        <a:lstStyle/>
        <a:p>
          <a:r>
            <a:rPr lang="en-US" dirty="0"/>
            <a:t>Dynamic Data Masking</a:t>
          </a:r>
        </a:p>
      </dgm:t>
    </dgm:pt>
    <dgm:pt modelId="{48E3AB27-82E1-4C5A-8352-7B299CED45A0}" type="parTrans" cxnId="{A42BB6E4-99C1-4A6E-9D72-21E0C982FD2F}">
      <dgm:prSet/>
      <dgm:spPr/>
      <dgm:t>
        <a:bodyPr/>
        <a:lstStyle/>
        <a:p>
          <a:endParaRPr lang="en-US"/>
        </a:p>
      </dgm:t>
    </dgm:pt>
    <dgm:pt modelId="{AB2AF10C-ADAD-4271-88D4-DAEEB9F4C8F8}" type="sibTrans" cxnId="{A42BB6E4-99C1-4A6E-9D72-21E0C982FD2F}">
      <dgm:prSet/>
      <dgm:spPr/>
      <dgm:t>
        <a:bodyPr/>
        <a:lstStyle/>
        <a:p>
          <a:endParaRPr lang="en-US"/>
        </a:p>
      </dgm:t>
    </dgm:pt>
    <dgm:pt modelId="{EABAD62C-46BD-4727-835C-8BBB3D8E4241}">
      <dgm:prSet phldrT="[Text]"/>
      <dgm:spPr/>
      <dgm:t>
        <a:bodyPr/>
        <a:lstStyle/>
        <a:p>
          <a:r>
            <a:rPr lang="en-US" dirty="0"/>
            <a:t>Row Level Security</a:t>
          </a:r>
        </a:p>
      </dgm:t>
    </dgm:pt>
    <dgm:pt modelId="{DE9F6AEE-5A2E-42B3-BF15-C42CC1CD8999}" type="parTrans" cxnId="{798475E2-2C51-472B-9DA1-3EC7736528BB}">
      <dgm:prSet/>
      <dgm:spPr/>
      <dgm:t>
        <a:bodyPr/>
        <a:lstStyle/>
        <a:p>
          <a:endParaRPr lang="en-US"/>
        </a:p>
      </dgm:t>
    </dgm:pt>
    <dgm:pt modelId="{B56111E9-5F66-49A0-8D03-C5C61519361A}" type="sibTrans" cxnId="{798475E2-2C51-472B-9DA1-3EC7736528BB}">
      <dgm:prSet/>
      <dgm:spPr/>
      <dgm:t>
        <a:bodyPr/>
        <a:lstStyle/>
        <a:p>
          <a:endParaRPr lang="en-US"/>
        </a:p>
      </dgm:t>
    </dgm:pt>
    <dgm:pt modelId="{73DE29BF-5C84-43F5-83D6-86511FDB9144}">
      <dgm:prSet phldrT="[Text]"/>
      <dgm:spPr/>
      <dgm:t>
        <a:bodyPr/>
        <a:lstStyle/>
        <a:p>
          <a:r>
            <a:rPr lang="en-US" dirty="0"/>
            <a:t>It Just Runs Faster</a:t>
          </a:r>
        </a:p>
      </dgm:t>
    </dgm:pt>
    <dgm:pt modelId="{2D075395-F39A-40AE-88F8-8AD4267EC343}" type="parTrans" cxnId="{3BAB37DC-7FF9-4424-8C93-5234F5BA7753}">
      <dgm:prSet/>
      <dgm:spPr/>
      <dgm:t>
        <a:bodyPr/>
        <a:lstStyle/>
        <a:p>
          <a:endParaRPr lang="en-US"/>
        </a:p>
      </dgm:t>
    </dgm:pt>
    <dgm:pt modelId="{D322BB83-FD4A-46C4-848F-41BEA462395B}" type="sibTrans" cxnId="{3BAB37DC-7FF9-4424-8C93-5234F5BA7753}">
      <dgm:prSet/>
      <dgm:spPr/>
      <dgm:t>
        <a:bodyPr/>
        <a:lstStyle/>
        <a:p>
          <a:endParaRPr lang="en-US"/>
        </a:p>
      </dgm:t>
    </dgm:pt>
    <dgm:pt modelId="{67C9571E-0866-48FD-953B-A5E51383CF0B}">
      <dgm:prSet phldrT="[Text]"/>
      <dgm:spPr/>
      <dgm:t>
        <a:bodyPr/>
        <a:lstStyle/>
        <a:p>
          <a:r>
            <a:rPr lang="en-US" dirty="0"/>
            <a:t>Automatic Tuning</a:t>
          </a:r>
        </a:p>
      </dgm:t>
    </dgm:pt>
    <dgm:pt modelId="{370C454E-C8A7-4242-BEFF-C5D6900A3EA4}" type="parTrans" cxnId="{2365C6AD-4B59-48CF-B64D-AD7DC90E9799}">
      <dgm:prSet/>
      <dgm:spPr/>
      <dgm:t>
        <a:bodyPr/>
        <a:lstStyle/>
        <a:p>
          <a:endParaRPr lang="en-US"/>
        </a:p>
      </dgm:t>
    </dgm:pt>
    <dgm:pt modelId="{4202BB25-16EC-4D8C-997F-118049327917}" type="sibTrans" cxnId="{2365C6AD-4B59-48CF-B64D-AD7DC90E9799}">
      <dgm:prSet/>
      <dgm:spPr/>
      <dgm:t>
        <a:bodyPr/>
        <a:lstStyle/>
        <a:p>
          <a:endParaRPr lang="en-US"/>
        </a:p>
      </dgm:t>
    </dgm:pt>
    <dgm:pt modelId="{DAA69257-AC04-483F-9FA3-3FB312442C53}">
      <dgm:prSet phldrT="[Text]"/>
      <dgm:spPr/>
      <dgm:t>
        <a:bodyPr/>
        <a:lstStyle/>
        <a:p>
          <a:r>
            <a:rPr lang="en-US" dirty="0"/>
            <a:t>Graph database</a:t>
          </a:r>
        </a:p>
      </dgm:t>
    </dgm:pt>
    <dgm:pt modelId="{59E28238-36F9-4D0E-AB8D-886AC60331F0}" type="parTrans" cxnId="{DDD1CFB8-BC84-4153-9411-9EF8943F5A83}">
      <dgm:prSet/>
      <dgm:spPr/>
      <dgm:t>
        <a:bodyPr/>
        <a:lstStyle/>
        <a:p>
          <a:endParaRPr lang="en-US"/>
        </a:p>
      </dgm:t>
    </dgm:pt>
    <dgm:pt modelId="{834686C3-46B1-461A-91E6-CB62DF2D20A0}" type="sibTrans" cxnId="{DDD1CFB8-BC84-4153-9411-9EF8943F5A83}">
      <dgm:prSet/>
      <dgm:spPr/>
      <dgm:t>
        <a:bodyPr/>
        <a:lstStyle/>
        <a:p>
          <a:endParaRPr lang="en-US"/>
        </a:p>
      </dgm:t>
    </dgm:pt>
    <dgm:pt modelId="{376527D9-FB0E-48E3-A429-165126DBDF99}">
      <dgm:prSet phldrT="[Text]"/>
      <dgm:spPr/>
      <dgm:t>
        <a:bodyPr/>
        <a:lstStyle/>
        <a:p>
          <a:r>
            <a:rPr lang="en-US" dirty="0"/>
            <a:t>Python</a:t>
          </a:r>
        </a:p>
      </dgm:t>
    </dgm:pt>
    <dgm:pt modelId="{962C375E-57EE-4979-A3F8-739406CAF017}" type="parTrans" cxnId="{83823580-BD2F-4392-845F-0E29F70BAD9D}">
      <dgm:prSet/>
      <dgm:spPr/>
      <dgm:t>
        <a:bodyPr/>
        <a:lstStyle/>
        <a:p>
          <a:endParaRPr lang="en-US"/>
        </a:p>
      </dgm:t>
    </dgm:pt>
    <dgm:pt modelId="{12705BC6-E2DE-453F-AC95-41B2FDB6F682}" type="sibTrans" cxnId="{83823580-BD2F-4392-845F-0E29F70BAD9D}">
      <dgm:prSet/>
      <dgm:spPr/>
      <dgm:t>
        <a:bodyPr/>
        <a:lstStyle/>
        <a:p>
          <a:endParaRPr lang="en-US"/>
        </a:p>
      </dgm:t>
    </dgm:pt>
    <dgm:pt modelId="{4B1C64F6-F9F8-4731-A9D2-E568B4918206}">
      <dgm:prSet phldrT="[Text]"/>
      <dgm:spPr/>
      <dgm:t>
        <a:bodyPr/>
        <a:lstStyle/>
        <a:p>
          <a:r>
            <a:rPr lang="en-US" dirty="0"/>
            <a:t>R and Machine Learning</a:t>
          </a:r>
        </a:p>
      </dgm:t>
    </dgm:pt>
    <dgm:pt modelId="{FC046830-7185-4FE8-B9E7-E671CB7D9A0A}" type="parTrans" cxnId="{46BFEBA7-3871-463B-AD3F-11E6EEDC66D2}">
      <dgm:prSet/>
      <dgm:spPr/>
      <dgm:t>
        <a:bodyPr/>
        <a:lstStyle/>
        <a:p>
          <a:endParaRPr lang="en-US"/>
        </a:p>
      </dgm:t>
    </dgm:pt>
    <dgm:pt modelId="{B6154DC2-4D71-4E25-921E-463F2E5B3FD1}" type="sibTrans" cxnId="{46BFEBA7-3871-463B-AD3F-11E6EEDC66D2}">
      <dgm:prSet/>
      <dgm:spPr/>
      <dgm:t>
        <a:bodyPr/>
        <a:lstStyle/>
        <a:p>
          <a:endParaRPr lang="en-US"/>
        </a:p>
      </dgm:t>
    </dgm:pt>
    <dgm:pt modelId="{A7887D1E-4C4A-44B0-880D-B3F928A5BE56}">
      <dgm:prSet phldrT="[Text]"/>
      <dgm:spPr/>
      <dgm:t>
        <a:bodyPr/>
        <a:lstStyle/>
        <a:p>
          <a:r>
            <a:rPr lang="en-US" i="1" dirty="0"/>
            <a:t>Clusterless</a:t>
          </a:r>
          <a:r>
            <a:rPr lang="en-US" dirty="0"/>
            <a:t> Availability Groups</a:t>
          </a:r>
        </a:p>
      </dgm:t>
    </dgm:pt>
    <dgm:pt modelId="{050A0357-44D9-4E3C-95E8-2E2B4664C62F}" type="parTrans" cxnId="{9F9F7E0D-F788-4CC5-B85A-6AAB1A4DDEF6}">
      <dgm:prSet/>
      <dgm:spPr/>
      <dgm:t>
        <a:bodyPr/>
        <a:lstStyle/>
        <a:p>
          <a:endParaRPr lang="en-US"/>
        </a:p>
      </dgm:t>
    </dgm:pt>
    <dgm:pt modelId="{F09F779C-0CE6-403B-B4E3-32372A4B31E8}" type="sibTrans" cxnId="{9F9F7E0D-F788-4CC5-B85A-6AAB1A4DDEF6}">
      <dgm:prSet/>
      <dgm:spPr/>
      <dgm:t>
        <a:bodyPr/>
        <a:lstStyle/>
        <a:p>
          <a:endParaRPr lang="en-US"/>
        </a:p>
      </dgm:t>
    </dgm:pt>
    <dgm:pt modelId="{FD0EC0B1-1D4C-4A4D-B6D8-E311BFCDD36A}">
      <dgm:prSet phldrT="[Text]"/>
      <dgm:spPr/>
      <dgm:t>
        <a:bodyPr/>
        <a:lstStyle/>
        <a:p>
          <a:r>
            <a:rPr lang="en-US" dirty="0"/>
            <a:t>Polybase</a:t>
          </a:r>
        </a:p>
      </dgm:t>
    </dgm:pt>
    <dgm:pt modelId="{CEB21D40-FE8E-4205-A462-684EC1BF8F10}" type="parTrans" cxnId="{5304D238-4356-4455-9B0A-495187751C59}">
      <dgm:prSet/>
      <dgm:spPr/>
    </dgm:pt>
    <dgm:pt modelId="{035D6721-2015-439B-BD3F-8B776E89947A}" type="sibTrans" cxnId="{5304D238-4356-4455-9B0A-495187751C59}">
      <dgm:prSet/>
      <dgm:spPr/>
    </dgm:pt>
    <dgm:pt modelId="{EC87EC59-01C5-40AE-B50D-70B540F5FCBF}" type="pres">
      <dgm:prSet presAssocID="{8739A664-2D40-416D-A42F-CE18B9833F35}" presName="theList" presStyleCnt="0">
        <dgm:presLayoutVars>
          <dgm:dir/>
          <dgm:animLvl val="lvl"/>
          <dgm:resizeHandles val="exact"/>
        </dgm:presLayoutVars>
      </dgm:prSet>
      <dgm:spPr/>
    </dgm:pt>
    <dgm:pt modelId="{BFAC1E04-42FE-495B-A6BE-B903E3F96E30}" type="pres">
      <dgm:prSet presAssocID="{FD6EE726-9166-4148-93D6-6AA7724F3FE1}" presName="compNode" presStyleCnt="0"/>
      <dgm:spPr/>
    </dgm:pt>
    <dgm:pt modelId="{FEA0678B-6C37-4397-A984-AA0E5ECE5678}" type="pres">
      <dgm:prSet presAssocID="{FD6EE726-9166-4148-93D6-6AA7724F3FE1}" presName="aNode" presStyleLbl="bgShp" presStyleIdx="0" presStyleCnt="2"/>
      <dgm:spPr/>
    </dgm:pt>
    <dgm:pt modelId="{0380E71B-A44F-4341-B3B9-535A2FFCDA90}" type="pres">
      <dgm:prSet presAssocID="{FD6EE726-9166-4148-93D6-6AA7724F3FE1}" presName="textNode" presStyleLbl="bgShp" presStyleIdx="0" presStyleCnt="2"/>
      <dgm:spPr/>
    </dgm:pt>
    <dgm:pt modelId="{85030D90-8B22-40B0-90E7-926A235C2766}" type="pres">
      <dgm:prSet presAssocID="{FD6EE726-9166-4148-93D6-6AA7724F3FE1}" presName="compChildNode" presStyleCnt="0"/>
      <dgm:spPr/>
    </dgm:pt>
    <dgm:pt modelId="{21089143-B006-4232-B72C-3CCBBB0B544D}" type="pres">
      <dgm:prSet presAssocID="{FD6EE726-9166-4148-93D6-6AA7724F3FE1}" presName="theInnerList" presStyleCnt="0"/>
      <dgm:spPr/>
    </dgm:pt>
    <dgm:pt modelId="{C558B9F0-3221-4C2C-9357-5311FBAD3127}" type="pres">
      <dgm:prSet presAssocID="{881EB94D-3F62-48CE-94A5-13B9A9F84058}" presName="childNode" presStyleLbl="node1" presStyleIdx="0" presStyleCnt="15">
        <dgm:presLayoutVars>
          <dgm:bulletEnabled val="1"/>
        </dgm:presLayoutVars>
      </dgm:prSet>
      <dgm:spPr/>
    </dgm:pt>
    <dgm:pt modelId="{4D761E80-09AB-461D-ACF5-54A61EA5B01B}" type="pres">
      <dgm:prSet presAssocID="{881EB94D-3F62-48CE-94A5-13B9A9F84058}" presName="aSpace2" presStyleCnt="0"/>
      <dgm:spPr/>
    </dgm:pt>
    <dgm:pt modelId="{DA2D2C97-9906-40C6-BF8F-965C6E93AAC7}" type="pres">
      <dgm:prSet presAssocID="{FD0EC0B1-1D4C-4A4D-B6D8-E311BFCDD36A}" presName="childNode" presStyleLbl="node1" presStyleIdx="1" presStyleCnt="15">
        <dgm:presLayoutVars>
          <dgm:bulletEnabled val="1"/>
        </dgm:presLayoutVars>
      </dgm:prSet>
      <dgm:spPr/>
    </dgm:pt>
    <dgm:pt modelId="{56D65134-40D8-42AC-ABAB-FF5CD2DE5875}" type="pres">
      <dgm:prSet presAssocID="{FD0EC0B1-1D4C-4A4D-B6D8-E311BFCDD36A}" presName="aSpace2" presStyleCnt="0"/>
      <dgm:spPr/>
    </dgm:pt>
    <dgm:pt modelId="{14955BB3-7454-4B7C-857E-D4B3A808FBEA}" type="pres">
      <dgm:prSet presAssocID="{4B6AEE15-6C43-4717-8017-F0556BB33716}" presName="childNode" presStyleLbl="node1" presStyleIdx="2" presStyleCnt="15">
        <dgm:presLayoutVars>
          <dgm:bulletEnabled val="1"/>
        </dgm:presLayoutVars>
      </dgm:prSet>
      <dgm:spPr/>
    </dgm:pt>
    <dgm:pt modelId="{B5B13AA7-757C-43A0-89C4-79042F1DA97B}" type="pres">
      <dgm:prSet presAssocID="{4B6AEE15-6C43-4717-8017-F0556BB33716}" presName="aSpace2" presStyleCnt="0"/>
      <dgm:spPr/>
    </dgm:pt>
    <dgm:pt modelId="{9DAB298F-C7D7-40C3-AEAF-B3A9C1BE4F3E}" type="pres">
      <dgm:prSet presAssocID="{933C4498-AB0C-4E61-9879-AEB2129C493F}" presName="childNode" presStyleLbl="node1" presStyleIdx="3" presStyleCnt="15">
        <dgm:presLayoutVars>
          <dgm:bulletEnabled val="1"/>
        </dgm:presLayoutVars>
      </dgm:prSet>
      <dgm:spPr/>
    </dgm:pt>
    <dgm:pt modelId="{1EA12E93-AF65-4169-B4E7-BFB176B2F886}" type="pres">
      <dgm:prSet presAssocID="{933C4498-AB0C-4E61-9879-AEB2129C493F}" presName="aSpace2" presStyleCnt="0"/>
      <dgm:spPr/>
    </dgm:pt>
    <dgm:pt modelId="{6625B9DB-080B-407C-A753-4A21C2B032D8}" type="pres">
      <dgm:prSet presAssocID="{66B7DDCB-EADA-40AD-BFE0-F80D0A6EA175}" presName="childNode" presStyleLbl="node1" presStyleIdx="4" presStyleCnt="15">
        <dgm:presLayoutVars>
          <dgm:bulletEnabled val="1"/>
        </dgm:presLayoutVars>
      </dgm:prSet>
      <dgm:spPr/>
    </dgm:pt>
    <dgm:pt modelId="{50EAFB14-DF85-4F28-BC76-CF96C52FDC4E}" type="pres">
      <dgm:prSet presAssocID="{66B7DDCB-EADA-40AD-BFE0-F80D0A6EA175}" presName="aSpace2" presStyleCnt="0"/>
      <dgm:spPr/>
    </dgm:pt>
    <dgm:pt modelId="{F03BA2C8-0EA8-4027-9427-FC921CA28BFF}" type="pres">
      <dgm:prSet presAssocID="{02F92CA9-480A-46FD-9907-4A614B2177DF}" presName="childNode" presStyleLbl="node1" presStyleIdx="5" presStyleCnt="15">
        <dgm:presLayoutVars>
          <dgm:bulletEnabled val="1"/>
        </dgm:presLayoutVars>
      </dgm:prSet>
      <dgm:spPr/>
    </dgm:pt>
    <dgm:pt modelId="{8DDF0586-15E7-497C-A81E-7C9B345B2882}" type="pres">
      <dgm:prSet presAssocID="{02F92CA9-480A-46FD-9907-4A614B2177DF}" presName="aSpace2" presStyleCnt="0"/>
      <dgm:spPr/>
    </dgm:pt>
    <dgm:pt modelId="{CBCFF23A-7FA0-4F60-9358-40C4DE08C619}" type="pres">
      <dgm:prSet presAssocID="{EABAD62C-46BD-4727-835C-8BBB3D8E4241}" presName="childNode" presStyleLbl="node1" presStyleIdx="6" presStyleCnt="15">
        <dgm:presLayoutVars>
          <dgm:bulletEnabled val="1"/>
        </dgm:presLayoutVars>
      </dgm:prSet>
      <dgm:spPr/>
    </dgm:pt>
    <dgm:pt modelId="{129F5168-0064-47C2-A544-67C5CB292214}" type="pres">
      <dgm:prSet presAssocID="{EABAD62C-46BD-4727-835C-8BBB3D8E4241}" presName="aSpace2" presStyleCnt="0"/>
      <dgm:spPr/>
    </dgm:pt>
    <dgm:pt modelId="{BAF2D761-C3A4-4FC9-9E66-C10498E393CA}" type="pres">
      <dgm:prSet presAssocID="{4B1C64F6-F9F8-4731-A9D2-E568B4918206}" presName="childNode" presStyleLbl="node1" presStyleIdx="7" presStyleCnt="15">
        <dgm:presLayoutVars>
          <dgm:bulletEnabled val="1"/>
        </dgm:presLayoutVars>
      </dgm:prSet>
      <dgm:spPr/>
    </dgm:pt>
    <dgm:pt modelId="{FEF17998-9E4D-4C1B-8A2B-4C8D738CDAE5}" type="pres">
      <dgm:prSet presAssocID="{4B1C64F6-F9F8-4731-A9D2-E568B4918206}" presName="aSpace2" presStyleCnt="0"/>
      <dgm:spPr/>
    </dgm:pt>
    <dgm:pt modelId="{52436426-258F-43C8-BBCF-6E0C021BD3A2}" type="pres">
      <dgm:prSet presAssocID="{73DE29BF-5C84-43F5-83D6-86511FDB9144}" presName="childNode" presStyleLbl="node1" presStyleIdx="8" presStyleCnt="15">
        <dgm:presLayoutVars>
          <dgm:bulletEnabled val="1"/>
        </dgm:presLayoutVars>
      </dgm:prSet>
      <dgm:spPr/>
    </dgm:pt>
    <dgm:pt modelId="{6609A97F-C98D-4C5E-A61E-7F36BDE9C819}" type="pres">
      <dgm:prSet presAssocID="{FD6EE726-9166-4148-93D6-6AA7724F3FE1}" presName="aSpace" presStyleCnt="0"/>
      <dgm:spPr/>
    </dgm:pt>
    <dgm:pt modelId="{7D49D6FE-189B-44AF-85E9-A3B78B62E0C9}" type="pres">
      <dgm:prSet presAssocID="{8AD665DB-0508-4D5B-B1AD-691EDEC4BD8D}" presName="compNode" presStyleCnt="0"/>
      <dgm:spPr/>
    </dgm:pt>
    <dgm:pt modelId="{8177A520-5A0C-4244-ADC2-822920B3603A}" type="pres">
      <dgm:prSet presAssocID="{8AD665DB-0508-4D5B-B1AD-691EDEC4BD8D}" presName="aNode" presStyleLbl="bgShp" presStyleIdx="1" presStyleCnt="2"/>
      <dgm:spPr/>
    </dgm:pt>
    <dgm:pt modelId="{234D8CDB-D51E-439A-A8A1-EBFFEA6599DE}" type="pres">
      <dgm:prSet presAssocID="{8AD665DB-0508-4D5B-B1AD-691EDEC4BD8D}" presName="textNode" presStyleLbl="bgShp" presStyleIdx="1" presStyleCnt="2"/>
      <dgm:spPr/>
    </dgm:pt>
    <dgm:pt modelId="{8CB836F5-2C1B-4238-94C3-BA26BF7268A2}" type="pres">
      <dgm:prSet presAssocID="{8AD665DB-0508-4D5B-B1AD-691EDEC4BD8D}" presName="compChildNode" presStyleCnt="0"/>
      <dgm:spPr/>
    </dgm:pt>
    <dgm:pt modelId="{24975075-D217-4B1A-8D70-F75E0B154849}" type="pres">
      <dgm:prSet presAssocID="{8AD665DB-0508-4D5B-B1AD-691EDEC4BD8D}" presName="theInnerList" presStyleCnt="0"/>
      <dgm:spPr/>
    </dgm:pt>
    <dgm:pt modelId="{D9EA7C31-6A85-4C11-AF1A-E2FAB6E4C479}" type="pres">
      <dgm:prSet presAssocID="{C093F4C6-A700-48CB-9750-40366AB6AB0E}" presName="childNode" presStyleLbl="node1" presStyleIdx="9" presStyleCnt="15">
        <dgm:presLayoutVars>
          <dgm:bulletEnabled val="1"/>
        </dgm:presLayoutVars>
      </dgm:prSet>
      <dgm:spPr/>
    </dgm:pt>
    <dgm:pt modelId="{5F474629-4ADA-4ED7-8B17-7EAA559A6F0E}" type="pres">
      <dgm:prSet presAssocID="{C093F4C6-A700-48CB-9750-40366AB6AB0E}" presName="aSpace2" presStyleCnt="0"/>
      <dgm:spPr/>
    </dgm:pt>
    <dgm:pt modelId="{3BA22687-9C03-4BE3-B1D8-3AB7FB5EA104}" type="pres">
      <dgm:prSet presAssocID="{2418D345-B411-4C58-BD23-E51F318848A8}" presName="childNode" presStyleLbl="node1" presStyleIdx="10" presStyleCnt="15">
        <dgm:presLayoutVars>
          <dgm:bulletEnabled val="1"/>
        </dgm:presLayoutVars>
      </dgm:prSet>
      <dgm:spPr/>
    </dgm:pt>
    <dgm:pt modelId="{82BCE1AF-D8D5-4ACB-A2BB-D1F664C46C2B}" type="pres">
      <dgm:prSet presAssocID="{2418D345-B411-4C58-BD23-E51F318848A8}" presName="aSpace2" presStyleCnt="0"/>
      <dgm:spPr/>
    </dgm:pt>
    <dgm:pt modelId="{43EFC17D-4366-4EEF-A4EC-C09CFDE6CFA1}" type="pres">
      <dgm:prSet presAssocID="{67C9571E-0866-48FD-953B-A5E51383CF0B}" presName="childNode" presStyleLbl="node1" presStyleIdx="11" presStyleCnt="15">
        <dgm:presLayoutVars>
          <dgm:bulletEnabled val="1"/>
        </dgm:presLayoutVars>
      </dgm:prSet>
      <dgm:spPr/>
    </dgm:pt>
    <dgm:pt modelId="{6A15B4F8-A860-458D-9F5C-6A959B3E01B1}" type="pres">
      <dgm:prSet presAssocID="{67C9571E-0866-48FD-953B-A5E51383CF0B}" presName="aSpace2" presStyleCnt="0"/>
      <dgm:spPr/>
    </dgm:pt>
    <dgm:pt modelId="{0517F963-117B-4680-9A6B-E0356D8B1455}" type="pres">
      <dgm:prSet presAssocID="{A7887D1E-4C4A-44B0-880D-B3F928A5BE56}" presName="childNode" presStyleLbl="node1" presStyleIdx="12" presStyleCnt="15">
        <dgm:presLayoutVars>
          <dgm:bulletEnabled val="1"/>
        </dgm:presLayoutVars>
      </dgm:prSet>
      <dgm:spPr/>
    </dgm:pt>
    <dgm:pt modelId="{DB3B932D-5E03-46D3-A8E6-921238117D46}" type="pres">
      <dgm:prSet presAssocID="{A7887D1E-4C4A-44B0-880D-B3F928A5BE56}" presName="aSpace2" presStyleCnt="0"/>
      <dgm:spPr/>
    </dgm:pt>
    <dgm:pt modelId="{BAECC03D-F0C0-406C-9F35-25FF06F8EB49}" type="pres">
      <dgm:prSet presAssocID="{DAA69257-AC04-483F-9FA3-3FB312442C53}" presName="childNode" presStyleLbl="node1" presStyleIdx="13" presStyleCnt="15">
        <dgm:presLayoutVars>
          <dgm:bulletEnabled val="1"/>
        </dgm:presLayoutVars>
      </dgm:prSet>
      <dgm:spPr/>
    </dgm:pt>
    <dgm:pt modelId="{D2A4D120-1E50-4D77-A8A5-6D1F808588A5}" type="pres">
      <dgm:prSet presAssocID="{DAA69257-AC04-483F-9FA3-3FB312442C53}" presName="aSpace2" presStyleCnt="0"/>
      <dgm:spPr/>
    </dgm:pt>
    <dgm:pt modelId="{5D4E2A2F-3FEC-4A6B-A629-266559C51F3C}" type="pres">
      <dgm:prSet presAssocID="{376527D9-FB0E-48E3-A429-165126DBDF99}" presName="childNode" presStyleLbl="node1" presStyleIdx="14" presStyleCnt="15">
        <dgm:presLayoutVars>
          <dgm:bulletEnabled val="1"/>
        </dgm:presLayoutVars>
      </dgm:prSet>
      <dgm:spPr/>
    </dgm:pt>
  </dgm:ptLst>
  <dgm:cxnLst>
    <dgm:cxn modelId="{6CACA101-46EF-4A1F-98C5-92C6961583FF}" type="presOf" srcId="{02F92CA9-480A-46FD-9907-4A614B2177DF}" destId="{F03BA2C8-0EA8-4027-9427-FC921CA28BFF}" srcOrd="0" destOrd="0" presId="urn:microsoft.com/office/officeart/2005/8/layout/lProcess2"/>
    <dgm:cxn modelId="{8B6F7302-2958-4D40-ADC2-A1FD64B36EEC}" srcId="{8AD665DB-0508-4D5B-B1AD-691EDEC4BD8D}" destId="{C093F4C6-A700-48CB-9750-40366AB6AB0E}" srcOrd="0" destOrd="0" parTransId="{C2FB4E9B-AFEF-43EB-9F24-ACC3DDBD03A5}" sibTransId="{10730959-3164-41C0-A612-9A65CED1EEC6}"/>
    <dgm:cxn modelId="{A6D06405-7AE3-4D41-A547-BC1AD09EE3EC}" type="presOf" srcId="{881EB94D-3F62-48CE-94A5-13B9A9F84058}" destId="{C558B9F0-3221-4C2C-9357-5311FBAD3127}" srcOrd="0" destOrd="0" presId="urn:microsoft.com/office/officeart/2005/8/layout/lProcess2"/>
    <dgm:cxn modelId="{9F9F7E0D-F788-4CC5-B85A-6AAB1A4DDEF6}" srcId="{8AD665DB-0508-4D5B-B1AD-691EDEC4BD8D}" destId="{A7887D1E-4C4A-44B0-880D-B3F928A5BE56}" srcOrd="3" destOrd="0" parTransId="{050A0357-44D9-4E3C-95E8-2E2B4664C62F}" sibTransId="{F09F779C-0CE6-403B-B4E3-32372A4B31E8}"/>
    <dgm:cxn modelId="{3507422F-4C19-4FF6-B13A-6AA24C44C3CB}" type="presOf" srcId="{4B1C64F6-F9F8-4731-A9D2-E568B4918206}" destId="{BAF2D761-C3A4-4FC9-9E66-C10498E393CA}" srcOrd="0" destOrd="0" presId="urn:microsoft.com/office/officeart/2005/8/layout/lProcess2"/>
    <dgm:cxn modelId="{A7C8A230-21C9-4651-811A-D923C4FF855E}" type="presOf" srcId="{67C9571E-0866-48FD-953B-A5E51383CF0B}" destId="{43EFC17D-4366-4EEF-A4EC-C09CFDE6CFA1}" srcOrd="0" destOrd="0" presId="urn:microsoft.com/office/officeart/2005/8/layout/lProcess2"/>
    <dgm:cxn modelId="{5304D238-4356-4455-9B0A-495187751C59}" srcId="{FD6EE726-9166-4148-93D6-6AA7724F3FE1}" destId="{FD0EC0B1-1D4C-4A4D-B6D8-E311BFCDD36A}" srcOrd="1" destOrd="0" parTransId="{CEB21D40-FE8E-4205-A462-684EC1BF8F10}" sibTransId="{035D6721-2015-439B-BD3F-8B776E89947A}"/>
    <dgm:cxn modelId="{4DA93549-A615-45C4-AB15-6954730C514C}" type="presOf" srcId="{FD6EE726-9166-4148-93D6-6AA7724F3FE1}" destId="{FEA0678B-6C37-4397-A984-AA0E5ECE5678}" srcOrd="0" destOrd="0" presId="urn:microsoft.com/office/officeart/2005/8/layout/lProcess2"/>
    <dgm:cxn modelId="{2EAD0C4A-FE54-4248-ADD8-FE271ACA5C73}" type="presOf" srcId="{8AD665DB-0508-4D5B-B1AD-691EDEC4BD8D}" destId="{8177A520-5A0C-4244-ADC2-822920B3603A}" srcOrd="0" destOrd="0" presId="urn:microsoft.com/office/officeart/2005/8/layout/lProcess2"/>
    <dgm:cxn modelId="{9449AE50-415B-4B10-B415-4D4E4B84DB2E}" type="presOf" srcId="{2418D345-B411-4C58-BD23-E51F318848A8}" destId="{3BA22687-9C03-4BE3-B1D8-3AB7FB5EA104}" srcOrd="0" destOrd="0" presId="urn:microsoft.com/office/officeart/2005/8/layout/lProcess2"/>
    <dgm:cxn modelId="{318E2C55-CDEB-4E3E-9D81-7CE9FAAEAAC1}" type="presOf" srcId="{A7887D1E-4C4A-44B0-880D-B3F928A5BE56}" destId="{0517F963-117B-4680-9A6B-E0356D8B1455}" srcOrd="0" destOrd="0" presId="urn:microsoft.com/office/officeart/2005/8/layout/lProcess2"/>
    <dgm:cxn modelId="{8D192558-7301-4D7B-845F-DE2AB37BD24A}" type="presOf" srcId="{376527D9-FB0E-48E3-A429-165126DBDF99}" destId="{5D4E2A2F-3FEC-4A6B-A629-266559C51F3C}" srcOrd="0" destOrd="0" presId="urn:microsoft.com/office/officeart/2005/8/layout/lProcess2"/>
    <dgm:cxn modelId="{AD84797A-AE19-48D5-AB70-0F1DA2A83838}" type="presOf" srcId="{8739A664-2D40-416D-A42F-CE18B9833F35}" destId="{EC87EC59-01C5-40AE-B50D-70B540F5FCBF}" srcOrd="0" destOrd="0" presId="urn:microsoft.com/office/officeart/2005/8/layout/lProcess2"/>
    <dgm:cxn modelId="{83823580-BD2F-4392-845F-0E29F70BAD9D}" srcId="{8AD665DB-0508-4D5B-B1AD-691EDEC4BD8D}" destId="{376527D9-FB0E-48E3-A429-165126DBDF99}" srcOrd="5" destOrd="0" parTransId="{962C375E-57EE-4979-A3F8-739406CAF017}" sibTransId="{12705BC6-E2DE-453F-AC95-41B2FDB6F682}"/>
    <dgm:cxn modelId="{6522B082-A16B-45FE-B1F3-F5C368CB5E90}" srcId="{FD6EE726-9166-4148-93D6-6AA7724F3FE1}" destId="{4B6AEE15-6C43-4717-8017-F0556BB33716}" srcOrd="2" destOrd="0" parTransId="{0918F771-7E9F-4A4B-BD4A-8392A0C8DB84}" sibTransId="{9497ADA9-A83E-462B-9453-6E825A59DD71}"/>
    <dgm:cxn modelId="{101A108B-3CD3-4DB1-B0D2-B7B6410CFFB2}" type="presOf" srcId="{66B7DDCB-EADA-40AD-BFE0-F80D0A6EA175}" destId="{6625B9DB-080B-407C-A753-4A21C2B032D8}" srcOrd="0" destOrd="0" presId="urn:microsoft.com/office/officeart/2005/8/layout/lProcess2"/>
    <dgm:cxn modelId="{A9AD1491-3260-4D9C-8FC7-F2B63ED5307D}" type="presOf" srcId="{933C4498-AB0C-4E61-9879-AEB2129C493F}" destId="{9DAB298F-C7D7-40C3-AEAF-B3A9C1BE4F3E}" srcOrd="0" destOrd="0" presId="urn:microsoft.com/office/officeart/2005/8/layout/lProcess2"/>
    <dgm:cxn modelId="{DB67459A-548A-47A4-9353-244908445C65}" type="presOf" srcId="{DAA69257-AC04-483F-9FA3-3FB312442C53}" destId="{BAECC03D-F0C0-406C-9F35-25FF06F8EB49}" srcOrd="0" destOrd="0" presId="urn:microsoft.com/office/officeart/2005/8/layout/lProcess2"/>
    <dgm:cxn modelId="{8CB127A4-50ED-4B07-B427-205A9F91F7E4}" srcId="{8739A664-2D40-416D-A42F-CE18B9833F35}" destId="{8AD665DB-0508-4D5B-B1AD-691EDEC4BD8D}" srcOrd="1" destOrd="0" parTransId="{83247137-A056-4C97-9251-7F0869287AF4}" sibTransId="{15900B0D-A15C-4556-91E5-0B57D9693B81}"/>
    <dgm:cxn modelId="{5F5F68A5-D806-4BF1-A7B8-8079CFE26376}" type="presOf" srcId="{8AD665DB-0508-4D5B-B1AD-691EDEC4BD8D}" destId="{234D8CDB-D51E-439A-A8A1-EBFFEA6599DE}" srcOrd="1" destOrd="0" presId="urn:microsoft.com/office/officeart/2005/8/layout/lProcess2"/>
    <dgm:cxn modelId="{89B051A5-273E-45D8-B9F3-E519F578F344}" srcId="{8AD665DB-0508-4D5B-B1AD-691EDEC4BD8D}" destId="{2418D345-B411-4C58-BD23-E51F318848A8}" srcOrd="1" destOrd="0" parTransId="{F5A1D081-4D79-42CC-B0B0-B189721F85F1}" sibTransId="{C7117A94-F704-432E-A635-CFE495B2B2A6}"/>
    <dgm:cxn modelId="{46BFEBA7-3871-463B-AD3F-11E6EEDC66D2}" srcId="{FD6EE726-9166-4148-93D6-6AA7724F3FE1}" destId="{4B1C64F6-F9F8-4731-A9D2-E568B4918206}" srcOrd="7" destOrd="0" parTransId="{FC046830-7185-4FE8-B9E7-E671CB7D9A0A}" sibTransId="{B6154DC2-4D71-4E25-921E-463F2E5B3FD1}"/>
    <dgm:cxn modelId="{12644EAB-0098-49AF-B777-2D5A850D0491}" type="presOf" srcId="{FD6EE726-9166-4148-93D6-6AA7724F3FE1}" destId="{0380E71B-A44F-4341-B3B9-535A2FFCDA90}" srcOrd="1" destOrd="0" presId="urn:microsoft.com/office/officeart/2005/8/layout/lProcess2"/>
    <dgm:cxn modelId="{2365C6AD-4B59-48CF-B64D-AD7DC90E9799}" srcId="{8AD665DB-0508-4D5B-B1AD-691EDEC4BD8D}" destId="{67C9571E-0866-48FD-953B-A5E51383CF0B}" srcOrd="2" destOrd="0" parTransId="{370C454E-C8A7-4242-BEFF-C5D6900A3EA4}" sibTransId="{4202BB25-16EC-4D8C-997F-118049327917}"/>
    <dgm:cxn modelId="{DDD1CFB8-BC84-4153-9411-9EF8943F5A83}" srcId="{8AD665DB-0508-4D5B-B1AD-691EDEC4BD8D}" destId="{DAA69257-AC04-483F-9FA3-3FB312442C53}" srcOrd="4" destOrd="0" parTransId="{59E28238-36F9-4D0E-AB8D-886AC60331F0}" sibTransId="{834686C3-46B1-461A-91E6-CB62DF2D20A0}"/>
    <dgm:cxn modelId="{EE4E61B9-71D3-4E22-8129-7D7D478F8E15}" srcId="{FD6EE726-9166-4148-93D6-6AA7724F3FE1}" destId="{933C4498-AB0C-4E61-9879-AEB2129C493F}" srcOrd="3" destOrd="0" parTransId="{E9E0D327-8837-4E20-A9A4-EBBEEB1C9C2D}" sibTransId="{892A4CA4-E336-4FA7-BC5B-C8F233008980}"/>
    <dgm:cxn modelId="{D71FBCBE-5F92-41B8-AF5E-57EC1F20CD72}" type="presOf" srcId="{73DE29BF-5C84-43F5-83D6-86511FDB9144}" destId="{52436426-258F-43C8-BBCF-6E0C021BD3A2}" srcOrd="0" destOrd="0" presId="urn:microsoft.com/office/officeart/2005/8/layout/lProcess2"/>
    <dgm:cxn modelId="{2887CED1-DFEA-4F2B-9C74-5128B8AE5003}" srcId="{FD6EE726-9166-4148-93D6-6AA7724F3FE1}" destId="{66B7DDCB-EADA-40AD-BFE0-F80D0A6EA175}" srcOrd="4" destOrd="0" parTransId="{0088B0B6-BD40-423F-9DC0-34E5F4236BE9}" sibTransId="{996929F7-9332-4238-AB68-7ADB6684F082}"/>
    <dgm:cxn modelId="{7A5B47D8-6714-478A-A923-C72CB9E1494F}" type="presOf" srcId="{EABAD62C-46BD-4727-835C-8BBB3D8E4241}" destId="{CBCFF23A-7FA0-4F60-9358-40C4DE08C619}" srcOrd="0" destOrd="0" presId="urn:microsoft.com/office/officeart/2005/8/layout/lProcess2"/>
    <dgm:cxn modelId="{3BAB37DC-7FF9-4424-8C93-5234F5BA7753}" srcId="{FD6EE726-9166-4148-93D6-6AA7724F3FE1}" destId="{73DE29BF-5C84-43F5-83D6-86511FDB9144}" srcOrd="8" destOrd="0" parTransId="{2D075395-F39A-40AE-88F8-8AD4267EC343}" sibTransId="{D322BB83-FD4A-46C4-848F-41BEA462395B}"/>
    <dgm:cxn modelId="{DF63D9DC-623B-42CD-82F8-B3DB2BD64C3F}" srcId="{FD6EE726-9166-4148-93D6-6AA7724F3FE1}" destId="{881EB94D-3F62-48CE-94A5-13B9A9F84058}" srcOrd="0" destOrd="0" parTransId="{BC909361-7E12-4BE3-B7C4-7ED67F159DA2}" sibTransId="{F98EF4F1-C204-4EE4-8174-1E12A75CF540}"/>
    <dgm:cxn modelId="{F03985E1-C08B-4519-8626-8FCE183EF73C}" type="presOf" srcId="{4B6AEE15-6C43-4717-8017-F0556BB33716}" destId="{14955BB3-7454-4B7C-857E-D4B3A808FBEA}" srcOrd="0" destOrd="0" presId="urn:microsoft.com/office/officeart/2005/8/layout/lProcess2"/>
    <dgm:cxn modelId="{798475E2-2C51-472B-9DA1-3EC7736528BB}" srcId="{FD6EE726-9166-4148-93D6-6AA7724F3FE1}" destId="{EABAD62C-46BD-4727-835C-8BBB3D8E4241}" srcOrd="6" destOrd="0" parTransId="{DE9F6AEE-5A2E-42B3-BF15-C42CC1CD8999}" sibTransId="{B56111E9-5F66-49A0-8D03-C5C61519361A}"/>
    <dgm:cxn modelId="{A42BB6E4-99C1-4A6E-9D72-21E0C982FD2F}" srcId="{FD6EE726-9166-4148-93D6-6AA7724F3FE1}" destId="{02F92CA9-480A-46FD-9907-4A614B2177DF}" srcOrd="5" destOrd="0" parTransId="{48E3AB27-82E1-4C5A-8352-7B299CED45A0}" sibTransId="{AB2AF10C-ADAD-4271-88D4-DAEEB9F4C8F8}"/>
    <dgm:cxn modelId="{325B9EE8-3A65-429B-AB17-44DDB9FDC566}" type="presOf" srcId="{C093F4C6-A700-48CB-9750-40366AB6AB0E}" destId="{D9EA7C31-6A85-4C11-AF1A-E2FAB6E4C479}" srcOrd="0" destOrd="0" presId="urn:microsoft.com/office/officeart/2005/8/layout/lProcess2"/>
    <dgm:cxn modelId="{798F13E9-A54C-4546-95BB-B7F85EB632E4}" type="presOf" srcId="{FD0EC0B1-1D4C-4A4D-B6D8-E311BFCDD36A}" destId="{DA2D2C97-9906-40C6-BF8F-965C6E93AAC7}" srcOrd="0" destOrd="0" presId="urn:microsoft.com/office/officeart/2005/8/layout/lProcess2"/>
    <dgm:cxn modelId="{128BB5F8-6672-4A7A-8C65-BE613802AD59}" srcId="{8739A664-2D40-416D-A42F-CE18B9833F35}" destId="{FD6EE726-9166-4148-93D6-6AA7724F3FE1}" srcOrd="0" destOrd="0" parTransId="{7BB36E54-14D8-48DA-93E4-C212CE67A33E}" sibTransId="{FE6F2F45-5989-42E3-8EDE-BE0D22DF86BB}"/>
    <dgm:cxn modelId="{1600596F-3E27-434D-BB97-4244AD352676}" type="presParOf" srcId="{EC87EC59-01C5-40AE-B50D-70B540F5FCBF}" destId="{BFAC1E04-42FE-495B-A6BE-B903E3F96E30}" srcOrd="0" destOrd="0" presId="urn:microsoft.com/office/officeart/2005/8/layout/lProcess2"/>
    <dgm:cxn modelId="{BAB1132B-8EBF-435F-A341-1BFF66D2713E}" type="presParOf" srcId="{BFAC1E04-42FE-495B-A6BE-B903E3F96E30}" destId="{FEA0678B-6C37-4397-A984-AA0E5ECE5678}" srcOrd="0" destOrd="0" presId="urn:microsoft.com/office/officeart/2005/8/layout/lProcess2"/>
    <dgm:cxn modelId="{BDABE863-E095-4F52-9B22-A83AE85B14E6}" type="presParOf" srcId="{BFAC1E04-42FE-495B-A6BE-B903E3F96E30}" destId="{0380E71B-A44F-4341-B3B9-535A2FFCDA90}" srcOrd="1" destOrd="0" presId="urn:microsoft.com/office/officeart/2005/8/layout/lProcess2"/>
    <dgm:cxn modelId="{869EB781-BF71-4F53-8C76-0BC51C230725}" type="presParOf" srcId="{BFAC1E04-42FE-495B-A6BE-B903E3F96E30}" destId="{85030D90-8B22-40B0-90E7-926A235C2766}" srcOrd="2" destOrd="0" presId="urn:microsoft.com/office/officeart/2005/8/layout/lProcess2"/>
    <dgm:cxn modelId="{1FDF96D7-4813-43A2-80D5-33BDB4753A17}" type="presParOf" srcId="{85030D90-8B22-40B0-90E7-926A235C2766}" destId="{21089143-B006-4232-B72C-3CCBBB0B544D}" srcOrd="0" destOrd="0" presId="urn:microsoft.com/office/officeart/2005/8/layout/lProcess2"/>
    <dgm:cxn modelId="{DBAF464D-1F54-49E1-8D22-568D886E02AE}" type="presParOf" srcId="{21089143-B006-4232-B72C-3CCBBB0B544D}" destId="{C558B9F0-3221-4C2C-9357-5311FBAD3127}" srcOrd="0" destOrd="0" presId="urn:microsoft.com/office/officeart/2005/8/layout/lProcess2"/>
    <dgm:cxn modelId="{9531F6B3-E768-45EB-BB42-91104DBE3EDD}" type="presParOf" srcId="{21089143-B006-4232-B72C-3CCBBB0B544D}" destId="{4D761E80-09AB-461D-ACF5-54A61EA5B01B}" srcOrd="1" destOrd="0" presId="urn:microsoft.com/office/officeart/2005/8/layout/lProcess2"/>
    <dgm:cxn modelId="{2809DD01-CA04-4C50-A454-A78C78823603}" type="presParOf" srcId="{21089143-B006-4232-B72C-3CCBBB0B544D}" destId="{DA2D2C97-9906-40C6-BF8F-965C6E93AAC7}" srcOrd="2" destOrd="0" presId="urn:microsoft.com/office/officeart/2005/8/layout/lProcess2"/>
    <dgm:cxn modelId="{35D15C81-FDA1-4F53-8DA6-6D5F6E572368}" type="presParOf" srcId="{21089143-B006-4232-B72C-3CCBBB0B544D}" destId="{56D65134-40D8-42AC-ABAB-FF5CD2DE5875}" srcOrd="3" destOrd="0" presId="urn:microsoft.com/office/officeart/2005/8/layout/lProcess2"/>
    <dgm:cxn modelId="{D9D59200-5FB1-449C-B175-EFF04EF987F7}" type="presParOf" srcId="{21089143-B006-4232-B72C-3CCBBB0B544D}" destId="{14955BB3-7454-4B7C-857E-D4B3A808FBEA}" srcOrd="4" destOrd="0" presId="urn:microsoft.com/office/officeart/2005/8/layout/lProcess2"/>
    <dgm:cxn modelId="{AA5E003E-3124-4BAF-BE18-9327DED78D61}" type="presParOf" srcId="{21089143-B006-4232-B72C-3CCBBB0B544D}" destId="{B5B13AA7-757C-43A0-89C4-79042F1DA97B}" srcOrd="5" destOrd="0" presId="urn:microsoft.com/office/officeart/2005/8/layout/lProcess2"/>
    <dgm:cxn modelId="{392CD598-1FE8-47A5-AEFC-2FB07A3C92C1}" type="presParOf" srcId="{21089143-B006-4232-B72C-3CCBBB0B544D}" destId="{9DAB298F-C7D7-40C3-AEAF-B3A9C1BE4F3E}" srcOrd="6" destOrd="0" presId="urn:microsoft.com/office/officeart/2005/8/layout/lProcess2"/>
    <dgm:cxn modelId="{66387FC5-BE20-4AAD-A966-BE24D2EACAFB}" type="presParOf" srcId="{21089143-B006-4232-B72C-3CCBBB0B544D}" destId="{1EA12E93-AF65-4169-B4E7-BFB176B2F886}" srcOrd="7" destOrd="0" presId="urn:microsoft.com/office/officeart/2005/8/layout/lProcess2"/>
    <dgm:cxn modelId="{09F85AA8-1269-4EEB-8E58-087043E5EEFD}" type="presParOf" srcId="{21089143-B006-4232-B72C-3CCBBB0B544D}" destId="{6625B9DB-080B-407C-A753-4A21C2B032D8}" srcOrd="8" destOrd="0" presId="urn:microsoft.com/office/officeart/2005/8/layout/lProcess2"/>
    <dgm:cxn modelId="{374EBEA9-CF64-4FD7-957D-76F9FD534A99}" type="presParOf" srcId="{21089143-B006-4232-B72C-3CCBBB0B544D}" destId="{50EAFB14-DF85-4F28-BC76-CF96C52FDC4E}" srcOrd="9" destOrd="0" presId="urn:microsoft.com/office/officeart/2005/8/layout/lProcess2"/>
    <dgm:cxn modelId="{E6F42921-67FB-434A-92FF-34F25D1CAB81}" type="presParOf" srcId="{21089143-B006-4232-B72C-3CCBBB0B544D}" destId="{F03BA2C8-0EA8-4027-9427-FC921CA28BFF}" srcOrd="10" destOrd="0" presId="urn:microsoft.com/office/officeart/2005/8/layout/lProcess2"/>
    <dgm:cxn modelId="{38CE3A5B-30EB-4124-BC5B-D9D11B1EF786}" type="presParOf" srcId="{21089143-B006-4232-B72C-3CCBBB0B544D}" destId="{8DDF0586-15E7-497C-A81E-7C9B345B2882}" srcOrd="11" destOrd="0" presId="urn:microsoft.com/office/officeart/2005/8/layout/lProcess2"/>
    <dgm:cxn modelId="{9638B5E3-60EC-475F-A775-B3159162F22C}" type="presParOf" srcId="{21089143-B006-4232-B72C-3CCBBB0B544D}" destId="{CBCFF23A-7FA0-4F60-9358-40C4DE08C619}" srcOrd="12" destOrd="0" presId="urn:microsoft.com/office/officeart/2005/8/layout/lProcess2"/>
    <dgm:cxn modelId="{9E04262A-B5BC-486A-9ED5-6E9AC007150B}" type="presParOf" srcId="{21089143-B006-4232-B72C-3CCBBB0B544D}" destId="{129F5168-0064-47C2-A544-67C5CB292214}" srcOrd="13" destOrd="0" presId="urn:microsoft.com/office/officeart/2005/8/layout/lProcess2"/>
    <dgm:cxn modelId="{E3AB69E1-56A9-4E07-BDE3-3B1A4DF0D2CC}" type="presParOf" srcId="{21089143-B006-4232-B72C-3CCBBB0B544D}" destId="{BAF2D761-C3A4-4FC9-9E66-C10498E393CA}" srcOrd="14" destOrd="0" presId="urn:microsoft.com/office/officeart/2005/8/layout/lProcess2"/>
    <dgm:cxn modelId="{CE7FF374-DA10-4FC8-9FFD-5F7971638153}" type="presParOf" srcId="{21089143-B006-4232-B72C-3CCBBB0B544D}" destId="{FEF17998-9E4D-4C1B-8A2B-4C8D738CDAE5}" srcOrd="15" destOrd="0" presId="urn:microsoft.com/office/officeart/2005/8/layout/lProcess2"/>
    <dgm:cxn modelId="{E850B33F-ABB6-49C1-B35D-2B28D90277B9}" type="presParOf" srcId="{21089143-B006-4232-B72C-3CCBBB0B544D}" destId="{52436426-258F-43C8-BBCF-6E0C021BD3A2}" srcOrd="16" destOrd="0" presId="urn:microsoft.com/office/officeart/2005/8/layout/lProcess2"/>
    <dgm:cxn modelId="{BB3ACED3-115D-4134-A689-58523CD0F8E6}" type="presParOf" srcId="{EC87EC59-01C5-40AE-B50D-70B540F5FCBF}" destId="{6609A97F-C98D-4C5E-A61E-7F36BDE9C819}" srcOrd="1" destOrd="0" presId="urn:microsoft.com/office/officeart/2005/8/layout/lProcess2"/>
    <dgm:cxn modelId="{51B8E22E-41BC-4430-A93F-9E27C9E67554}" type="presParOf" srcId="{EC87EC59-01C5-40AE-B50D-70B540F5FCBF}" destId="{7D49D6FE-189B-44AF-85E9-A3B78B62E0C9}" srcOrd="2" destOrd="0" presId="urn:microsoft.com/office/officeart/2005/8/layout/lProcess2"/>
    <dgm:cxn modelId="{DBE90816-45E2-4F55-B6C6-70D99B57885B}" type="presParOf" srcId="{7D49D6FE-189B-44AF-85E9-A3B78B62E0C9}" destId="{8177A520-5A0C-4244-ADC2-822920B3603A}" srcOrd="0" destOrd="0" presId="urn:microsoft.com/office/officeart/2005/8/layout/lProcess2"/>
    <dgm:cxn modelId="{4D14FF3A-E585-49F5-8CD3-F330A0980704}" type="presParOf" srcId="{7D49D6FE-189B-44AF-85E9-A3B78B62E0C9}" destId="{234D8CDB-D51E-439A-A8A1-EBFFEA6599DE}" srcOrd="1" destOrd="0" presId="urn:microsoft.com/office/officeart/2005/8/layout/lProcess2"/>
    <dgm:cxn modelId="{567FE808-931A-45FE-A5A9-2DA0F564F9A1}" type="presParOf" srcId="{7D49D6FE-189B-44AF-85E9-A3B78B62E0C9}" destId="{8CB836F5-2C1B-4238-94C3-BA26BF7268A2}" srcOrd="2" destOrd="0" presId="urn:microsoft.com/office/officeart/2005/8/layout/lProcess2"/>
    <dgm:cxn modelId="{5C3901C8-BE59-4B98-8DEE-148B12A83766}" type="presParOf" srcId="{8CB836F5-2C1B-4238-94C3-BA26BF7268A2}" destId="{24975075-D217-4B1A-8D70-F75E0B154849}" srcOrd="0" destOrd="0" presId="urn:microsoft.com/office/officeart/2005/8/layout/lProcess2"/>
    <dgm:cxn modelId="{15514D10-F2BE-4CD1-93E3-006F2601788E}" type="presParOf" srcId="{24975075-D217-4B1A-8D70-F75E0B154849}" destId="{D9EA7C31-6A85-4C11-AF1A-E2FAB6E4C479}" srcOrd="0" destOrd="0" presId="urn:microsoft.com/office/officeart/2005/8/layout/lProcess2"/>
    <dgm:cxn modelId="{0B3361D8-10BA-43E0-8651-3F499866E03C}" type="presParOf" srcId="{24975075-D217-4B1A-8D70-F75E0B154849}" destId="{5F474629-4ADA-4ED7-8B17-7EAA559A6F0E}" srcOrd="1" destOrd="0" presId="urn:microsoft.com/office/officeart/2005/8/layout/lProcess2"/>
    <dgm:cxn modelId="{0F02BC7C-D3EF-4C6C-8F49-873BE15B3F33}" type="presParOf" srcId="{24975075-D217-4B1A-8D70-F75E0B154849}" destId="{3BA22687-9C03-4BE3-B1D8-3AB7FB5EA104}" srcOrd="2" destOrd="0" presId="urn:microsoft.com/office/officeart/2005/8/layout/lProcess2"/>
    <dgm:cxn modelId="{D6DDA1CA-4EE8-4628-826D-B76AEDCB4341}" type="presParOf" srcId="{24975075-D217-4B1A-8D70-F75E0B154849}" destId="{82BCE1AF-D8D5-4ACB-A2BB-D1F664C46C2B}" srcOrd="3" destOrd="0" presId="urn:microsoft.com/office/officeart/2005/8/layout/lProcess2"/>
    <dgm:cxn modelId="{9CBD7EA4-3719-4805-8854-0BCAF1CED9A1}" type="presParOf" srcId="{24975075-D217-4B1A-8D70-F75E0B154849}" destId="{43EFC17D-4366-4EEF-A4EC-C09CFDE6CFA1}" srcOrd="4" destOrd="0" presId="urn:microsoft.com/office/officeart/2005/8/layout/lProcess2"/>
    <dgm:cxn modelId="{6F7F53C7-FA7E-4F9A-BC6D-7504FE78E547}" type="presParOf" srcId="{24975075-D217-4B1A-8D70-F75E0B154849}" destId="{6A15B4F8-A860-458D-9F5C-6A959B3E01B1}" srcOrd="5" destOrd="0" presId="urn:microsoft.com/office/officeart/2005/8/layout/lProcess2"/>
    <dgm:cxn modelId="{669AE2F8-6A5A-4C78-BA11-4BC9CF224BE2}" type="presParOf" srcId="{24975075-D217-4B1A-8D70-F75E0B154849}" destId="{0517F963-117B-4680-9A6B-E0356D8B1455}" srcOrd="6" destOrd="0" presId="urn:microsoft.com/office/officeart/2005/8/layout/lProcess2"/>
    <dgm:cxn modelId="{17AEC8CC-77FE-45A9-ADFD-E46AE45AFDFC}" type="presParOf" srcId="{24975075-D217-4B1A-8D70-F75E0B154849}" destId="{DB3B932D-5E03-46D3-A8E6-921238117D46}" srcOrd="7" destOrd="0" presId="urn:microsoft.com/office/officeart/2005/8/layout/lProcess2"/>
    <dgm:cxn modelId="{6B53C81D-56FC-4F28-AA73-E6358602ED05}" type="presParOf" srcId="{24975075-D217-4B1A-8D70-F75E0B154849}" destId="{BAECC03D-F0C0-406C-9F35-25FF06F8EB49}" srcOrd="8" destOrd="0" presId="urn:microsoft.com/office/officeart/2005/8/layout/lProcess2"/>
    <dgm:cxn modelId="{45AFCFA0-F810-43AA-8C2F-2A57F0268C31}" type="presParOf" srcId="{24975075-D217-4B1A-8D70-F75E0B154849}" destId="{D2A4D120-1E50-4D77-A8A5-6D1F808588A5}" srcOrd="9" destOrd="0" presId="urn:microsoft.com/office/officeart/2005/8/layout/lProcess2"/>
    <dgm:cxn modelId="{D535FE7A-226B-4867-923E-823CBFD9793A}" type="presParOf" srcId="{24975075-D217-4B1A-8D70-F75E0B154849}" destId="{5D4E2A2F-3FEC-4A6B-A629-266559C51F3C}" srcOrd="10"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2DB689AB-0CF4-45E1-B435-3DD939704B39}"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B7B5247F-2C3B-45C0-A1BA-ED9E9619DE0D}">
      <dgm:prSet/>
      <dgm:spPr/>
      <dgm:t>
        <a:bodyPr/>
        <a:lstStyle/>
        <a:p>
          <a:r>
            <a:rPr lang="en-US" baseline="0" dirty="0"/>
            <a:t>11M+ Docker Pulls</a:t>
          </a:r>
          <a:endParaRPr lang="en-US" dirty="0"/>
        </a:p>
      </dgm:t>
    </dgm:pt>
    <dgm:pt modelId="{106611EF-B255-4762-A50F-417B11FECEB4}" type="parTrans" cxnId="{8C2CEA1A-0807-42A4-862E-EEA3FCD65E52}">
      <dgm:prSet/>
      <dgm:spPr/>
      <dgm:t>
        <a:bodyPr/>
        <a:lstStyle/>
        <a:p>
          <a:endParaRPr lang="en-US"/>
        </a:p>
      </dgm:t>
    </dgm:pt>
    <dgm:pt modelId="{16104D13-401B-4A2D-808E-D1CF48487CBD}" type="sibTrans" cxnId="{8C2CEA1A-0807-42A4-862E-EEA3FCD65E52}">
      <dgm:prSet/>
      <dgm:spPr/>
      <dgm:t>
        <a:bodyPr/>
        <a:lstStyle/>
        <a:p>
          <a:endParaRPr lang="en-US"/>
        </a:p>
      </dgm:t>
    </dgm:pt>
    <dgm:pt modelId="{3754A8D2-187B-4F3C-82B7-67AA92B1FC31}">
      <dgm:prSet/>
      <dgm:spPr/>
      <dgm:t>
        <a:bodyPr/>
        <a:lstStyle/>
        <a:p>
          <a:r>
            <a:rPr lang="en-US" dirty="0"/>
            <a:t>Thousands of instances and CPUs using SQL Server on Linux</a:t>
          </a:r>
        </a:p>
      </dgm:t>
    </dgm:pt>
    <dgm:pt modelId="{1A62A2EC-9E72-48FF-B3A7-F4B3FCF81C5D}" type="sibTrans" cxnId="{748FAFCE-7DA9-4D79-A868-CB7FC4D51482}">
      <dgm:prSet/>
      <dgm:spPr/>
      <dgm:t>
        <a:bodyPr/>
        <a:lstStyle/>
        <a:p>
          <a:endParaRPr lang="en-US"/>
        </a:p>
      </dgm:t>
    </dgm:pt>
    <dgm:pt modelId="{18A83B81-62B1-4BBB-ACC2-5DA53ECF7685}" type="parTrans" cxnId="{748FAFCE-7DA9-4D79-A868-CB7FC4D51482}">
      <dgm:prSet/>
      <dgm:spPr/>
      <dgm:t>
        <a:bodyPr/>
        <a:lstStyle/>
        <a:p>
          <a:endParaRPr lang="en-US"/>
        </a:p>
      </dgm:t>
    </dgm:pt>
    <dgm:pt modelId="{9890CA17-DEAE-4F85-8FFB-A99F37E8BE45}" type="pres">
      <dgm:prSet presAssocID="{2DB689AB-0CF4-45E1-B435-3DD939704B39}" presName="diagram" presStyleCnt="0">
        <dgm:presLayoutVars>
          <dgm:dir/>
          <dgm:resizeHandles val="exact"/>
        </dgm:presLayoutVars>
      </dgm:prSet>
      <dgm:spPr/>
    </dgm:pt>
    <dgm:pt modelId="{D815B289-DAEE-446B-A637-A4D6355BA418}" type="pres">
      <dgm:prSet presAssocID="{B7B5247F-2C3B-45C0-A1BA-ED9E9619DE0D}" presName="node" presStyleLbl="node1" presStyleIdx="0" presStyleCnt="2">
        <dgm:presLayoutVars>
          <dgm:bulletEnabled val="1"/>
        </dgm:presLayoutVars>
      </dgm:prSet>
      <dgm:spPr/>
    </dgm:pt>
    <dgm:pt modelId="{B9863359-8DFF-4B9E-A4BB-FA74D23291C9}" type="pres">
      <dgm:prSet presAssocID="{16104D13-401B-4A2D-808E-D1CF48487CBD}" presName="sibTrans" presStyleCnt="0"/>
      <dgm:spPr/>
    </dgm:pt>
    <dgm:pt modelId="{8624D9B7-1B60-421A-A038-6AA038836560}" type="pres">
      <dgm:prSet presAssocID="{3754A8D2-187B-4F3C-82B7-67AA92B1FC31}" presName="node" presStyleLbl="node1" presStyleIdx="1" presStyleCnt="2">
        <dgm:presLayoutVars>
          <dgm:bulletEnabled val="1"/>
        </dgm:presLayoutVars>
      </dgm:prSet>
      <dgm:spPr/>
    </dgm:pt>
  </dgm:ptLst>
  <dgm:cxnLst>
    <dgm:cxn modelId="{C4132702-735A-4718-9A74-BC386E8721FF}" type="presOf" srcId="{2DB689AB-0CF4-45E1-B435-3DD939704B39}" destId="{9890CA17-DEAE-4F85-8FFB-A99F37E8BE45}" srcOrd="0" destOrd="0" presId="urn:microsoft.com/office/officeart/2005/8/layout/default"/>
    <dgm:cxn modelId="{8C2CEA1A-0807-42A4-862E-EEA3FCD65E52}" srcId="{2DB689AB-0CF4-45E1-B435-3DD939704B39}" destId="{B7B5247F-2C3B-45C0-A1BA-ED9E9619DE0D}" srcOrd="0" destOrd="0" parTransId="{106611EF-B255-4762-A50F-417B11FECEB4}" sibTransId="{16104D13-401B-4A2D-808E-D1CF48487CBD}"/>
    <dgm:cxn modelId="{ADCBAF30-73B0-4676-90AC-8957A5E98FA6}" type="presOf" srcId="{3754A8D2-187B-4F3C-82B7-67AA92B1FC31}" destId="{8624D9B7-1B60-421A-A038-6AA038836560}" srcOrd="0" destOrd="0" presId="urn:microsoft.com/office/officeart/2005/8/layout/default"/>
    <dgm:cxn modelId="{6F6C13A7-F65E-48E4-9766-958B7B37ADAB}" type="presOf" srcId="{B7B5247F-2C3B-45C0-A1BA-ED9E9619DE0D}" destId="{D815B289-DAEE-446B-A637-A4D6355BA418}" srcOrd="0" destOrd="0" presId="urn:microsoft.com/office/officeart/2005/8/layout/default"/>
    <dgm:cxn modelId="{748FAFCE-7DA9-4D79-A868-CB7FC4D51482}" srcId="{2DB689AB-0CF4-45E1-B435-3DD939704B39}" destId="{3754A8D2-187B-4F3C-82B7-67AA92B1FC31}" srcOrd="1" destOrd="0" parTransId="{18A83B81-62B1-4BBB-ACC2-5DA53ECF7685}" sibTransId="{1A62A2EC-9E72-48FF-B3A7-F4B3FCF81C5D}"/>
    <dgm:cxn modelId="{8D57CFEE-E425-42DC-8557-10837686E6EA}" type="presParOf" srcId="{9890CA17-DEAE-4F85-8FFB-A99F37E8BE45}" destId="{D815B289-DAEE-446B-A637-A4D6355BA418}" srcOrd="0" destOrd="0" presId="urn:microsoft.com/office/officeart/2005/8/layout/default"/>
    <dgm:cxn modelId="{C3E9F7F7-E131-4301-9EB8-6A6455AEAE4A}" type="presParOf" srcId="{9890CA17-DEAE-4F85-8FFB-A99F37E8BE45}" destId="{B9863359-8DFF-4B9E-A4BB-FA74D23291C9}" srcOrd="1" destOrd="0" presId="urn:microsoft.com/office/officeart/2005/8/layout/default"/>
    <dgm:cxn modelId="{EEF66A43-3F35-444A-8709-A799DACDBAF6}" type="presParOf" srcId="{9890CA17-DEAE-4F85-8FFB-A99F37E8BE45}" destId="{8624D9B7-1B60-421A-A038-6AA038836560}" srcOrd="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2EAF51A7-CD06-4005-9D8B-66650501BE93}" type="doc">
      <dgm:prSet loTypeId="urn:microsoft.com/office/officeart/2005/8/layout/vList2" loCatId="list" qsTypeId="urn:microsoft.com/office/officeart/2005/8/quickstyle/simple1" qsCatId="simple" csTypeId="urn:microsoft.com/office/officeart/2005/8/colors/accent2_2" csCatId="accent2" phldr="1"/>
      <dgm:spPr/>
      <dgm:t>
        <a:bodyPr/>
        <a:lstStyle/>
        <a:p>
          <a:endParaRPr lang="en-US"/>
        </a:p>
      </dgm:t>
    </dgm:pt>
    <dgm:pt modelId="{2EE6CC41-9DCE-4CEB-BD27-BE3B6AF2DB12}">
      <dgm:prSet phldrT="[Text]"/>
      <dgm:spPr/>
      <dgm:t>
        <a:bodyPr/>
        <a:lstStyle/>
        <a:p>
          <a:r>
            <a:rPr lang="en-US" dirty="0"/>
            <a:t>Is it the same as Windows?</a:t>
          </a:r>
        </a:p>
      </dgm:t>
    </dgm:pt>
    <dgm:pt modelId="{CEBA8CE4-7598-4664-A85D-7F7ECE061CD5}" type="parTrans" cxnId="{89F91B5D-7B1B-432B-9534-19CF7EF64D67}">
      <dgm:prSet/>
      <dgm:spPr/>
      <dgm:t>
        <a:bodyPr/>
        <a:lstStyle/>
        <a:p>
          <a:endParaRPr lang="en-US"/>
        </a:p>
      </dgm:t>
    </dgm:pt>
    <dgm:pt modelId="{28A89C2F-2974-4134-AC79-724ACEDFEBFF}" type="sibTrans" cxnId="{89F91B5D-7B1B-432B-9534-19CF7EF64D67}">
      <dgm:prSet/>
      <dgm:spPr/>
      <dgm:t>
        <a:bodyPr/>
        <a:lstStyle/>
        <a:p>
          <a:endParaRPr lang="en-US"/>
        </a:p>
      </dgm:t>
    </dgm:pt>
    <dgm:pt modelId="{F96DC6FF-591D-4F98-99B7-2A278268E7EC}">
      <dgm:prSet phldrT="[Text]"/>
      <dgm:spPr/>
      <dgm:t>
        <a:bodyPr/>
        <a:lstStyle/>
        <a:p>
          <a:r>
            <a:rPr lang="en-US" dirty="0"/>
            <a:t>Is the performance the same as on Windows?</a:t>
          </a:r>
        </a:p>
      </dgm:t>
    </dgm:pt>
    <dgm:pt modelId="{712AF434-BE9B-42F6-8516-063F12DEE66A}" type="parTrans" cxnId="{FD41F417-88D4-40D0-9EDB-8A636EFDBC3B}">
      <dgm:prSet/>
      <dgm:spPr/>
      <dgm:t>
        <a:bodyPr/>
        <a:lstStyle/>
        <a:p>
          <a:endParaRPr lang="en-US"/>
        </a:p>
      </dgm:t>
    </dgm:pt>
    <dgm:pt modelId="{F0C5F008-8111-4D75-98E3-BFC2ACC6CAC8}" type="sibTrans" cxnId="{FD41F417-88D4-40D0-9EDB-8A636EFDBC3B}">
      <dgm:prSet/>
      <dgm:spPr/>
      <dgm:t>
        <a:bodyPr/>
        <a:lstStyle/>
        <a:p>
          <a:endParaRPr lang="en-US"/>
        </a:p>
      </dgm:t>
    </dgm:pt>
    <dgm:pt modelId="{6A44E862-0851-49BF-B5C1-EF2F1A7F8BF4}">
      <dgm:prSet phldrT="[Text]"/>
      <dgm:spPr/>
      <dgm:t>
        <a:bodyPr/>
        <a:lstStyle/>
        <a:p>
          <a:r>
            <a:rPr lang="en-US" dirty="0"/>
            <a:t>Is the licensing the same as on Windows?</a:t>
          </a:r>
        </a:p>
      </dgm:t>
    </dgm:pt>
    <dgm:pt modelId="{CCBA2F5A-0D9D-4CFF-B1F9-76971F7A0B1F}" type="parTrans" cxnId="{20A752F5-7AE9-421A-969D-FC7B88788525}">
      <dgm:prSet/>
      <dgm:spPr/>
      <dgm:t>
        <a:bodyPr/>
        <a:lstStyle/>
        <a:p>
          <a:endParaRPr lang="en-US"/>
        </a:p>
      </dgm:t>
    </dgm:pt>
    <dgm:pt modelId="{B4436F00-0764-41D6-88D9-5D58580687B8}" type="sibTrans" cxnId="{20A752F5-7AE9-421A-969D-FC7B88788525}">
      <dgm:prSet/>
      <dgm:spPr/>
      <dgm:t>
        <a:bodyPr/>
        <a:lstStyle/>
        <a:p>
          <a:endParaRPr lang="en-US"/>
        </a:p>
      </dgm:t>
    </dgm:pt>
    <dgm:pt modelId="{E6C1CECE-0279-46D2-8CDD-B6EE42FD6F59}">
      <dgm:prSet phldrT="[Text]"/>
      <dgm:spPr/>
      <dgm:t>
        <a:bodyPr/>
        <a:lstStyle/>
        <a:p>
          <a:r>
            <a:rPr lang="en-US" dirty="0"/>
            <a:t>Do I need to know Linux?</a:t>
          </a:r>
        </a:p>
      </dgm:t>
    </dgm:pt>
    <dgm:pt modelId="{C5A88DC1-96CC-44D6-A6AA-65DB6AE83440}" type="parTrans" cxnId="{17A6811D-7A6A-4E17-BF75-3FD25FEE8533}">
      <dgm:prSet/>
      <dgm:spPr/>
      <dgm:t>
        <a:bodyPr/>
        <a:lstStyle/>
        <a:p>
          <a:endParaRPr lang="en-US"/>
        </a:p>
      </dgm:t>
    </dgm:pt>
    <dgm:pt modelId="{859DAE4D-4B92-4541-AC2C-9DF8B031FE93}" type="sibTrans" cxnId="{17A6811D-7A6A-4E17-BF75-3FD25FEE8533}">
      <dgm:prSet/>
      <dgm:spPr/>
      <dgm:t>
        <a:bodyPr/>
        <a:lstStyle/>
        <a:p>
          <a:endParaRPr lang="en-US"/>
        </a:p>
      </dgm:t>
    </dgm:pt>
    <dgm:pt modelId="{1EA96472-BEB7-4A69-9370-1CCC6E0420BB}">
      <dgm:prSet phldrT="[Text]"/>
      <dgm:spPr/>
      <dgm:t>
        <a:bodyPr/>
        <a:lstStyle/>
        <a:p>
          <a:r>
            <a:rPr lang="en-US" dirty="0"/>
            <a:t>Is SQL Server different in a container?</a:t>
          </a:r>
        </a:p>
      </dgm:t>
    </dgm:pt>
    <dgm:pt modelId="{085394AE-2F64-4CF9-9C03-C449CF187660}" type="parTrans" cxnId="{04BDC7A1-5493-47E3-BFD6-2F50811D1FB6}">
      <dgm:prSet/>
      <dgm:spPr/>
      <dgm:t>
        <a:bodyPr/>
        <a:lstStyle/>
        <a:p>
          <a:endParaRPr lang="en-US"/>
        </a:p>
      </dgm:t>
    </dgm:pt>
    <dgm:pt modelId="{B57F7E17-A4E4-417D-B6C0-9DD72EB95B51}" type="sibTrans" cxnId="{04BDC7A1-5493-47E3-BFD6-2F50811D1FB6}">
      <dgm:prSet/>
      <dgm:spPr/>
      <dgm:t>
        <a:bodyPr/>
        <a:lstStyle/>
        <a:p>
          <a:endParaRPr lang="en-US"/>
        </a:p>
      </dgm:t>
    </dgm:pt>
    <dgm:pt modelId="{BF002852-C5CA-4201-A969-C2385C9F7E8B}">
      <dgm:prSet phldrT="[Text]"/>
      <dgm:spPr/>
      <dgm:t>
        <a:bodyPr/>
        <a:lstStyle/>
        <a:p>
          <a:r>
            <a:rPr lang="en-US" dirty="0"/>
            <a:t>Need multi-instance? Use containers</a:t>
          </a:r>
        </a:p>
      </dgm:t>
    </dgm:pt>
    <dgm:pt modelId="{CAD197FB-AB8D-43B7-97B0-6BF48D645E8C}" type="parTrans" cxnId="{A0B85A84-3623-45F4-BA45-DE78A819332F}">
      <dgm:prSet/>
      <dgm:spPr/>
      <dgm:t>
        <a:bodyPr/>
        <a:lstStyle/>
        <a:p>
          <a:endParaRPr lang="en-US"/>
        </a:p>
      </dgm:t>
    </dgm:pt>
    <dgm:pt modelId="{5A7100EF-6DFE-4D7A-BF9A-A967B28A7C56}" type="sibTrans" cxnId="{A0B85A84-3623-45F4-BA45-DE78A819332F}">
      <dgm:prSet/>
      <dgm:spPr/>
      <dgm:t>
        <a:bodyPr/>
        <a:lstStyle/>
        <a:p>
          <a:endParaRPr lang="en-US"/>
        </a:p>
      </dgm:t>
    </dgm:pt>
    <dgm:pt modelId="{EC86CA7E-A80F-4C80-87FC-24A920D51190}" type="pres">
      <dgm:prSet presAssocID="{2EAF51A7-CD06-4005-9D8B-66650501BE93}" presName="linear" presStyleCnt="0">
        <dgm:presLayoutVars>
          <dgm:animLvl val="lvl"/>
          <dgm:resizeHandles val="exact"/>
        </dgm:presLayoutVars>
      </dgm:prSet>
      <dgm:spPr/>
    </dgm:pt>
    <dgm:pt modelId="{CECDE6F6-E719-45CB-8223-453D552928EE}" type="pres">
      <dgm:prSet presAssocID="{2EE6CC41-9DCE-4CEB-BD27-BE3B6AF2DB12}" presName="parentText" presStyleLbl="node1" presStyleIdx="0" presStyleCnt="6">
        <dgm:presLayoutVars>
          <dgm:chMax val="0"/>
          <dgm:bulletEnabled val="1"/>
        </dgm:presLayoutVars>
      </dgm:prSet>
      <dgm:spPr/>
    </dgm:pt>
    <dgm:pt modelId="{04165F02-B641-4DE9-BF0F-F10C1D3B9BAA}" type="pres">
      <dgm:prSet presAssocID="{28A89C2F-2974-4134-AC79-724ACEDFEBFF}" presName="spacer" presStyleCnt="0"/>
      <dgm:spPr/>
    </dgm:pt>
    <dgm:pt modelId="{3ABBD336-40E8-4549-9A99-20E97504E217}" type="pres">
      <dgm:prSet presAssocID="{F96DC6FF-591D-4F98-99B7-2A278268E7EC}" presName="parentText" presStyleLbl="node1" presStyleIdx="1" presStyleCnt="6">
        <dgm:presLayoutVars>
          <dgm:chMax val="0"/>
          <dgm:bulletEnabled val="1"/>
        </dgm:presLayoutVars>
      </dgm:prSet>
      <dgm:spPr/>
    </dgm:pt>
    <dgm:pt modelId="{4367253A-9D4F-4E0C-8322-136CFB22F384}" type="pres">
      <dgm:prSet presAssocID="{F0C5F008-8111-4D75-98E3-BFC2ACC6CAC8}" presName="spacer" presStyleCnt="0"/>
      <dgm:spPr/>
    </dgm:pt>
    <dgm:pt modelId="{CA4A3630-1C2E-4A1F-BE87-D2F87469B0AE}" type="pres">
      <dgm:prSet presAssocID="{6A44E862-0851-49BF-B5C1-EF2F1A7F8BF4}" presName="parentText" presStyleLbl="node1" presStyleIdx="2" presStyleCnt="6">
        <dgm:presLayoutVars>
          <dgm:chMax val="0"/>
          <dgm:bulletEnabled val="1"/>
        </dgm:presLayoutVars>
      </dgm:prSet>
      <dgm:spPr/>
    </dgm:pt>
    <dgm:pt modelId="{264C8BFE-6521-42F1-A31B-9124213D7974}" type="pres">
      <dgm:prSet presAssocID="{B4436F00-0764-41D6-88D9-5D58580687B8}" presName="spacer" presStyleCnt="0"/>
      <dgm:spPr/>
    </dgm:pt>
    <dgm:pt modelId="{E64BC9FD-807C-409A-9805-720EA7503BF4}" type="pres">
      <dgm:prSet presAssocID="{E6C1CECE-0279-46D2-8CDD-B6EE42FD6F59}" presName="parentText" presStyleLbl="node1" presStyleIdx="3" presStyleCnt="6">
        <dgm:presLayoutVars>
          <dgm:chMax val="0"/>
          <dgm:bulletEnabled val="1"/>
        </dgm:presLayoutVars>
      </dgm:prSet>
      <dgm:spPr/>
    </dgm:pt>
    <dgm:pt modelId="{FA8A9148-F489-4B8A-97DA-1D61FE8D0F79}" type="pres">
      <dgm:prSet presAssocID="{859DAE4D-4B92-4541-AC2C-9DF8B031FE93}" presName="spacer" presStyleCnt="0"/>
      <dgm:spPr/>
    </dgm:pt>
    <dgm:pt modelId="{CCAEB940-CC1B-48F2-95A4-8902D8908AB9}" type="pres">
      <dgm:prSet presAssocID="{1EA96472-BEB7-4A69-9370-1CCC6E0420BB}" presName="parentText" presStyleLbl="node1" presStyleIdx="4" presStyleCnt="6">
        <dgm:presLayoutVars>
          <dgm:chMax val="0"/>
          <dgm:bulletEnabled val="1"/>
        </dgm:presLayoutVars>
      </dgm:prSet>
      <dgm:spPr/>
    </dgm:pt>
    <dgm:pt modelId="{CE2EBAC0-3674-4A01-BDA9-63A1093DB57B}" type="pres">
      <dgm:prSet presAssocID="{B57F7E17-A4E4-417D-B6C0-9DD72EB95B51}" presName="spacer" presStyleCnt="0"/>
      <dgm:spPr/>
    </dgm:pt>
    <dgm:pt modelId="{C40AE0EB-D8AA-451C-BEE8-21CE03FDFD29}" type="pres">
      <dgm:prSet presAssocID="{BF002852-C5CA-4201-A969-C2385C9F7E8B}" presName="parentText" presStyleLbl="node1" presStyleIdx="5" presStyleCnt="6">
        <dgm:presLayoutVars>
          <dgm:chMax val="0"/>
          <dgm:bulletEnabled val="1"/>
        </dgm:presLayoutVars>
      </dgm:prSet>
      <dgm:spPr/>
    </dgm:pt>
  </dgm:ptLst>
  <dgm:cxnLst>
    <dgm:cxn modelId="{FD41F417-88D4-40D0-9EDB-8A636EFDBC3B}" srcId="{2EAF51A7-CD06-4005-9D8B-66650501BE93}" destId="{F96DC6FF-591D-4F98-99B7-2A278268E7EC}" srcOrd="1" destOrd="0" parTransId="{712AF434-BE9B-42F6-8516-063F12DEE66A}" sibTransId="{F0C5F008-8111-4D75-98E3-BFC2ACC6CAC8}"/>
    <dgm:cxn modelId="{17A6811D-7A6A-4E17-BF75-3FD25FEE8533}" srcId="{2EAF51A7-CD06-4005-9D8B-66650501BE93}" destId="{E6C1CECE-0279-46D2-8CDD-B6EE42FD6F59}" srcOrd="3" destOrd="0" parTransId="{C5A88DC1-96CC-44D6-A6AA-65DB6AE83440}" sibTransId="{859DAE4D-4B92-4541-AC2C-9DF8B031FE93}"/>
    <dgm:cxn modelId="{9CE85F20-01E5-4C5E-B60C-E702BCF7AB6A}" type="presOf" srcId="{1EA96472-BEB7-4A69-9370-1CCC6E0420BB}" destId="{CCAEB940-CC1B-48F2-95A4-8902D8908AB9}" srcOrd="0" destOrd="0" presId="urn:microsoft.com/office/officeart/2005/8/layout/vList2"/>
    <dgm:cxn modelId="{DD147723-04AB-418F-99BE-6671E2D4AD4E}" type="presOf" srcId="{2EAF51A7-CD06-4005-9D8B-66650501BE93}" destId="{EC86CA7E-A80F-4C80-87FC-24A920D51190}" srcOrd="0" destOrd="0" presId="urn:microsoft.com/office/officeart/2005/8/layout/vList2"/>
    <dgm:cxn modelId="{F172F936-40C0-480A-AFED-7CF5CE445E24}" type="presOf" srcId="{E6C1CECE-0279-46D2-8CDD-B6EE42FD6F59}" destId="{E64BC9FD-807C-409A-9805-720EA7503BF4}" srcOrd="0" destOrd="0" presId="urn:microsoft.com/office/officeart/2005/8/layout/vList2"/>
    <dgm:cxn modelId="{89F91B5D-7B1B-432B-9534-19CF7EF64D67}" srcId="{2EAF51A7-CD06-4005-9D8B-66650501BE93}" destId="{2EE6CC41-9DCE-4CEB-BD27-BE3B6AF2DB12}" srcOrd="0" destOrd="0" parTransId="{CEBA8CE4-7598-4664-A85D-7F7ECE061CD5}" sibTransId="{28A89C2F-2974-4134-AC79-724ACEDFEBFF}"/>
    <dgm:cxn modelId="{E9AFA055-8EC0-4A28-A930-FDF7B46BE424}" type="presOf" srcId="{F96DC6FF-591D-4F98-99B7-2A278268E7EC}" destId="{3ABBD336-40E8-4549-9A99-20E97504E217}" srcOrd="0" destOrd="0" presId="urn:microsoft.com/office/officeart/2005/8/layout/vList2"/>
    <dgm:cxn modelId="{A0B85A84-3623-45F4-BA45-DE78A819332F}" srcId="{2EAF51A7-CD06-4005-9D8B-66650501BE93}" destId="{BF002852-C5CA-4201-A969-C2385C9F7E8B}" srcOrd="5" destOrd="0" parTransId="{CAD197FB-AB8D-43B7-97B0-6BF48D645E8C}" sibTransId="{5A7100EF-6DFE-4D7A-BF9A-A967B28A7C56}"/>
    <dgm:cxn modelId="{04BDC7A1-5493-47E3-BFD6-2F50811D1FB6}" srcId="{2EAF51A7-CD06-4005-9D8B-66650501BE93}" destId="{1EA96472-BEB7-4A69-9370-1CCC6E0420BB}" srcOrd="4" destOrd="0" parTransId="{085394AE-2F64-4CF9-9C03-C449CF187660}" sibTransId="{B57F7E17-A4E4-417D-B6C0-9DD72EB95B51}"/>
    <dgm:cxn modelId="{CE2FAEA3-3A05-42B7-B783-D8BAFEF1FD8C}" type="presOf" srcId="{BF002852-C5CA-4201-A969-C2385C9F7E8B}" destId="{C40AE0EB-D8AA-451C-BEE8-21CE03FDFD29}" srcOrd="0" destOrd="0" presId="urn:microsoft.com/office/officeart/2005/8/layout/vList2"/>
    <dgm:cxn modelId="{22AFB4B0-E506-4DB2-9B00-425359EB9158}" type="presOf" srcId="{2EE6CC41-9DCE-4CEB-BD27-BE3B6AF2DB12}" destId="{CECDE6F6-E719-45CB-8223-453D552928EE}" srcOrd="0" destOrd="0" presId="urn:microsoft.com/office/officeart/2005/8/layout/vList2"/>
    <dgm:cxn modelId="{20A752F5-7AE9-421A-969D-FC7B88788525}" srcId="{2EAF51A7-CD06-4005-9D8B-66650501BE93}" destId="{6A44E862-0851-49BF-B5C1-EF2F1A7F8BF4}" srcOrd="2" destOrd="0" parTransId="{CCBA2F5A-0D9D-4CFF-B1F9-76971F7A0B1F}" sibTransId="{B4436F00-0764-41D6-88D9-5D58580687B8}"/>
    <dgm:cxn modelId="{3099B8FF-2311-4598-BE15-01920B360812}" type="presOf" srcId="{6A44E862-0851-49BF-B5C1-EF2F1A7F8BF4}" destId="{CA4A3630-1C2E-4A1F-BE87-D2F87469B0AE}" srcOrd="0" destOrd="0" presId="urn:microsoft.com/office/officeart/2005/8/layout/vList2"/>
    <dgm:cxn modelId="{D7FB7961-8394-4AC8-BD8E-FDC43330B6C3}" type="presParOf" srcId="{EC86CA7E-A80F-4C80-87FC-24A920D51190}" destId="{CECDE6F6-E719-45CB-8223-453D552928EE}" srcOrd="0" destOrd="0" presId="urn:microsoft.com/office/officeart/2005/8/layout/vList2"/>
    <dgm:cxn modelId="{2C764A5D-8356-4C53-B85E-CA2B647024E8}" type="presParOf" srcId="{EC86CA7E-A80F-4C80-87FC-24A920D51190}" destId="{04165F02-B641-4DE9-BF0F-F10C1D3B9BAA}" srcOrd="1" destOrd="0" presId="urn:microsoft.com/office/officeart/2005/8/layout/vList2"/>
    <dgm:cxn modelId="{0554A405-76B9-49A8-8721-1BBA443A8582}" type="presParOf" srcId="{EC86CA7E-A80F-4C80-87FC-24A920D51190}" destId="{3ABBD336-40E8-4549-9A99-20E97504E217}" srcOrd="2" destOrd="0" presId="urn:microsoft.com/office/officeart/2005/8/layout/vList2"/>
    <dgm:cxn modelId="{D518094B-4927-4DE5-9A1E-1D321C7AB747}" type="presParOf" srcId="{EC86CA7E-A80F-4C80-87FC-24A920D51190}" destId="{4367253A-9D4F-4E0C-8322-136CFB22F384}" srcOrd="3" destOrd="0" presId="urn:microsoft.com/office/officeart/2005/8/layout/vList2"/>
    <dgm:cxn modelId="{B6135CDB-5DC3-4DCB-B1AD-28D8E6AA246F}" type="presParOf" srcId="{EC86CA7E-A80F-4C80-87FC-24A920D51190}" destId="{CA4A3630-1C2E-4A1F-BE87-D2F87469B0AE}" srcOrd="4" destOrd="0" presId="urn:microsoft.com/office/officeart/2005/8/layout/vList2"/>
    <dgm:cxn modelId="{4049807D-AED7-4EDA-9E8B-0EDC94169EC6}" type="presParOf" srcId="{EC86CA7E-A80F-4C80-87FC-24A920D51190}" destId="{264C8BFE-6521-42F1-A31B-9124213D7974}" srcOrd="5" destOrd="0" presId="urn:microsoft.com/office/officeart/2005/8/layout/vList2"/>
    <dgm:cxn modelId="{EE3A672A-AFCB-4F66-92C1-97770CFE7D4A}" type="presParOf" srcId="{EC86CA7E-A80F-4C80-87FC-24A920D51190}" destId="{E64BC9FD-807C-409A-9805-720EA7503BF4}" srcOrd="6" destOrd="0" presId="urn:microsoft.com/office/officeart/2005/8/layout/vList2"/>
    <dgm:cxn modelId="{CAFC64B1-F883-402B-91D9-E90D33D5BFBC}" type="presParOf" srcId="{EC86CA7E-A80F-4C80-87FC-24A920D51190}" destId="{FA8A9148-F489-4B8A-97DA-1D61FE8D0F79}" srcOrd="7" destOrd="0" presId="urn:microsoft.com/office/officeart/2005/8/layout/vList2"/>
    <dgm:cxn modelId="{FEC4111F-FC9D-4BF3-B107-0CBCA85C9C72}" type="presParOf" srcId="{EC86CA7E-A80F-4C80-87FC-24A920D51190}" destId="{CCAEB940-CC1B-48F2-95A4-8902D8908AB9}" srcOrd="8" destOrd="0" presId="urn:microsoft.com/office/officeart/2005/8/layout/vList2"/>
    <dgm:cxn modelId="{740A3EF2-A610-40C8-B397-CC38A3464CB6}" type="presParOf" srcId="{EC86CA7E-A80F-4C80-87FC-24A920D51190}" destId="{CE2EBAC0-3674-4A01-BDA9-63A1093DB57B}" srcOrd="9" destOrd="0" presId="urn:microsoft.com/office/officeart/2005/8/layout/vList2"/>
    <dgm:cxn modelId="{A204608B-D2BC-4070-9A09-6CFA63F6210E}" type="presParOf" srcId="{EC86CA7E-A80F-4C80-87FC-24A920D51190}" destId="{C40AE0EB-D8AA-451C-BEE8-21CE03FDFD29}" srcOrd="10" destOrd="0" presId="urn:microsoft.com/office/officeart/2005/8/layout/v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B0C936EB-3105-43C1-936E-84CFF94A9D2A}" type="doc">
      <dgm:prSet loTypeId="urn:microsoft.com/office/officeart/2005/8/layout/default" loCatId="list" qsTypeId="urn:microsoft.com/office/officeart/2005/8/quickstyle/simple1" qsCatId="simple" csTypeId="urn:microsoft.com/office/officeart/2005/8/colors/accent2_1" csCatId="accent2" phldr="1"/>
      <dgm:spPr/>
      <dgm:t>
        <a:bodyPr/>
        <a:lstStyle/>
        <a:p>
          <a:endParaRPr lang="en-US"/>
        </a:p>
      </dgm:t>
    </dgm:pt>
    <dgm:pt modelId="{043F8C45-D6F4-4710-B24E-57A200ED1113}">
      <dgm:prSet phldrT="[Text]"/>
      <dgm:spPr/>
      <dgm:t>
        <a:bodyPr/>
        <a:lstStyle/>
        <a:p>
          <a:r>
            <a:rPr lang="en-US" dirty="0"/>
            <a:t>mssql-server</a:t>
          </a:r>
        </a:p>
      </dgm:t>
    </dgm:pt>
    <dgm:pt modelId="{35B6380E-019E-4E98-B3DE-2497A2E9458A}" type="parTrans" cxnId="{EFA1F917-34C8-40BB-9E79-5CF86F74B247}">
      <dgm:prSet/>
      <dgm:spPr/>
      <dgm:t>
        <a:bodyPr/>
        <a:lstStyle/>
        <a:p>
          <a:endParaRPr lang="en-US"/>
        </a:p>
      </dgm:t>
    </dgm:pt>
    <dgm:pt modelId="{250F6AAB-882C-4EC8-A18D-1C1BC0119275}" type="sibTrans" cxnId="{EFA1F917-34C8-40BB-9E79-5CF86F74B247}">
      <dgm:prSet/>
      <dgm:spPr/>
      <dgm:t>
        <a:bodyPr/>
        <a:lstStyle/>
        <a:p>
          <a:endParaRPr lang="en-US"/>
        </a:p>
      </dgm:t>
    </dgm:pt>
    <dgm:pt modelId="{5F5C0B6B-A29D-4AEF-AD70-9E80744B39F0}">
      <dgm:prSet phldrT="[Text]"/>
      <dgm:spPr/>
      <dgm:t>
        <a:bodyPr/>
        <a:lstStyle/>
        <a:p>
          <a:r>
            <a:rPr lang="en-US" dirty="0"/>
            <a:t>mssql-server-fts</a:t>
          </a:r>
        </a:p>
      </dgm:t>
    </dgm:pt>
    <dgm:pt modelId="{AA288CCA-4B1C-4489-B2AC-CEAB07687359}" type="parTrans" cxnId="{FA493F14-2631-4754-8268-38D40BD72599}">
      <dgm:prSet/>
      <dgm:spPr/>
      <dgm:t>
        <a:bodyPr/>
        <a:lstStyle/>
        <a:p>
          <a:endParaRPr lang="en-US"/>
        </a:p>
      </dgm:t>
    </dgm:pt>
    <dgm:pt modelId="{2ED67C6D-0D0A-4BA4-A42C-E363E89974E9}" type="sibTrans" cxnId="{FA493F14-2631-4754-8268-38D40BD72599}">
      <dgm:prSet/>
      <dgm:spPr/>
      <dgm:t>
        <a:bodyPr/>
        <a:lstStyle/>
        <a:p>
          <a:endParaRPr lang="en-US"/>
        </a:p>
      </dgm:t>
    </dgm:pt>
    <dgm:pt modelId="{1B7B03AF-B257-44C1-AEB2-61D68C2A147C}">
      <dgm:prSet phldrT="[Text]"/>
      <dgm:spPr/>
      <dgm:t>
        <a:bodyPr/>
        <a:lstStyle/>
        <a:p>
          <a:r>
            <a:rPr lang="en-US" dirty="0"/>
            <a:t>mssql-server-ha</a:t>
          </a:r>
        </a:p>
      </dgm:t>
    </dgm:pt>
    <dgm:pt modelId="{5913D297-559E-49DD-A810-2D1714AB5F7C}" type="parTrans" cxnId="{A2CFACE1-921E-4E04-8E6E-8CE034CC07DB}">
      <dgm:prSet/>
      <dgm:spPr/>
      <dgm:t>
        <a:bodyPr/>
        <a:lstStyle/>
        <a:p>
          <a:endParaRPr lang="en-US"/>
        </a:p>
      </dgm:t>
    </dgm:pt>
    <dgm:pt modelId="{7D026376-CC08-414E-ABCD-5C0126BB060E}" type="sibTrans" cxnId="{A2CFACE1-921E-4E04-8E6E-8CE034CC07DB}">
      <dgm:prSet/>
      <dgm:spPr/>
      <dgm:t>
        <a:bodyPr/>
        <a:lstStyle/>
        <a:p>
          <a:endParaRPr lang="en-US"/>
        </a:p>
      </dgm:t>
    </dgm:pt>
    <dgm:pt modelId="{DD451780-5077-4F1A-9324-F1AE519E63E6}">
      <dgm:prSet phldrT="[Text]"/>
      <dgm:spPr/>
      <dgm:t>
        <a:bodyPr/>
        <a:lstStyle/>
        <a:p>
          <a:r>
            <a:rPr lang="en-US" dirty="0"/>
            <a:t>mssql-server-is</a:t>
          </a:r>
        </a:p>
      </dgm:t>
    </dgm:pt>
    <dgm:pt modelId="{7B66BF3A-8C64-4E1C-97D8-66B8E01B318A}" type="parTrans" cxnId="{387264DE-7CAD-4D47-8EB2-1627009B09CB}">
      <dgm:prSet/>
      <dgm:spPr/>
      <dgm:t>
        <a:bodyPr/>
        <a:lstStyle/>
        <a:p>
          <a:endParaRPr lang="en-US"/>
        </a:p>
      </dgm:t>
    </dgm:pt>
    <dgm:pt modelId="{6627EE14-8535-416E-B184-5469A66BCB88}" type="sibTrans" cxnId="{387264DE-7CAD-4D47-8EB2-1627009B09CB}">
      <dgm:prSet/>
      <dgm:spPr/>
      <dgm:t>
        <a:bodyPr/>
        <a:lstStyle/>
        <a:p>
          <a:endParaRPr lang="en-US"/>
        </a:p>
      </dgm:t>
    </dgm:pt>
    <dgm:pt modelId="{EA5A818B-F52C-40E7-89B6-6DFA99B263A3}">
      <dgm:prSet phldrT="[Text]"/>
      <dgm:spPr/>
      <dgm:t>
        <a:bodyPr/>
        <a:lstStyle/>
        <a:p>
          <a:r>
            <a:rPr lang="en-US" dirty="0"/>
            <a:t>mssql-tools</a:t>
          </a:r>
        </a:p>
      </dgm:t>
    </dgm:pt>
    <dgm:pt modelId="{2A6AA7DF-1C47-4309-A476-4C1CED0219D3}" type="parTrans" cxnId="{BCD13150-29F7-477B-AC61-2E0AEA44EFF1}">
      <dgm:prSet/>
      <dgm:spPr/>
      <dgm:t>
        <a:bodyPr/>
        <a:lstStyle/>
        <a:p>
          <a:endParaRPr lang="en-US"/>
        </a:p>
      </dgm:t>
    </dgm:pt>
    <dgm:pt modelId="{BF71CB00-A31F-479A-8A30-8B881CEC932E}" type="sibTrans" cxnId="{BCD13150-29F7-477B-AC61-2E0AEA44EFF1}">
      <dgm:prSet/>
      <dgm:spPr/>
      <dgm:t>
        <a:bodyPr/>
        <a:lstStyle/>
        <a:p>
          <a:endParaRPr lang="en-US"/>
        </a:p>
      </dgm:t>
    </dgm:pt>
    <dgm:pt modelId="{F028C3F6-956F-42F3-8959-AAB44A94D719}">
      <dgm:prSet phldrT="[Text]"/>
      <dgm:spPr/>
      <dgm:t>
        <a:bodyPr/>
        <a:lstStyle/>
        <a:p>
          <a:r>
            <a:rPr lang="en-US" dirty="0">
              <a:hlinkClick xmlns:r="http://schemas.openxmlformats.org/officeDocument/2006/relationships" r:id="rId1"/>
            </a:rPr>
            <a:t>“extensibility, Java, and ML Services”</a:t>
          </a:r>
          <a:endParaRPr lang="en-US" dirty="0"/>
        </a:p>
      </dgm:t>
    </dgm:pt>
    <dgm:pt modelId="{FD306E0E-5784-4825-8C7E-B3CF0FF4A18B}" type="parTrans" cxnId="{C4DCF45F-6E72-4C52-B8E4-62327864014D}">
      <dgm:prSet/>
      <dgm:spPr/>
      <dgm:t>
        <a:bodyPr/>
        <a:lstStyle/>
        <a:p>
          <a:endParaRPr lang="en-US"/>
        </a:p>
      </dgm:t>
    </dgm:pt>
    <dgm:pt modelId="{F37C4C1F-3BFB-4545-B5F5-AC93DBEB9011}" type="sibTrans" cxnId="{C4DCF45F-6E72-4C52-B8E4-62327864014D}">
      <dgm:prSet/>
      <dgm:spPr/>
      <dgm:t>
        <a:bodyPr/>
        <a:lstStyle/>
        <a:p>
          <a:endParaRPr lang="en-US"/>
        </a:p>
      </dgm:t>
    </dgm:pt>
    <dgm:pt modelId="{B8163D97-6556-451A-9A16-832A23B08F6F}" type="pres">
      <dgm:prSet presAssocID="{B0C936EB-3105-43C1-936E-84CFF94A9D2A}" presName="diagram" presStyleCnt="0">
        <dgm:presLayoutVars>
          <dgm:dir/>
          <dgm:resizeHandles val="exact"/>
        </dgm:presLayoutVars>
      </dgm:prSet>
      <dgm:spPr/>
    </dgm:pt>
    <dgm:pt modelId="{8E57659E-DBBA-4CD4-867F-27361D1003B4}" type="pres">
      <dgm:prSet presAssocID="{043F8C45-D6F4-4710-B24E-57A200ED1113}" presName="node" presStyleLbl="node1" presStyleIdx="0" presStyleCnt="6">
        <dgm:presLayoutVars>
          <dgm:bulletEnabled val="1"/>
        </dgm:presLayoutVars>
      </dgm:prSet>
      <dgm:spPr/>
    </dgm:pt>
    <dgm:pt modelId="{C7875BFF-76E9-4C8D-AA44-E2E99DCF4BA7}" type="pres">
      <dgm:prSet presAssocID="{250F6AAB-882C-4EC8-A18D-1C1BC0119275}" presName="sibTrans" presStyleCnt="0"/>
      <dgm:spPr/>
    </dgm:pt>
    <dgm:pt modelId="{08BD63EA-CEE8-40D6-9CD7-E336968F521F}" type="pres">
      <dgm:prSet presAssocID="{EA5A818B-F52C-40E7-89B6-6DFA99B263A3}" presName="node" presStyleLbl="node1" presStyleIdx="1" presStyleCnt="6">
        <dgm:presLayoutVars>
          <dgm:bulletEnabled val="1"/>
        </dgm:presLayoutVars>
      </dgm:prSet>
      <dgm:spPr/>
    </dgm:pt>
    <dgm:pt modelId="{A13FBDA4-A131-44E2-8728-27C1DAE723F8}" type="pres">
      <dgm:prSet presAssocID="{BF71CB00-A31F-479A-8A30-8B881CEC932E}" presName="sibTrans" presStyleCnt="0"/>
      <dgm:spPr/>
    </dgm:pt>
    <dgm:pt modelId="{C9A64BF8-7013-4702-A8E8-11930FC18B2E}" type="pres">
      <dgm:prSet presAssocID="{5F5C0B6B-A29D-4AEF-AD70-9E80744B39F0}" presName="node" presStyleLbl="node1" presStyleIdx="2" presStyleCnt="6">
        <dgm:presLayoutVars>
          <dgm:bulletEnabled val="1"/>
        </dgm:presLayoutVars>
      </dgm:prSet>
      <dgm:spPr/>
    </dgm:pt>
    <dgm:pt modelId="{5A43A17F-741E-4499-BF1A-9577202B29ED}" type="pres">
      <dgm:prSet presAssocID="{2ED67C6D-0D0A-4BA4-A42C-E363E89974E9}" presName="sibTrans" presStyleCnt="0"/>
      <dgm:spPr/>
    </dgm:pt>
    <dgm:pt modelId="{62A692D1-E9B0-4E60-B17C-FDA65098E03F}" type="pres">
      <dgm:prSet presAssocID="{1B7B03AF-B257-44C1-AEB2-61D68C2A147C}" presName="node" presStyleLbl="node1" presStyleIdx="3" presStyleCnt="6">
        <dgm:presLayoutVars>
          <dgm:bulletEnabled val="1"/>
        </dgm:presLayoutVars>
      </dgm:prSet>
      <dgm:spPr/>
    </dgm:pt>
    <dgm:pt modelId="{9726F59D-2BEE-4B54-A755-2D44A66BB0B3}" type="pres">
      <dgm:prSet presAssocID="{7D026376-CC08-414E-ABCD-5C0126BB060E}" presName="sibTrans" presStyleCnt="0"/>
      <dgm:spPr/>
    </dgm:pt>
    <dgm:pt modelId="{40EAA6A1-C5F3-48C0-A627-D89ECF4DE8EE}" type="pres">
      <dgm:prSet presAssocID="{DD451780-5077-4F1A-9324-F1AE519E63E6}" presName="node" presStyleLbl="node1" presStyleIdx="4" presStyleCnt="6">
        <dgm:presLayoutVars>
          <dgm:bulletEnabled val="1"/>
        </dgm:presLayoutVars>
      </dgm:prSet>
      <dgm:spPr/>
    </dgm:pt>
    <dgm:pt modelId="{D11FC032-816B-4B9A-B865-B4A1BD8DD7B6}" type="pres">
      <dgm:prSet presAssocID="{6627EE14-8535-416E-B184-5469A66BCB88}" presName="sibTrans" presStyleCnt="0"/>
      <dgm:spPr/>
    </dgm:pt>
    <dgm:pt modelId="{4243F23D-D958-4B07-953A-95F00D0DF05D}" type="pres">
      <dgm:prSet presAssocID="{F028C3F6-956F-42F3-8959-AAB44A94D719}" presName="node" presStyleLbl="node1" presStyleIdx="5" presStyleCnt="6">
        <dgm:presLayoutVars>
          <dgm:bulletEnabled val="1"/>
        </dgm:presLayoutVars>
      </dgm:prSet>
      <dgm:spPr/>
    </dgm:pt>
  </dgm:ptLst>
  <dgm:cxnLst>
    <dgm:cxn modelId="{FA493F14-2631-4754-8268-38D40BD72599}" srcId="{B0C936EB-3105-43C1-936E-84CFF94A9D2A}" destId="{5F5C0B6B-A29D-4AEF-AD70-9E80744B39F0}" srcOrd="2" destOrd="0" parTransId="{AA288CCA-4B1C-4489-B2AC-CEAB07687359}" sibTransId="{2ED67C6D-0D0A-4BA4-A42C-E363E89974E9}"/>
    <dgm:cxn modelId="{EFA1F917-34C8-40BB-9E79-5CF86F74B247}" srcId="{B0C936EB-3105-43C1-936E-84CFF94A9D2A}" destId="{043F8C45-D6F4-4710-B24E-57A200ED1113}" srcOrd="0" destOrd="0" parTransId="{35B6380E-019E-4E98-B3DE-2497A2E9458A}" sibTransId="{250F6AAB-882C-4EC8-A18D-1C1BC0119275}"/>
    <dgm:cxn modelId="{B4E3CC28-98F8-4058-8C69-E3BA1E9A36C2}" type="presOf" srcId="{B0C936EB-3105-43C1-936E-84CFF94A9D2A}" destId="{B8163D97-6556-451A-9A16-832A23B08F6F}" srcOrd="0" destOrd="0" presId="urn:microsoft.com/office/officeart/2005/8/layout/default"/>
    <dgm:cxn modelId="{C4DCF45F-6E72-4C52-B8E4-62327864014D}" srcId="{B0C936EB-3105-43C1-936E-84CFF94A9D2A}" destId="{F028C3F6-956F-42F3-8959-AAB44A94D719}" srcOrd="5" destOrd="0" parTransId="{FD306E0E-5784-4825-8C7E-B3CF0FF4A18B}" sibTransId="{F37C4C1F-3BFB-4545-B5F5-AC93DBEB9011}"/>
    <dgm:cxn modelId="{224D4547-0DEA-444F-B112-B3FC1E302677}" type="presOf" srcId="{1B7B03AF-B257-44C1-AEB2-61D68C2A147C}" destId="{62A692D1-E9B0-4E60-B17C-FDA65098E03F}" srcOrd="0" destOrd="0" presId="urn:microsoft.com/office/officeart/2005/8/layout/default"/>
    <dgm:cxn modelId="{BCD13150-29F7-477B-AC61-2E0AEA44EFF1}" srcId="{B0C936EB-3105-43C1-936E-84CFF94A9D2A}" destId="{EA5A818B-F52C-40E7-89B6-6DFA99B263A3}" srcOrd="1" destOrd="0" parTransId="{2A6AA7DF-1C47-4309-A476-4C1CED0219D3}" sibTransId="{BF71CB00-A31F-479A-8A30-8B881CEC932E}"/>
    <dgm:cxn modelId="{B126C282-2AC2-427B-84A2-A81117112CE5}" type="presOf" srcId="{DD451780-5077-4F1A-9324-F1AE519E63E6}" destId="{40EAA6A1-C5F3-48C0-A627-D89ECF4DE8EE}" srcOrd="0" destOrd="0" presId="urn:microsoft.com/office/officeart/2005/8/layout/default"/>
    <dgm:cxn modelId="{852C1D94-B8EF-4921-A342-1C74836A9711}" type="presOf" srcId="{F028C3F6-956F-42F3-8959-AAB44A94D719}" destId="{4243F23D-D958-4B07-953A-95F00D0DF05D}" srcOrd="0" destOrd="0" presId="urn:microsoft.com/office/officeart/2005/8/layout/default"/>
    <dgm:cxn modelId="{C052489C-8A4F-416D-9D11-E6C0C56D2F87}" type="presOf" srcId="{EA5A818B-F52C-40E7-89B6-6DFA99B263A3}" destId="{08BD63EA-CEE8-40D6-9CD7-E336968F521F}" srcOrd="0" destOrd="0" presId="urn:microsoft.com/office/officeart/2005/8/layout/default"/>
    <dgm:cxn modelId="{387264DE-7CAD-4D47-8EB2-1627009B09CB}" srcId="{B0C936EB-3105-43C1-936E-84CFF94A9D2A}" destId="{DD451780-5077-4F1A-9324-F1AE519E63E6}" srcOrd="4" destOrd="0" parTransId="{7B66BF3A-8C64-4E1C-97D8-66B8E01B318A}" sibTransId="{6627EE14-8535-416E-B184-5469A66BCB88}"/>
    <dgm:cxn modelId="{A2CFACE1-921E-4E04-8E6E-8CE034CC07DB}" srcId="{B0C936EB-3105-43C1-936E-84CFF94A9D2A}" destId="{1B7B03AF-B257-44C1-AEB2-61D68C2A147C}" srcOrd="3" destOrd="0" parTransId="{5913D297-559E-49DD-A810-2D1714AB5F7C}" sibTransId="{7D026376-CC08-414E-ABCD-5C0126BB060E}"/>
    <dgm:cxn modelId="{818B72EA-CA4D-4A21-A6FD-5F92E4812544}" type="presOf" srcId="{043F8C45-D6F4-4710-B24E-57A200ED1113}" destId="{8E57659E-DBBA-4CD4-867F-27361D1003B4}" srcOrd="0" destOrd="0" presId="urn:microsoft.com/office/officeart/2005/8/layout/default"/>
    <dgm:cxn modelId="{943C1FF6-8641-4424-8B4E-9B51F2BC733F}" type="presOf" srcId="{5F5C0B6B-A29D-4AEF-AD70-9E80744B39F0}" destId="{C9A64BF8-7013-4702-A8E8-11930FC18B2E}" srcOrd="0" destOrd="0" presId="urn:microsoft.com/office/officeart/2005/8/layout/default"/>
    <dgm:cxn modelId="{0ACDA448-E2E3-4B22-8110-B677FD4AE7F5}" type="presParOf" srcId="{B8163D97-6556-451A-9A16-832A23B08F6F}" destId="{8E57659E-DBBA-4CD4-867F-27361D1003B4}" srcOrd="0" destOrd="0" presId="urn:microsoft.com/office/officeart/2005/8/layout/default"/>
    <dgm:cxn modelId="{8C8A0885-3D90-4A3A-934C-5EE8A1901439}" type="presParOf" srcId="{B8163D97-6556-451A-9A16-832A23B08F6F}" destId="{C7875BFF-76E9-4C8D-AA44-E2E99DCF4BA7}" srcOrd="1" destOrd="0" presId="urn:microsoft.com/office/officeart/2005/8/layout/default"/>
    <dgm:cxn modelId="{F17C420D-FC77-47B3-A74F-9CD708FA2CAA}" type="presParOf" srcId="{B8163D97-6556-451A-9A16-832A23B08F6F}" destId="{08BD63EA-CEE8-40D6-9CD7-E336968F521F}" srcOrd="2" destOrd="0" presId="urn:microsoft.com/office/officeart/2005/8/layout/default"/>
    <dgm:cxn modelId="{50497D3F-9183-44FC-976E-8A8AB1389464}" type="presParOf" srcId="{B8163D97-6556-451A-9A16-832A23B08F6F}" destId="{A13FBDA4-A131-44E2-8728-27C1DAE723F8}" srcOrd="3" destOrd="0" presId="urn:microsoft.com/office/officeart/2005/8/layout/default"/>
    <dgm:cxn modelId="{95CD5F78-2EC5-445D-9FA9-20B6BB823ECB}" type="presParOf" srcId="{B8163D97-6556-451A-9A16-832A23B08F6F}" destId="{C9A64BF8-7013-4702-A8E8-11930FC18B2E}" srcOrd="4" destOrd="0" presId="urn:microsoft.com/office/officeart/2005/8/layout/default"/>
    <dgm:cxn modelId="{56AEEE2A-DA19-4458-B8FD-7356D2EFD444}" type="presParOf" srcId="{B8163D97-6556-451A-9A16-832A23B08F6F}" destId="{5A43A17F-741E-4499-BF1A-9577202B29ED}" srcOrd="5" destOrd="0" presId="urn:microsoft.com/office/officeart/2005/8/layout/default"/>
    <dgm:cxn modelId="{42B1DABD-EBF1-457F-BC8A-8DE2F304099B}" type="presParOf" srcId="{B8163D97-6556-451A-9A16-832A23B08F6F}" destId="{62A692D1-E9B0-4E60-B17C-FDA65098E03F}" srcOrd="6" destOrd="0" presId="urn:microsoft.com/office/officeart/2005/8/layout/default"/>
    <dgm:cxn modelId="{5882C486-1850-4C77-AAC0-94465B4C89CA}" type="presParOf" srcId="{B8163D97-6556-451A-9A16-832A23B08F6F}" destId="{9726F59D-2BEE-4B54-A755-2D44A66BB0B3}" srcOrd="7" destOrd="0" presId="urn:microsoft.com/office/officeart/2005/8/layout/default"/>
    <dgm:cxn modelId="{E17C8048-A188-4331-B686-3E30DA4B71E1}" type="presParOf" srcId="{B8163D97-6556-451A-9A16-832A23B08F6F}" destId="{40EAA6A1-C5F3-48C0-A627-D89ECF4DE8EE}" srcOrd="8" destOrd="0" presId="urn:microsoft.com/office/officeart/2005/8/layout/default"/>
    <dgm:cxn modelId="{67A2F020-36F4-4964-8AEF-427B2D077FC3}" type="presParOf" srcId="{B8163D97-6556-451A-9A16-832A23B08F6F}" destId="{D11FC032-816B-4B9A-B865-B4A1BD8DD7B6}" srcOrd="9" destOrd="0" presId="urn:microsoft.com/office/officeart/2005/8/layout/default"/>
    <dgm:cxn modelId="{4A541F21-4765-43F6-987A-053BD8C4A191}" type="presParOf" srcId="{B8163D97-6556-451A-9A16-832A23B08F6F}" destId="{4243F23D-D958-4B07-953A-95F00D0DF05D}" srcOrd="10"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94FA661D-90BE-48D6-AFDB-1870B66A514A}" type="doc">
      <dgm:prSet loTypeId="urn:microsoft.com/office/officeart/2005/8/layout/lProcess2" loCatId="list" qsTypeId="urn:microsoft.com/office/officeart/2005/8/quickstyle/simple1" qsCatId="simple" csTypeId="urn:microsoft.com/office/officeart/2005/8/colors/accent1_2" csCatId="accent1" phldr="1"/>
      <dgm:spPr/>
      <dgm:t>
        <a:bodyPr/>
        <a:lstStyle/>
        <a:p>
          <a:endParaRPr lang="en-US"/>
        </a:p>
      </dgm:t>
    </dgm:pt>
    <dgm:pt modelId="{45FCF2D5-8104-4B4A-86BB-9369127B95DF}">
      <dgm:prSet phldrT="[Text]"/>
      <dgm:spPr/>
      <dgm:t>
        <a:bodyPr/>
        <a:lstStyle/>
        <a:p>
          <a:r>
            <a:rPr lang="en-US" dirty="0"/>
            <a:t>Inside the Engine</a:t>
          </a:r>
        </a:p>
      </dgm:t>
    </dgm:pt>
    <dgm:pt modelId="{10F002BB-7829-42E5-AB65-D9AB6F0518D9}" type="parTrans" cxnId="{491D4403-AF23-46A4-8700-656760203BF3}">
      <dgm:prSet/>
      <dgm:spPr/>
      <dgm:t>
        <a:bodyPr/>
        <a:lstStyle/>
        <a:p>
          <a:endParaRPr lang="en-US"/>
        </a:p>
      </dgm:t>
    </dgm:pt>
    <dgm:pt modelId="{9E9500E9-1ABE-46E1-A89F-99C4CD5E5099}" type="sibTrans" cxnId="{491D4403-AF23-46A4-8700-656760203BF3}">
      <dgm:prSet/>
      <dgm:spPr/>
      <dgm:t>
        <a:bodyPr/>
        <a:lstStyle/>
        <a:p>
          <a:endParaRPr lang="en-US"/>
        </a:p>
      </dgm:t>
    </dgm:pt>
    <dgm:pt modelId="{46A7A4B3-3843-42ED-A4BD-B2AF6F5A6200}">
      <dgm:prSet phldrT="[Text]"/>
      <dgm:spPr/>
      <dgm:t>
        <a:bodyPr/>
        <a:lstStyle/>
        <a:p>
          <a:r>
            <a:rPr lang="en-US" dirty="0"/>
            <a:t>ALTER SERVER CONFIGURATION</a:t>
          </a:r>
        </a:p>
      </dgm:t>
    </dgm:pt>
    <dgm:pt modelId="{070B8A3A-D932-4148-AFD5-E09D39DE352D}" type="parTrans" cxnId="{70684557-4E03-45A0-8621-D8A0EA16724C}">
      <dgm:prSet/>
      <dgm:spPr/>
      <dgm:t>
        <a:bodyPr/>
        <a:lstStyle/>
        <a:p>
          <a:endParaRPr lang="en-US"/>
        </a:p>
      </dgm:t>
    </dgm:pt>
    <dgm:pt modelId="{E3D7E58D-EAE9-4260-8A5B-6C29DD2EA03A}" type="sibTrans" cxnId="{70684557-4E03-45A0-8621-D8A0EA16724C}">
      <dgm:prSet/>
      <dgm:spPr/>
      <dgm:t>
        <a:bodyPr/>
        <a:lstStyle/>
        <a:p>
          <a:endParaRPr lang="en-US"/>
        </a:p>
      </dgm:t>
    </dgm:pt>
    <dgm:pt modelId="{8F25FB4F-654C-4C69-8B62-EAE1017B61B4}">
      <dgm:prSet phldrT="[Text]"/>
      <dgm:spPr/>
      <dgm:t>
        <a:bodyPr/>
        <a:lstStyle/>
        <a:p>
          <a:r>
            <a:rPr lang="en-US" dirty="0"/>
            <a:t>sp_configure</a:t>
          </a:r>
        </a:p>
      </dgm:t>
    </dgm:pt>
    <dgm:pt modelId="{DCA6B9FC-D0A0-46C0-AC3B-673DB3B41CE8}" type="parTrans" cxnId="{AE417C05-4317-4CD1-992A-A13888C9F009}">
      <dgm:prSet/>
      <dgm:spPr/>
      <dgm:t>
        <a:bodyPr/>
        <a:lstStyle/>
        <a:p>
          <a:endParaRPr lang="en-US"/>
        </a:p>
      </dgm:t>
    </dgm:pt>
    <dgm:pt modelId="{09F23302-04CF-47BB-8128-68FDF0F3BB3E}" type="sibTrans" cxnId="{AE417C05-4317-4CD1-992A-A13888C9F009}">
      <dgm:prSet/>
      <dgm:spPr/>
      <dgm:t>
        <a:bodyPr/>
        <a:lstStyle/>
        <a:p>
          <a:endParaRPr lang="en-US"/>
        </a:p>
      </dgm:t>
    </dgm:pt>
    <dgm:pt modelId="{C8EF6A97-4D8A-45E2-8A5A-B874D2683AC4}">
      <dgm:prSet phldrT="[Text]"/>
      <dgm:spPr/>
      <dgm:t>
        <a:bodyPr/>
        <a:lstStyle/>
        <a:p>
          <a:r>
            <a:rPr lang="en-US" dirty="0"/>
            <a:t>Outside the Engine</a:t>
          </a:r>
        </a:p>
      </dgm:t>
    </dgm:pt>
    <dgm:pt modelId="{19DAC044-402A-41E6-B60D-8A92B5913BC0}" type="parTrans" cxnId="{65627132-61FC-4D42-98E8-AFC696CDCCB2}">
      <dgm:prSet/>
      <dgm:spPr/>
      <dgm:t>
        <a:bodyPr/>
        <a:lstStyle/>
        <a:p>
          <a:endParaRPr lang="en-US"/>
        </a:p>
      </dgm:t>
    </dgm:pt>
    <dgm:pt modelId="{694D781B-3B2B-4E0E-B401-6F77735BAA29}" type="sibTrans" cxnId="{65627132-61FC-4D42-98E8-AFC696CDCCB2}">
      <dgm:prSet/>
      <dgm:spPr/>
      <dgm:t>
        <a:bodyPr/>
        <a:lstStyle/>
        <a:p>
          <a:endParaRPr lang="en-US"/>
        </a:p>
      </dgm:t>
    </dgm:pt>
    <dgm:pt modelId="{66196B8C-DBBA-4E6C-8FC6-955F6BADDC30}">
      <dgm:prSet phldrT="[Text]"/>
      <dgm:spPr/>
      <dgm:t>
        <a:bodyPr/>
        <a:lstStyle/>
        <a:p>
          <a:r>
            <a:rPr lang="en-US" dirty="0"/>
            <a:t>Environment variables during setup</a:t>
          </a:r>
        </a:p>
      </dgm:t>
    </dgm:pt>
    <dgm:pt modelId="{219E7D41-44F0-4F09-9403-FCB636962563}" type="parTrans" cxnId="{6E55C540-1CB7-4BBF-97E8-458C3702629F}">
      <dgm:prSet/>
      <dgm:spPr/>
      <dgm:t>
        <a:bodyPr/>
        <a:lstStyle/>
        <a:p>
          <a:endParaRPr lang="en-US"/>
        </a:p>
      </dgm:t>
    </dgm:pt>
    <dgm:pt modelId="{7DE9BDA1-FBC4-4328-BDC2-D70567D543A9}" type="sibTrans" cxnId="{6E55C540-1CB7-4BBF-97E8-458C3702629F}">
      <dgm:prSet/>
      <dgm:spPr/>
      <dgm:t>
        <a:bodyPr/>
        <a:lstStyle/>
        <a:p>
          <a:endParaRPr lang="en-US"/>
        </a:p>
      </dgm:t>
    </dgm:pt>
    <dgm:pt modelId="{F8856E08-9862-49D2-AD3F-6DBDD8622400}">
      <dgm:prSet phldrT="[Text]"/>
      <dgm:spPr/>
      <dgm:t>
        <a:bodyPr/>
        <a:lstStyle/>
        <a:p>
          <a:r>
            <a:rPr lang="en-US" dirty="0"/>
            <a:t>mssql-conf script after setup</a:t>
          </a:r>
        </a:p>
      </dgm:t>
    </dgm:pt>
    <dgm:pt modelId="{93D93912-13B3-4B94-8123-1F2E860625ED}" type="parTrans" cxnId="{3CDFDFF5-4889-4757-80A5-A5F3A26C7F22}">
      <dgm:prSet/>
      <dgm:spPr/>
      <dgm:t>
        <a:bodyPr/>
        <a:lstStyle/>
        <a:p>
          <a:endParaRPr lang="en-US"/>
        </a:p>
      </dgm:t>
    </dgm:pt>
    <dgm:pt modelId="{0DF0976F-F74F-4BBB-B033-357DEF29D9C1}" type="sibTrans" cxnId="{3CDFDFF5-4889-4757-80A5-A5F3A26C7F22}">
      <dgm:prSet/>
      <dgm:spPr/>
      <dgm:t>
        <a:bodyPr/>
        <a:lstStyle/>
        <a:p>
          <a:endParaRPr lang="en-US"/>
        </a:p>
      </dgm:t>
    </dgm:pt>
    <dgm:pt modelId="{15E18B64-AB4A-4AD6-879E-2F124CEBB7A3}" type="pres">
      <dgm:prSet presAssocID="{94FA661D-90BE-48D6-AFDB-1870B66A514A}" presName="theList" presStyleCnt="0">
        <dgm:presLayoutVars>
          <dgm:dir/>
          <dgm:animLvl val="lvl"/>
          <dgm:resizeHandles val="exact"/>
        </dgm:presLayoutVars>
      </dgm:prSet>
      <dgm:spPr/>
    </dgm:pt>
    <dgm:pt modelId="{8AC94B68-0351-4BDB-8489-62BB9377F46E}" type="pres">
      <dgm:prSet presAssocID="{45FCF2D5-8104-4B4A-86BB-9369127B95DF}" presName="compNode" presStyleCnt="0"/>
      <dgm:spPr/>
    </dgm:pt>
    <dgm:pt modelId="{0C485EC8-B888-4F47-9261-22B2CA46B927}" type="pres">
      <dgm:prSet presAssocID="{45FCF2D5-8104-4B4A-86BB-9369127B95DF}" presName="aNode" presStyleLbl="bgShp" presStyleIdx="0" presStyleCnt="2"/>
      <dgm:spPr/>
    </dgm:pt>
    <dgm:pt modelId="{63CADA36-CBD0-4792-A7A5-E1555DCBCC7E}" type="pres">
      <dgm:prSet presAssocID="{45FCF2D5-8104-4B4A-86BB-9369127B95DF}" presName="textNode" presStyleLbl="bgShp" presStyleIdx="0" presStyleCnt="2"/>
      <dgm:spPr/>
    </dgm:pt>
    <dgm:pt modelId="{1749230D-7E30-4D40-8B71-550632E70A79}" type="pres">
      <dgm:prSet presAssocID="{45FCF2D5-8104-4B4A-86BB-9369127B95DF}" presName="compChildNode" presStyleCnt="0"/>
      <dgm:spPr/>
    </dgm:pt>
    <dgm:pt modelId="{660F8F9C-19C1-4658-A384-4BC049E6C681}" type="pres">
      <dgm:prSet presAssocID="{45FCF2D5-8104-4B4A-86BB-9369127B95DF}" presName="theInnerList" presStyleCnt="0"/>
      <dgm:spPr/>
    </dgm:pt>
    <dgm:pt modelId="{DFB13D7C-8E28-4030-B7E0-54EE205E2CA0}" type="pres">
      <dgm:prSet presAssocID="{46A7A4B3-3843-42ED-A4BD-B2AF6F5A6200}" presName="childNode" presStyleLbl="node1" presStyleIdx="0" presStyleCnt="4">
        <dgm:presLayoutVars>
          <dgm:bulletEnabled val="1"/>
        </dgm:presLayoutVars>
      </dgm:prSet>
      <dgm:spPr/>
    </dgm:pt>
    <dgm:pt modelId="{3AF68B6A-CA9F-4C9A-A18D-44F57F2F988B}" type="pres">
      <dgm:prSet presAssocID="{46A7A4B3-3843-42ED-A4BD-B2AF6F5A6200}" presName="aSpace2" presStyleCnt="0"/>
      <dgm:spPr/>
    </dgm:pt>
    <dgm:pt modelId="{F6885A86-2B33-4AA0-97E9-F29ED73946E1}" type="pres">
      <dgm:prSet presAssocID="{8F25FB4F-654C-4C69-8B62-EAE1017B61B4}" presName="childNode" presStyleLbl="node1" presStyleIdx="1" presStyleCnt="4">
        <dgm:presLayoutVars>
          <dgm:bulletEnabled val="1"/>
        </dgm:presLayoutVars>
      </dgm:prSet>
      <dgm:spPr/>
    </dgm:pt>
    <dgm:pt modelId="{F1E3F95B-38E2-42B6-BDE5-20E374F20988}" type="pres">
      <dgm:prSet presAssocID="{45FCF2D5-8104-4B4A-86BB-9369127B95DF}" presName="aSpace" presStyleCnt="0"/>
      <dgm:spPr/>
    </dgm:pt>
    <dgm:pt modelId="{6AE1A950-BA93-472F-A959-32946B1A26C7}" type="pres">
      <dgm:prSet presAssocID="{C8EF6A97-4D8A-45E2-8A5A-B874D2683AC4}" presName="compNode" presStyleCnt="0"/>
      <dgm:spPr/>
    </dgm:pt>
    <dgm:pt modelId="{D4A1A83A-EB8F-4629-8EA6-48A17EB0E121}" type="pres">
      <dgm:prSet presAssocID="{C8EF6A97-4D8A-45E2-8A5A-B874D2683AC4}" presName="aNode" presStyleLbl="bgShp" presStyleIdx="1" presStyleCnt="2" custLinFactNeighborX="4443" custLinFactNeighborY="29685"/>
      <dgm:spPr/>
    </dgm:pt>
    <dgm:pt modelId="{81EC689A-E4E0-4D08-99A9-63860CDF2BF3}" type="pres">
      <dgm:prSet presAssocID="{C8EF6A97-4D8A-45E2-8A5A-B874D2683AC4}" presName="textNode" presStyleLbl="bgShp" presStyleIdx="1" presStyleCnt="2"/>
      <dgm:spPr/>
    </dgm:pt>
    <dgm:pt modelId="{06D0F215-8B68-4F10-846D-FA0497272390}" type="pres">
      <dgm:prSet presAssocID="{C8EF6A97-4D8A-45E2-8A5A-B874D2683AC4}" presName="compChildNode" presStyleCnt="0"/>
      <dgm:spPr/>
    </dgm:pt>
    <dgm:pt modelId="{074A1F69-60DF-4C2B-87E8-6D3B7A657E38}" type="pres">
      <dgm:prSet presAssocID="{C8EF6A97-4D8A-45E2-8A5A-B874D2683AC4}" presName="theInnerList" presStyleCnt="0"/>
      <dgm:spPr/>
    </dgm:pt>
    <dgm:pt modelId="{7B1490E8-0459-4602-B48F-8121443A17E7}" type="pres">
      <dgm:prSet presAssocID="{66196B8C-DBBA-4E6C-8FC6-955F6BADDC30}" presName="childNode" presStyleLbl="node1" presStyleIdx="2" presStyleCnt="4">
        <dgm:presLayoutVars>
          <dgm:bulletEnabled val="1"/>
        </dgm:presLayoutVars>
      </dgm:prSet>
      <dgm:spPr/>
    </dgm:pt>
    <dgm:pt modelId="{2671D161-28CF-4470-83DB-84F78F437022}" type="pres">
      <dgm:prSet presAssocID="{66196B8C-DBBA-4E6C-8FC6-955F6BADDC30}" presName="aSpace2" presStyleCnt="0"/>
      <dgm:spPr/>
    </dgm:pt>
    <dgm:pt modelId="{CC7F087E-F092-4A8E-AAEA-A010D55FCBDD}" type="pres">
      <dgm:prSet presAssocID="{F8856E08-9862-49D2-AD3F-6DBDD8622400}" presName="childNode" presStyleLbl="node1" presStyleIdx="3" presStyleCnt="4">
        <dgm:presLayoutVars>
          <dgm:bulletEnabled val="1"/>
        </dgm:presLayoutVars>
      </dgm:prSet>
      <dgm:spPr/>
    </dgm:pt>
  </dgm:ptLst>
  <dgm:cxnLst>
    <dgm:cxn modelId="{491D4403-AF23-46A4-8700-656760203BF3}" srcId="{94FA661D-90BE-48D6-AFDB-1870B66A514A}" destId="{45FCF2D5-8104-4B4A-86BB-9369127B95DF}" srcOrd="0" destOrd="0" parTransId="{10F002BB-7829-42E5-AB65-D9AB6F0518D9}" sibTransId="{9E9500E9-1ABE-46E1-A89F-99C4CD5E5099}"/>
    <dgm:cxn modelId="{AE417C05-4317-4CD1-992A-A13888C9F009}" srcId="{45FCF2D5-8104-4B4A-86BB-9369127B95DF}" destId="{8F25FB4F-654C-4C69-8B62-EAE1017B61B4}" srcOrd="1" destOrd="0" parTransId="{DCA6B9FC-D0A0-46C0-AC3B-673DB3B41CE8}" sibTransId="{09F23302-04CF-47BB-8128-68FDF0F3BB3E}"/>
    <dgm:cxn modelId="{8E7BF80F-71A8-480B-A4D2-E15844DD499B}" type="presOf" srcId="{C8EF6A97-4D8A-45E2-8A5A-B874D2683AC4}" destId="{81EC689A-E4E0-4D08-99A9-63860CDF2BF3}" srcOrd="1" destOrd="0" presId="urn:microsoft.com/office/officeart/2005/8/layout/lProcess2"/>
    <dgm:cxn modelId="{F81CC718-4989-4BAE-804E-827A82F27E4C}" type="presOf" srcId="{66196B8C-DBBA-4E6C-8FC6-955F6BADDC30}" destId="{7B1490E8-0459-4602-B48F-8121443A17E7}" srcOrd="0" destOrd="0" presId="urn:microsoft.com/office/officeart/2005/8/layout/lProcess2"/>
    <dgm:cxn modelId="{E2FCB61C-A72B-4CAB-8053-D4069D656CFC}" type="presOf" srcId="{94FA661D-90BE-48D6-AFDB-1870B66A514A}" destId="{15E18B64-AB4A-4AD6-879E-2F124CEBB7A3}" srcOrd="0" destOrd="0" presId="urn:microsoft.com/office/officeart/2005/8/layout/lProcess2"/>
    <dgm:cxn modelId="{65627132-61FC-4D42-98E8-AFC696CDCCB2}" srcId="{94FA661D-90BE-48D6-AFDB-1870B66A514A}" destId="{C8EF6A97-4D8A-45E2-8A5A-B874D2683AC4}" srcOrd="1" destOrd="0" parTransId="{19DAC044-402A-41E6-B60D-8A92B5913BC0}" sibTransId="{694D781B-3B2B-4E0E-B401-6F77735BAA29}"/>
    <dgm:cxn modelId="{6E55C540-1CB7-4BBF-97E8-458C3702629F}" srcId="{C8EF6A97-4D8A-45E2-8A5A-B874D2683AC4}" destId="{66196B8C-DBBA-4E6C-8FC6-955F6BADDC30}" srcOrd="0" destOrd="0" parTransId="{219E7D41-44F0-4F09-9403-FCB636962563}" sibTransId="{7DE9BDA1-FBC4-4328-BDC2-D70567D543A9}"/>
    <dgm:cxn modelId="{38AB3049-A604-4058-A040-526116FA8524}" type="presOf" srcId="{8F25FB4F-654C-4C69-8B62-EAE1017B61B4}" destId="{F6885A86-2B33-4AA0-97E9-F29ED73946E1}" srcOrd="0" destOrd="0" presId="urn:microsoft.com/office/officeart/2005/8/layout/lProcess2"/>
    <dgm:cxn modelId="{70684557-4E03-45A0-8621-D8A0EA16724C}" srcId="{45FCF2D5-8104-4B4A-86BB-9369127B95DF}" destId="{46A7A4B3-3843-42ED-A4BD-B2AF6F5A6200}" srcOrd="0" destOrd="0" parTransId="{070B8A3A-D932-4148-AFD5-E09D39DE352D}" sibTransId="{E3D7E58D-EAE9-4260-8A5B-6C29DD2EA03A}"/>
    <dgm:cxn modelId="{6FA95B80-36B7-4CE1-AF8C-A41B238091E9}" type="presOf" srcId="{46A7A4B3-3843-42ED-A4BD-B2AF6F5A6200}" destId="{DFB13D7C-8E28-4030-B7E0-54EE205E2CA0}" srcOrd="0" destOrd="0" presId="urn:microsoft.com/office/officeart/2005/8/layout/lProcess2"/>
    <dgm:cxn modelId="{DEFA5982-779B-4C91-A1F5-51D020E9163E}" type="presOf" srcId="{F8856E08-9862-49D2-AD3F-6DBDD8622400}" destId="{CC7F087E-F092-4A8E-AAEA-A010D55FCBDD}" srcOrd="0" destOrd="0" presId="urn:microsoft.com/office/officeart/2005/8/layout/lProcess2"/>
    <dgm:cxn modelId="{26D29B96-73C8-4C44-AB0A-1907CDF9955F}" type="presOf" srcId="{45FCF2D5-8104-4B4A-86BB-9369127B95DF}" destId="{0C485EC8-B888-4F47-9261-22B2CA46B927}" srcOrd="0" destOrd="0" presId="urn:microsoft.com/office/officeart/2005/8/layout/lProcess2"/>
    <dgm:cxn modelId="{02B17DDB-9639-4C45-A71A-06EFAAFDD115}" type="presOf" srcId="{C8EF6A97-4D8A-45E2-8A5A-B874D2683AC4}" destId="{D4A1A83A-EB8F-4629-8EA6-48A17EB0E121}" srcOrd="0" destOrd="0" presId="urn:microsoft.com/office/officeart/2005/8/layout/lProcess2"/>
    <dgm:cxn modelId="{8438D5EC-BCA3-453A-8882-E945EA8F583B}" type="presOf" srcId="{45FCF2D5-8104-4B4A-86BB-9369127B95DF}" destId="{63CADA36-CBD0-4792-A7A5-E1555DCBCC7E}" srcOrd="1" destOrd="0" presId="urn:microsoft.com/office/officeart/2005/8/layout/lProcess2"/>
    <dgm:cxn modelId="{3CDFDFF5-4889-4757-80A5-A5F3A26C7F22}" srcId="{C8EF6A97-4D8A-45E2-8A5A-B874D2683AC4}" destId="{F8856E08-9862-49D2-AD3F-6DBDD8622400}" srcOrd="1" destOrd="0" parTransId="{93D93912-13B3-4B94-8123-1F2E860625ED}" sibTransId="{0DF0976F-F74F-4BBB-B033-357DEF29D9C1}"/>
    <dgm:cxn modelId="{D70F2AD2-1B6C-4051-B0A0-F82BCBE5A26C}" type="presParOf" srcId="{15E18B64-AB4A-4AD6-879E-2F124CEBB7A3}" destId="{8AC94B68-0351-4BDB-8489-62BB9377F46E}" srcOrd="0" destOrd="0" presId="urn:microsoft.com/office/officeart/2005/8/layout/lProcess2"/>
    <dgm:cxn modelId="{1BC293A7-ADA9-4095-B303-E390206E92DF}" type="presParOf" srcId="{8AC94B68-0351-4BDB-8489-62BB9377F46E}" destId="{0C485EC8-B888-4F47-9261-22B2CA46B927}" srcOrd="0" destOrd="0" presId="urn:microsoft.com/office/officeart/2005/8/layout/lProcess2"/>
    <dgm:cxn modelId="{695BA3F2-4FCB-4571-AF8D-14F363D6C2C2}" type="presParOf" srcId="{8AC94B68-0351-4BDB-8489-62BB9377F46E}" destId="{63CADA36-CBD0-4792-A7A5-E1555DCBCC7E}" srcOrd="1" destOrd="0" presId="urn:microsoft.com/office/officeart/2005/8/layout/lProcess2"/>
    <dgm:cxn modelId="{3797A653-ABF6-480D-B3DC-5EF0DA813ACF}" type="presParOf" srcId="{8AC94B68-0351-4BDB-8489-62BB9377F46E}" destId="{1749230D-7E30-4D40-8B71-550632E70A79}" srcOrd="2" destOrd="0" presId="urn:microsoft.com/office/officeart/2005/8/layout/lProcess2"/>
    <dgm:cxn modelId="{2FEA4B14-0DEB-4C32-8AB4-9BB90AE51036}" type="presParOf" srcId="{1749230D-7E30-4D40-8B71-550632E70A79}" destId="{660F8F9C-19C1-4658-A384-4BC049E6C681}" srcOrd="0" destOrd="0" presId="urn:microsoft.com/office/officeart/2005/8/layout/lProcess2"/>
    <dgm:cxn modelId="{5775B9B1-F8E2-4A5C-A1AB-238B355859B9}" type="presParOf" srcId="{660F8F9C-19C1-4658-A384-4BC049E6C681}" destId="{DFB13D7C-8E28-4030-B7E0-54EE205E2CA0}" srcOrd="0" destOrd="0" presId="urn:microsoft.com/office/officeart/2005/8/layout/lProcess2"/>
    <dgm:cxn modelId="{DD377298-EF39-4EF0-AE62-0F51013B6876}" type="presParOf" srcId="{660F8F9C-19C1-4658-A384-4BC049E6C681}" destId="{3AF68B6A-CA9F-4C9A-A18D-44F57F2F988B}" srcOrd="1" destOrd="0" presId="urn:microsoft.com/office/officeart/2005/8/layout/lProcess2"/>
    <dgm:cxn modelId="{0D5EC9D0-3A88-40E4-BDB9-62178BC2900D}" type="presParOf" srcId="{660F8F9C-19C1-4658-A384-4BC049E6C681}" destId="{F6885A86-2B33-4AA0-97E9-F29ED73946E1}" srcOrd="2" destOrd="0" presId="urn:microsoft.com/office/officeart/2005/8/layout/lProcess2"/>
    <dgm:cxn modelId="{44B8B399-F52E-4ED5-8518-0DB42A1CAB1D}" type="presParOf" srcId="{15E18B64-AB4A-4AD6-879E-2F124CEBB7A3}" destId="{F1E3F95B-38E2-42B6-BDE5-20E374F20988}" srcOrd="1" destOrd="0" presId="urn:microsoft.com/office/officeart/2005/8/layout/lProcess2"/>
    <dgm:cxn modelId="{2F95D634-B4F0-40A3-B519-CDAB682FAB54}" type="presParOf" srcId="{15E18B64-AB4A-4AD6-879E-2F124CEBB7A3}" destId="{6AE1A950-BA93-472F-A959-32946B1A26C7}" srcOrd="2" destOrd="0" presId="urn:microsoft.com/office/officeart/2005/8/layout/lProcess2"/>
    <dgm:cxn modelId="{8A0E8C11-5538-4979-BE5E-7C991FCB4FD0}" type="presParOf" srcId="{6AE1A950-BA93-472F-A959-32946B1A26C7}" destId="{D4A1A83A-EB8F-4629-8EA6-48A17EB0E121}" srcOrd="0" destOrd="0" presId="urn:microsoft.com/office/officeart/2005/8/layout/lProcess2"/>
    <dgm:cxn modelId="{39FD9D27-8BFD-498C-A608-656FF1341FA5}" type="presParOf" srcId="{6AE1A950-BA93-472F-A959-32946B1A26C7}" destId="{81EC689A-E4E0-4D08-99A9-63860CDF2BF3}" srcOrd="1" destOrd="0" presId="urn:microsoft.com/office/officeart/2005/8/layout/lProcess2"/>
    <dgm:cxn modelId="{1DEECA43-03CD-4599-92E2-3DC4DEC61588}" type="presParOf" srcId="{6AE1A950-BA93-472F-A959-32946B1A26C7}" destId="{06D0F215-8B68-4F10-846D-FA0497272390}" srcOrd="2" destOrd="0" presId="urn:microsoft.com/office/officeart/2005/8/layout/lProcess2"/>
    <dgm:cxn modelId="{BFABB438-7590-41FB-95B9-FB3C27182543}" type="presParOf" srcId="{06D0F215-8B68-4F10-846D-FA0497272390}" destId="{074A1F69-60DF-4C2B-87E8-6D3B7A657E38}" srcOrd="0" destOrd="0" presId="urn:microsoft.com/office/officeart/2005/8/layout/lProcess2"/>
    <dgm:cxn modelId="{91FFD537-2B92-419F-9890-3A74D2075F8B}" type="presParOf" srcId="{074A1F69-60DF-4C2B-87E8-6D3B7A657E38}" destId="{7B1490E8-0459-4602-B48F-8121443A17E7}" srcOrd="0" destOrd="0" presId="urn:microsoft.com/office/officeart/2005/8/layout/lProcess2"/>
    <dgm:cxn modelId="{12421B91-2D48-48F6-BF25-3038EA018767}" type="presParOf" srcId="{074A1F69-60DF-4C2B-87E8-6D3B7A657E38}" destId="{2671D161-28CF-4470-83DB-84F78F437022}" srcOrd="1" destOrd="0" presId="urn:microsoft.com/office/officeart/2005/8/layout/lProcess2"/>
    <dgm:cxn modelId="{FD9D49DF-0003-4390-9121-7F80FE6828D6}" type="presParOf" srcId="{074A1F69-60DF-4C2B-87E8-6D3B7A657E38}" destId="{CC7F087E-F092-4A8E-AAEA-A010D55FCBDD}" srcOrd="2" destOrd="0" presId="urn:microsoft.com/office/officeart/2005/8/layout/lProcess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671B2542-6D0A-4175-9AA6-AEE126EC1103}" type="doc">
      <dgm:prSet loTypeId="urn:microsoft.com/office/officeart/2005/8/layout/default" loCatId="list" qsTypeId="urn:microsoft.com/office/officeart/2005/8/quickstyle/simple1" qsCatId="simple" csTypeId="urn:microsoft.com/office/officeart/2005/8/colors/accent0_1" csCatId="mainScheme" phldr="1"/>
      <dgm:spPr/>
      <dgm:t>
        <a:bodyPr/>
        <a:lstStyle/>
        <a:p>
          <a:endParaRPr lang="en-US"/>
        </a:p>
      </dgm:t>
    </dgm:pt>
    <dgm:pt modelId="{CF29DF23-B14F-407B-A271-9A5E0E97EBE5}">
      <dgm:prSet phldrT="[Text]"/>
      <dgm:spPr/>
      <dgm:t>
        <a:bodyPr/>
        <a:lstStyle/>
        <a:p>
          <a:r>
            <a:rPr lang="en-US" dirty="0"/>
            <a:t>Package for each CU and GDR</a:t>
          </a:r>
        </a:p>
      </dgm:t>
    </dgm:pt>
    <dgm:pt modelId="{14A9AAA5-D7AD-40E2-B1BC-C0CAEDB19708}" type="parTrans" cxnId="{A084C7F4-7E74-4006-908D-D1BCD7E3C43A}">
      <dgm:prSet/>
      <dgm:spPr/>
      <dgm:t>
        <a:bodyPr/>
        <a:lstStyle/>
        <a:p>
          <a:endParaRPr lang="en-US"/>
        </a:p>
      </dgm:t>
    </dgm:pt>
    <dgm:pt modelId="{7160B18D-959A-4EA7-981F-FB60D9960E7B}" type="sibTrans" cxnId="{A084C7F4-7E74-4006-908D-D1BCD7E3C43A}">
      <dgm:prSet/>
      <dgm:spPr/>
      <dgm:t>
        <a:bodyPr/>
        <a:lstStyle/>
        <a:p>
          <a:endParaRPr lang="en-US"/>
        </a:p>
      </dgm:t>
    </dgm:pt>
    <dgm:pt modelId="{4EFB4557-A9ED-42B3-8593-1D10BDCDD774}">
      <dgm:prSet phldrT="[Text]"/>
      <dgm:spPr/>
      <dgm:t>
        <a:bodyPr/>
        <a:lstStyle/>
        <a:p>
          <a:r>
            <a:rPr lang="en-US" dirty="0"/>
            <a:t>Packager managers support update and rollback</a:t>
          </a:r>
        </a:p>
      </dgm:t>
    </dgm:pt>
    <dgm:pt modelId="{75CF9364-00FC-4CC5-81CC-4D8C43095FF1}" type="parTrans" cxnId="{98BD729B-3A3B-408B-975B-291AAEC3522F}">
      <dgm:prSet/>
      <dgm:spPr/>
      <dgm:t>
        <a:bodyPr/>
        <a:lstStyle/>
        <a:p>
          <a:endParaRPr lang="en-US"/>
        </a:p>
      </dgm:t>
    </dgm:pt>
    <dgm:pt modelId="{B0DA1462-CC99-48E9-BE65-54A1202548E5}" type="sibTrans" cxnId="{98BD729B-3A3B-408B-975B-291AAEC3522F}">
      <dgm:prSet/>
      <dgm:spPr/>
      <dgm:t>
        <a:bodyPr/>
        <a:lstStyle/>
        <a:p>
          <a:endParaRPr lang="en-US"/>
        </a:p>
      </dgm:t>
    </dgm:pt>
    <dgm:pt modelId="{0615FAD1-49E8-455C-82D6-2ACF8A635DD5}">
      <dgm:prSet phldrT="[Text]"/>
      <dgm:spPr/>
      <dgm:t>
        <a:bodyPr/>
        <a:lstStyle/>
        <a:p>
          <a:r>
            <a:rPr lang="en-US" dirty="0"/>
            <a:t>No more service packs</a:t>
          </a:r>
        </a:p>
      </dgm:t>
    </dgm:pt>
    <dgm:pt modelId="{0457395D-9413-464E-8710-154125BD815A}" type="parTrans" cxnId="{92F850ED-FA1C-428F-9460-05BC686B72C8}">
      <dgm:prSet/>
      <dgm:spPr/>
      <dgm:t>
        <a:bodyPr/>
        <a:lstStyle/>
        <a:p>
          <a:endParaRPr lang="en-US"/>
        </a:p>
      </dgm:t>
    </dgm:pt>
    <dgm:pt modelId="{30047D4B-9EB8-4C33-8E24-73073AC967C9}" type="sibTrans" cxnId="{92F850ED-FA1C-428F-9460-05BC686B72C8}">
      <dgm:prSet/>
      <dgm:spPr/>
      <dgm:t>
        <a:bodyPr/>
        <a:lstStyle/>
        <a:p>
          <a:endParaRPr lang="en-US"/>
        </a:p>
      </dgm:t>
    </dgm:pt>
    <dgm:pt modelId="{FD5BC01F-0840-4FC7-BAA4-51E4380241C9}" type="pres">
      <dgm:prSet presAssocID="{671B2542-6D0A-4175-9AA6-AEE126EC1103}" presName="diagram" presStyleCnt="0">
        <dgm:presLayoutVars>
          <dgm:dir/>
          <dgm:resizeHandles val="exact"/>
        </dgm:presLayoutVars>
      </dgm:prSet>
      <dgm:spPr/>
    </dgm:pt>
    <dgm:pt modelId="{ECC1513C-8B4B-43EC-B63E-9329ED625168}" type="pres">
      <dgm:prSet presAssocID="{CF29DF23-B14F-407B-A271-9A5E0E97EBE5}" presName="node" presStyleLbl="node1" presStyleIdx="0" presStyleCnt="3">
        <dgm:presLayoutVars>
          <dgm:bulletEnabled val="1"/>
        </dgm:presLayoutVars>
      </dgm:prSet>
      <dgm:spPr/>
    </dgm:pt>
    <dgm:pt modelId="{88B1C4DE-C8C8-461A-87D0-0891808756AA}" type="pres">
      <dgm:prSet presAssocID="{7160B18D-959A-4EA7-981F-FB60D9960E7B}" presName="sibTrans" presStyleCnt="0"/>
      <dgm:spPr/>
    </dgm:pt>
    <dgm:pt modelId="{A307D924-6CF2-41D4-8612-EE27D2DD2270}" type="pres">
      <dgm:prSet presAssocID="{4EFB4557-A9ED-42B3-8593-1D10BDCDD774}" presName="node" presStyleLbl="node1" presStyleIdx="1" presStyleCnt="3">
        <dgm:presLayoutVars>
          <dgm:bulletEnabled val="1"/>
        </dgm:presLayoutVars>
      </dgm:prSet>
      <dgm:spPr/>
    </dgm:pt>
    <dgm:pt modelId="{45185E01-C52F-4A4A-8D93-BE88848E29BC}" type="pres">
      <dgm:prSet presAssocID="{B0DA1462-CC99-48E9-BE65-54A1202548E5}" presName="sibTrans" presStyleCnt="0"/>
      <dgm:spPr/>
    </dgm:pt>
    <dgm:pt modelId="{2D44F5FB-0D87-4F92-A2CF-08F985E319B1}" type="pres">
      <dgm:prSet presAssocID="{0615FAD1-49E8-455C-82D6-2ACF8A635DD5}" presName="node" presStyleLbl="node1" presStyleIdx="2" presStyleCnt="3">
        <dgm:presLayoutVars>
          <dgm:bulletEnabled val="1"/>
        </dgm:presLayoutVars>
      </dgm:prSet>
      <dgm:spPr/>
    </dgm:pt>
  </dgm:ptLst>
  <dgm:cxnLst>
    <dgm:cxn modelId="{CF11FE11-C1A4-49C6-BB73-0E2FBAD8E9E8}" type="presOf" srcId="{CF29DF23-B14F-407B-A271-9A5E0E97EBE5}" destId="{ECC1513C-8B4B-43EC-B63E-9329ED625168}" srcOrd="0" destOrd="0" presId="urn:microsoft.com/office/officeart/2005/8/layout/default"/>
    <dgm:cxn modelId="{FF19DC1B-EAFE-4CFD-B64C-D06C4D7DAE3C}" type="presOf" srcId="{671B2542-6D0A-4175-9AA6-AEE126EC1103}" destId="{FD5BC01F-0840-4FC7-BAA4-51E4380241C9}" srcOrd="0" destOrd="0" presId="urn:microsoft.com/office/officeart/2005/8/layout/default"/>
    <dgm:cxn modelId="{312FC26E-8827-4068-982B-0E77D6343D94}" type="presOf" srcId="{0615FAD1-49E8-455C-82D6-2ACF8A635DD5}" destId="{2D44F5FB-0D87-4F92-A2CF-08F985E319B1}" srcOrd="0" destOrd="0" presId="urn:microsoft.com/office/officeart/2005/8/layout/default"/>
    <dgm:cxn modelId="{98BD729B-3A3B-408B-975B-291AAEC3522F}" srcId="{671B2542-6D0A-4175-9AA6-AEE126EC1103}" destId="{4EFB4557-A9ED-42B3-8593-1D10BDCDD774}" srcOrd="1" destOrd="0" parTransId="{75CF9364-00FC-4CC5-81CC-4D8C43095FF1}" sibTransId="{B0DA1462-CC99-48E9-BE65-54A1202548E5}"/>
    <dgm:cxn modelId="{46CEDCA9-3EF2-4F29-A149-BA9BCA42DAEA}" type="presOf" srcId="{4EFB4557-A9ED-42B3-8593-1D10BDCDD774}" destId="{A307D924-6CF2-41D4-8612-EE27D2DD2270}" srcOrd="0" destOrd="0" presId="urn:microsoft.com/office/officeart/2005/8/layout/default"/>
    <dgm:cxn modelId="{92F850ED-FA1C-428F-9460-05BC686B72C8}" srcId="{671B2542-6D0A-4175-9AA6-AEE126EC1103}" destId="{0615FAD1-49E8-455C-82D6-2ACF8A635DD5}" srcOrd="2" destOrd="0" parTransId="{0457395D-9413-464E-8710-154125BD815A}" sibTransId="{30047D4B-9EB8-4C33-8E24-73073AC967C9}"/>
    <dgm:cxn modelId="{A084C7F4-7E74-4006-908D-D1BCD7E3C43A}" srcId="{671B2542-6D0A-4175-9AA6-AEE126EC1103}" destId="{CF29DF23-B14F-407B-A271-9A5E0E97EBE5}" srcOrd="0" destOrd="0" parTransId="{14A9AAA5-D7AD-40E2-B1BC-C0CAEDB19708}" sibTransId="{7160B18D-959A-4EA7-981F-FB60D9960E7B}"/>
    <dgm:cxn modelId="{902BA27B-2C45-4B57-A921-FA49F0AEB278}" type="presParOf" srcId="{FD5BC01F-0840-4FC7-BAA4-51E4380241C9}" destId="{ECC1513C-8B4B-43EC-B63E-9329ED625168}" srcOrd="0" destOrd="0" presId="urn:microsoft.com/office/officeart/2005/8/layout/default"/>
    <dgm:cxn modelId="{40EF663A-3A4C-4AB7-BCC9-6B8E1FE42702}" type="presParOf" srcId="{FD5BC01F-0840-4FC7-BAA4-51E4380241C9}" destId="{88B1C4DE-C8C8-461A-87D0-0891808756AA}" srcOrd="1" destOrd="0" presId="urn:microsoft.com/office/officeart/2005/8/layout/default"/>
    <dgm:cxn modelId="{FD359E1B-7DCF-4CA0-A048-10BB24C4E7B4}" type="presParOf" srcId="{FD5BC01F-0840-4FC7-BAA4-51E4380241C9}" destId="{A307D924-6CF2-41D4-8612-EE27D2DD2270}" srcOrd="2" destOrd="0" presId="urn:microsoft.com/office/officeart/2005/8/layout/default"/>
    <dgm:cxn modelId="{9B14492F-1A54-4761-A12F-817642A893A3}" type="presParOf" srcId="{FD5BC01F-0840-4FC7-BAA4-51E4380241C9}" destId="{45185E01-C52F-4A4A-8D93-BE88848E29BC}" srcOrd="3" destOrd="0" presId="urn:microsoft.com/office/officeart/2005/8/layout/default"/>
    <dgm:cxn modelId="{FDB91442-1573-4D6F-9864-147DCF8BF5D7}" type="presParOf" srcId="{FD5BC01F-0840-4FC7-BAA4-51E4380241C9}" destId="{2D44F5FB-0D87-4F92-A2CF-08F985E319B1}" srcOrd="4" destOrd="0" presId="urn:microsoft.com/office/officeart/2005/8/layout/default"/>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EDEC1B74-ED2A-4111-92BE-8D61B1730018}" type="doc">
      <dgm:prSet loTypeId="urn:microsoft.com/office/officeart/2005/8/layout/hProcess7" loCatId="list" qsTypeId="urn:microsoft.com/office/officeart/2005/8/quickstyle/simple1" qsCatId="simple" csTypeId="urn:microsoft.com/office/officeart/2005/8/colors/accent2_3" csCatId="accent2" phldr="1"/>
      <dgm:spPr/>
      <dgm:t>
        <a:bodyPr/>
        <a:lstStyle/>
        <a:p>
          <a:endParaRPr lang="en-US"/>
        </a:p>
      </dgm:t>
    </dgm:pt>
    <dgm:pt modelId="{85CA93BE-B18A-404A-A7C5-527C2706EFEA}">
      <dgm:prSet/>
      <dgm:spPr/>
      <dgm:t>
        <a:bodyPr/>
        <a:lstStyle/>
        <a:p>
          <a:r>
            <a:rPr lang="en-US" baseline="0" dirty="0"/>
            <a:t>Image</a:t>
          </a:r>
          <a:endParaRPr lang="en-US" dirty="0"/>
        </a:p>
      </dgm:t>
    </dgm:pt>
    <dgm:pt modelId="{9678632A-271A-406F-B0F4-32A3834AEDAE}" type="parTrans" cxnId="{37CB66AB-A227-4F44-A8CC-8419BA273ED1}">
      <dgm:prSet/>
      <dgm:spPr/>
      <dgm:t>
        <a:bodyPr/>
        <a:lstStyle/>
        <a:p>
          <a:endParaRPr lang="en-US"/>
        </a:p>
      </dgm:t>
    </dgm:pt>
    <dgm:pt modelId="{7C6B6447-7FF3-4665-9DEE-7903F773E8F1}" type="sibTrans" cxnId="{37CB66AB-A227-4F44-A8CC-8419BA273ED1}">
      <dgm:prSet/>
      <dgm:spPr/>
      <dgm:t>
        <a:bodyPr/>
        <a:lstStyle/>
        <a:p>
          <a:endParaRPr lang="en-US"/>
        </a:p>
      </dgm:t>
    </dgm:pt>
    <dgm:pt modelId="{7CBE6B68-D25F-4296-A7B1-DB09F1A5EF22}">
      <dgm:prSet/>
      <dgm:spPr/>
      <dgm:t>
        <a:bodyPr/>
        <a:lstStyle/>
        <a:p>
          <a:r>
            <a:rPr lang="en-US" b="1" baseline="0" dirty="0"/>
            <a:t>Layered snapshot </a:t>
          </a:r>
          <a:r>
            <a:rPr lang="en-US" baseline="0" dirty="0"/>
            <a:t>of a set of files structured in a filesystem</a:t>
          </a:r>
          <a:endParaRPr lang="en-US" dirty="0"/>
        </a:p>
      </dgm:t>
    </dgm:pt>
    <dgm:pt modelId="{9A185D54-6596-4E2E-9689-B69D7A699CB9}" type="parTrans" cxnId="{E3A040D0-5593-4A92-9E50-844899BD0C67}">
      <dgm:prSet/>
      <dgm:spPr/>
      <dgm:t>
        <a:bodyPr/>
        <a:lstStyle/>
        <a:p>
          <a:endParaRPr lang="en-US"/>
        </a:p>
      </dgm:t>
    </dgm:pt>
    <dgm:pt modelId="{3228E3C8-7068-4619-897D-6270BAB3EEB2}" type="sibTrans" cxnId="{E3A040D0-5593-4A92-9E50-844899BD0C67}">
      <dgm:prSet/>
      <dgm:spPr/>
      <dgm:t>
        <a:bodyPr/>
        <a:lstStyle/>
        <a:p>
          <a:endParaRPr lang="en-US"/>
        </a:p>
      </dgm:t>
    </dgm:pt>
    <dgm:pt modelId="{0964A256-F465-4F44-B4DF-64CFF4DF6CC0}">
      <dgm:prSet/>
      <dgm:spPr/>
      <dgm:t>
        <a:bodyPr/>
        <a:lstStyle/>
        <a:p>
          <a:r>
            <a:rPr lang="en-US" baseline="0" dirty="0"/>
            <a:t>Built with a </a:t>
          </a:r>
          <a:r>
            <a:rPr lang="en-US" b="1" baseline="0" dirty="0"/>
            <a:t>Dockerfile</a:t>
          </a:r>
          <a:r>
            <a:rPr lang="en-US" baseline="0" dirty="0"/>
            <a:t> using docker build or APIs</a:t>
          </a:r>
          <a:endParaRPr lang="en-US" dirty="0"/>
        </a:p>
      </dgm:t>
    </dgm:pt>
    <dgm:pt modelId="{1A0F3D6C-7AF4-4CEC-9C91-D3A2E96633DD}" type="parTrans" cxnId="{88FC78AF-BC5B-48F8-8AB3-0ED03547053C}">
      <dgm:prSet/>
      <dgm:spPr/>
      <dgm:t>
        <a:bodyPr/>
        <a:lstStyle/>
        <a:p>
          <a:endParaRPr lang="en-US"/>
        </a:p>
      </dgm:t>
    </dgm:pt>
    <dgm:pt modelId="{10AB926E-5CFF-4C05-AB52-B47014FB5FBB}" type="sibTrans" cxnId="{88FC78AF-BC5B-48F8-8AB3-0ED03547053C}">
      <dgm:prSet/>
      <dgm:spPr/>
      <dgm:t>
        <a:bodyPr/>
        <a:lstStyle/>
        <a:p>
          <a:endParaRPr lang="en-US"/>
        </a:p>
      </dgm:t>
    </dgm:pt>
    <dgm:pt modelId="{AAD1C218-48CF-4D19-A4C6-A533DA02BBA6}">
      <dgm:prSet/>
      <dgm:spPr/>
      <dgm:t>
        <a:bodyPr/>
        <a:lstStyle/>
        <a:p>
          <a:r>
            <a:rPr lang="en-US" baseline="0" dirty="0"/>
            <a:t>Most built with a </a:t>
          </a:r>
          <a:r>
            <a:rPr lang="en-US" b="1" baseline="0" dirty="0"/>
            <a:t>base image </a:t>
          </a:r>
          <a:r>
            <a:rPr lang="en-US" baseline="0" dirty="0"/>
            <a:t>of an OS</a:t>
          </a:r>
          <a:endParaRPr lang="en-US" dirty="0"/>
        </a:p>
      </dgm:t>
    </dgm:pt>
    <dgm:pt modelId="{8B58453B-7A48-486B-B936-FB9BB1B84F3B}" type="parTrans" cxnId="{62A20B73-EA03-4E27-9FEC-8CACBB6FB366}">
      <dgm:prSet/>
      <dgm:spPr/>
      <dgm:t>
        <a:bodyPr/>
        <a:lstStyle/>
        <a:p>
          <a:endParaRPr lang="en-US"/>
        </a:p>
      </dgm:t>
    </dgm:pt>
    <dgm:pt modelId="{6BF20E57-AB90-40CF-9148-BDF7F6D22599}" type="sibTrans" cxnId="{62A20B73-EA03-4E27-9FEC-8CACBB6FB366}">
      <dgm:prSet/>
      <dgm:spPr/>
      <dgm:t>
        <a:bodyPr/>
        <a:lstStyle/>
        <a:p>
          <a:endParaRPr lang="en-US"/>
        </a:p>
      </dgm:t>
    </dgm:pt>
    <dgm:pt modelId="{CE94050B-DB4E-43A2-A1E6-BEACCE1D7827}">
      <dgm:prSet/>
      <dgm:spPr/>
      <dgm:t>
        <a:bodyPr/>
        <a:lstStyle/>
        <a:p>
          <a:r>
            <a:rPr lang="en-US" baseline="0" dirty="0"/>
            <a:t>The base image OS must be the </a:t>
          </a:r>
          <a:r>
            <a:rPr lang="en-US" b="1" baseline="0" dirty="0"/>
            <a:t>same kernel as host</a:t>
          </a:r>
          <a:endParaRPr lang="en-US" dirty="0"/>
        </a:p>
      </dgm:t>
    </dgm:pt>
    <dgm:pt modelId="{0F62BAF5-276F-4476-8C57-55F7936D74DA}" type="parTrans" cxnId="{D61C10E0-B68C-43B4-BE2E-BF4A09A416A8}">
      <dgm:prSet/>
      <dgm:spPr/>
      <dgm:t>
        <a:bodyPr/>
        <a:lstStyle/>
        <a:p>
          <a:endParaRPr lang="en-US"/>
        </a:p>
      </dgm:t>
    </dgm:pt>
    <dgm:pt modelId="{CA7D5EDC-BE56-4347-B28B-AC03A591E466}" type="sibTrans" cxnId="{D61C10E0-B68C-43B4-BE2E-BF4A09A416A8}">
      <dgm:prSet/>
      <dgm:spPr/>
      <dgm:t>
        <a:bodyPr/>
        <a:lstStyle/>
        <a:p>
          <a:endParaRPr lang="en-US"/>
        </a:p>
      </dgm:t>
    </dgm:pt>
    <dgm:pt modelId="{D9993E23-1A9D-446A-9127-05A31A5B871B}">
      <dgm:prSet/>
      <dgm:spPr/>
      <dgm:t>
        <a:bodyPr/>
        <a:lstStyle/>
        <a:p>
          <a:r>
            <a:rPr lang="en-US" baseline="0" dirty="0"/>
            <a:t>Container</a:t>
          </a:r>
          <a:endParaRPr lang="en-US" dirty="0"/>
        </a:p>
      </dgm:t>
    </dgm:pt>
    <dgm:pt modelId="{78176A75-AC37-418A-B22E-5B78DC52ECE8}" type="parTrans" cxnId="{1CF0998C-CDA3-4933-86F4-5AE8BE51B6E1}">
      <dgm:prSet/>
      <dgm:spPr/>
      <dgm:t>
        <a:bodyPr/>
        <a:lstStyle/>
        <a:p>
          <a:endParaRPr lang="en-US"/>
        </a:p>
      </dgm:t>
    </dgm:pt>
    <dgm:pt modelId="{9BECEE5B-1F7C-42A7-8E54-D8912A28D9C0}" type="sibTrans" cxnId="{1CF0998C-CDA3-4933-86F4-5AE8BE51B6E1}">
      <dgm:prSet/>
      <dgm:spPr/>
      <dgm:t>
        <a:bodyPr/>
        <a:lstStyle/>
        <a:p>
          <a:endParaRPr lang="en-US"/>
        </a:p>
      </dgm:t>
    </dgm:pt>
    <dgm:pt modelId="{F737B822-2440-488C-8B64-99AB04D6D563}">
      <dgm:prSet/>
      <dgm:spPr/>
      <dgm:t>
        <a:bodyPr/>
        <a:lstStyle/>
        <a:p>
          <a:r>
            <a:rPr lang="en-US" baseline="0" dirty="0"/>
            <a:t>Runtime instance of an image</a:t>
          </a:r>
          <a:endParaRPr lang="en-US" dirty="0"/>
        </a:p>
      </dgm:t>
    </dgm:pt>
    <dgm:pt modelId="{CE3FF7ED-7A6C-4D61-B507-D0015F7FED73}" type="parTrans" cxnId="{DA5D3409-0276-4A40-B598-19018437010A}">
      <dgm:prSet/>
      <dgm:spPr/>
      <dgm:t>
        <a:bodyPr/>
        <a:lstStyle/>
        <a:p>
          <a:endParaRPr lang="en-US"/>
        </a:p>
      </dgm:t>
    </dgm:pt>
    <dgm:pt modelId="{9786E5CF-441A-490B-BD1A-6EBFC72D0001}" type="sibTrans" cxnId="{DA5D3409-0276-4A40-B598-19018437010A}">
      <dgm:prSet/>
      <dgm:spPr/>
      <dgm:t>
        <a:bodyPr/>
        <a:lstStyle/>
        <a:p>
          <a:endParaRPr lang="en-US"/>
        </a:p>
      </dgm:t>
    </dgm:pt>
    <dgm:pt modelId="{B613E198-7C99-4441-85AF-789CE34CF390}">
      <dgm:prSet/>
      <dgm:spPr/>
      <dgm:t>
        <a:bodyPr/>
        <a:lstStyle/>
        <a:p>
          <a:r>
            <a:rPr lang="en-US" baseline="0" dirty="0"/>
            <a:t>Run as many you like based on the same image</a:t>
          </a:r>
          <a:endParaRPr lang="en-US" dirty="0"/>
        </a:p>
      </dgm:t>
    </dgm:pt>
    <dgm:pt modelId="{37C6CE1C-F7A6-4D0E-A715-EB45FB2CB1D2}" type="parTrans" cxnId="{378F5B14-6541-451E-8F28-FFD00C9CD1F1}">
      <dgm:prSet/>
      <dgm:spPr/>
      <dgm:t>
        <a:bodyPr/>
        <a:lstStyle/>
        <a:p>
          <a:endParaRPr lang="en-US"/>
        </a:p>
      </dgm:t>
    </dgm:pt>
    <dgm:pt modelId="{51AB924F-DEF0-49EA-B949-B904FB451AFC}" type="sibTrans" cxnId="{378F5B14-6541-451E-8F28-FFD00C9CD1F1}">
      <dgm:prSet/>
      <dgm:spPr/>
      <dgm:t>
        <a:bodyPr/>
        <a:lstStyle/>
        <a:p>
          <a:endParaRPr lang="en-US"/>
        </a:p>
      </dgm:t>
    </dgm:pt>
    <dgm:pt modelId="{9FA2B8A0-FEBA-48B8-9085-9C84852A7ACF}">
      <dgm:prSet/>
      <dgm:spPr/>
      <dgm:t>
        <a:bodyPr/>
        <a:lstStyle/>
        <a:p>
          <a:r>
            <a:rPr lang="en-US" b="1" baseline="0" dirty="0"/>
            <a:t>Isolated</a:t>
          </a:r>
          <a:r>
            <a:rPr lang="en-US" baseline="0" dirty="0"/>
            <a:t> but can communicate with the “outside”</a:t>
          </a:r>
          <a:endParaRPr lang="en-US" dirty="0"/>
        </a:p>
      </dgm:t>
    </dgm:pt>
    <dgm:pt modelId="{487D7781-6506-4947-B955-DDAF85168DF3}" type="parTrans" cxnId="{AE40C3C9-CAAC-45E8-83A2-12524C09D7C9}">
      <dgm:prSet/>
      <dgm:spPr/>
      <dgm:t>
        <a:bodyPr/>
        <a:lstStyle/>
        <a:p>
          <a:endParaRPr lang="en-US"/>
        </a:p>
      </dgm:t>
    </dgm:pt>
    <dgm:pt modelId="{C451DA32-F39F-4606-84BD-8A6229DE2F96}" type="sibTrans" cxnId="{AE40C3C9-CAAC-45E8-83A2-12524C09D7C9}">
      <dgm:prSet/>
      <dgm:spPr/>
      <dgm:t>
        <a:bodyPr/>
        <a:lstStyle/>
        <a:p>
          <a:endParaRPr lang="en-US"/>
        </a:p>
      </dgm:t>
    </dgm:pt>
    <dgm:pt modelId="{5C92B305-21C5-46D6-84E7-8978B4A9C7F3}">
      <dgm:prSet/>
      <dgm:spPr/>
      <dgm:t>
        <a:bodyPr/>
        <a:lstStyle/>
        <a:p>
          <a:r>
            <a:rPr lang="en-US" baseline="0" dirty="0"/>
            <a:t>Has </a:t>
          </a:r>
          <a:r>
            <a:rPr lang="en-US" b="1" baseline="0" dirty="0"/>
            <a:t>access</a:t>
          </a:r>
          <a:r>
            <a:rPr lang="en-US" baseline="0" dirty="0"/>
            <a:t> by default to all CPU and memory resources</a:t>
          </a:r>
          <a:endParaRPr lang="en-US" dirty="0"/>
        </a:p>
      </dgm:t>
    </dgm:pt>
    <dgm:pt modelId="{19E43499-2D41-4ABB-9DA8-0716B1F11C55}" type="parTrans" cxnId="{26DD6717-3DBA-4F6B-BAAE-1D110013F4C0}">
      <dgm:prSet/>
      <dgm:spPr/>
      <dgm:t>
        <a:bodyPr/>
        <a:lstStyle/>
        <a:p>
          <a:endParaRPr lang="en-US"/>
        </a:p>
      </dgm:t>
    </dgm:pt>
    <dgm:pt modelId="{C73800C9-8A52-43BC-9A67-048DD2D517DE}" type="sibTrans" cxnId="{26DD6717-3DBA-4F6B-BAAE-1D110013F4C0}">
      <dgm:prSet/>
      <dgm:spPr/>
      <dgm:t>
        <a:bodyPr/>
        <a:lstStyle/>
        <a:p>
          <a:endParaRPr lang="en-US"/>
        </a:p>
      </dgm:t>
    </dgm:pt>
    <dgm:pt modelId="{F79593FB-A54D-4710-A6C5-E3F2829E5F51}">
      <dgm:prSet/>
      <dgm:spPr/>
      <dgm:t>
        <a:bodyPr/>
        <a:lstStyle/>
        <a:p>
          <a:r>
            <a:rPr lang="en-US" baseline="0" dirty="0"/>
            <a:t>Each container has </a:t>
          </a:r>
          <a:r>
            <a:rPr lang="en-US" b="1" baseline="0" dirty="0"/>
            <a:t>writeable layer </a:t>
          </a:r>
          <a:r>
            <a:rPr lang="en-US" baseline="0" dirty="0"/>
            <a:t>but </a:t>
          </a:r>
          <a:r>
            <a:rPr lang="en-US" b="1" baseline="0" dirty="0"/>
            <a:t>share read-only image layer</a:t>
          </a:r>
          <a:endParaRPr lang="en-US" dirty="0"/>
        </a:p>
      </dgm:t>
    </dgm:pt>
    <dgm:pt modelId="{1931EA95-E13A-4EFE-8C08-C1B05F8BCE0A}" type="parTrans" cxnId="{EC69B176-BCD6-4AA3-8A14-533833495628}">
      <dgm:prSet/>
      <dgm:spPr/>
      <dgm:t>
        <a:bodyPr/>
        <a:lstStyle/>
        <a:p>
          <a:endParaRPr lang="en-US"/>
        </a:p>
      </dgm:t>
    </dgm:pt>
    <dgm:pt modelId="{8BEC8A1D-EA65-44EA-84A1-A5281655B8AA}" type="sibTrans" cxnId="{EC69B176-BCD6-4AA3-8A14-533833495628}">
      <dgm:prSet/>
      <dgm:spPr/>
      <dgm:t>
        <a:bodyPr/>
        <a:lstStyle/>
        <a:p>
          <a:endParaRPr lang="en-US"/>
        </a:p>
      </dgm:t>
    </dgm:pt>
    <dgm:pt modelId="{E0D418C7-82E4-45CB-8762-40790F1C6AD8}">
      <dgm:prSet/>
      <dgm:spPr/>
      <dgm:t>
        <a:bodyPr/>
        <a:lstStyle/>
        <a:p>
          <a:r>
            <a:rPr lang="en-US" baseline="0" dirty="0"/>
            <a:t>Start and stop do not affect writeable layer</a:t>
          </a:r>
          <a:endParaRPr lang="en-US" dirty="0"/>
        </a:p>
      </dgm:t>
    </dgm:pt>
    <dgm:pt modelId="{0983E85C-2AF0-41E1-A503-7EA32AA283E0}" type="parTrans" cxnId="{736524E6-762F-4001-8E26-F396C52FFF3B}">
      <dgm:prSet/>
      <dgm:spPr/>
      <dgm:t>
        <a:bodyPr/>
        <a:lstStyle/>
        <a:p>
          <a:endParaRPr lang="en-US"/>
        </a:p>
      </dgm:t>
    </dgm:pt>
    <dgm:pt modelId="{96BBC055-5502-44C4-BF8C-A1A8B2C3223F}" type="sibTrans" cxnId="{736524E6-762F-4001-8E26-F396C52FFF3B}">
      <dgm:prSet/>
      <dgm:spPr/>
      <dgm:t>
        <a:bodyPr/>
        <a:lstStyle/>
        <a:p>
          <a:endParaRPr lang="en-US"/>
        </a:p>
      </dgm:t>
    </dgm:pt>
    <dgm:pt modelId="{362F8606-78BD-477D-8DC1-DAE3A9271DA9}">
      <dgm:prSet/>
      <dgm:spPr/>
      <dgm:t>
        <a:bodyPr/>
        <a:lstStyle/>
        <a:p>
          <a:r>
            <a:rPr lang="en-US" b="1" baseline="0" dirty="0"/>
            <a:t>Remove deletes writeable layer</a:t>
          </a:r>
          <a:endParaRPr lang="en-US" dirty="0"/>
        </a:p>
      </dgm:t>
    </dgm:pt>
    <dgm:pt modelId="{9D15485E-FFF3-4888-ABB0-94054D344715}" type="parTrans" cxnId="{598EF8B2-830A-47D7-8287-66274238965B}">
      <dgm:prSet/>
      <dgm:spPr/>
      <dgm:t>
        <a:bodyPr/>
        <a:lstStyle/>
        <a:p>
          <a:endParaRPr lang="en-US"/>
        </a:p>
      </dgm:t>
    </dgm:pt>
    <dgm:pt modelId="{DDD11344-436D-4248-81DB-7A9461A91288}" type="sibTrans" cxnId="{598EF8B2-830A-47D7-8287-66274238965B}">
      <dgm:prSet/>
      <dgm:spPr/>
      <dgm:t>
        <a:bodyPr/>
        <a:lstStyle/>
        <a:p>
          <a:endParaRPr lang="en-US"/>
        </a:p>
      </dgm:t>
    </dgm:pt>
    <dgm:pt modelId="{202DF565-DBF2-4A2A-83A7-251284B43BC3}">
      <dgm:prSet/>
      <dgm:spPr/>
      <dgm:t>
        <a:bodyPr/>
        <a:lstStyle/>
        <a:p>
          <a:r>
            <a:rPr lang="en-US" b="1" baseline="0" dirty="0"/>
            <a:t>Volumes provide persistence on host</a:t>
          </a:r>
          <a:endParaRPr lang="en-US" dirty="0"/>
        </a:p>
      </dgm:t>
    </dgm:pt>
    <dgm:pt modelId="{DDBB8387-467B-4782-946B-0C6843257D03}" type="parTrans" cxnId="{3881286F-871A-4172-906B-95B3B9D6FA5F}">
      <dgm:prSet/>
      <dgm:spPr/>
      <dgm:t>
        <a:bodyPr/>
        <a:lstStyle/>
        <a:p>
          <a:endParaRPr lang="en-US"/>
        </a:p>
      </dgm:t>
    </dgm:pt>
    <dgm:pt modelId="{1A2B6B77-C738-4814-A146-0CAE9F4CFC42}" type="sibTrans" cxnId="{3881286F-871A-4172-906B-95B3B9D6FA5F}">
      <dgm:prSet/>
      <dgm:spPr/>
      <dgm:t>
        <a:bodyPr/>
        <a:lstStyle/>
        <a:p>
          <a:endParaRPr lang="en-US"/>
        </a:p>
      </dgm:t>
    </dgm:pt>
    <dgm:pt modelId="{B9F960B5-1B7C-4297-8EDB-374FA3616B01}" type="pres">
      <dgm:prSet presAssocID="{EDEC1B74-ED2A-4111-92BE-8D61B1730018}" presName="Name0" presStyleCnt="0">
        <dgm:presLayoutVars>
          <dgm:dir/>
          <dgm:animLvl val="lvl"/>
          <dgm:resizeHandles val="exact"/>
        </dgm:presLayoutVars>
      </dgm:prSet>
      <dgm:spPr/>
    </dgm:pt>
    <dgm:pt modelId="{F97F51D4-B28D-4217-A33E-386BB0DC0317}" type="pres">
      <dgm:prSet presAssocID="{85CA93BE-B18A-404A-A7C5-527C2706EFEA}" presName="compositeNode" presStyleCnt="0">
        <dgm:presLayoutVars>
          <dgm:bulletEnabled val="1"/>
        </dgm:presLayoutVars>
      </dgm:prSet>
      <dgm:spPr/>
    </dgm:pt>
    <dgm:pt modelId="{58E0E3DC-DE7B-4306-B6DE-99EFD7E06822}" type="pres">
      <dgm:prSet presAssocID="{85CA93BE-B18A-404A-A7C5-527C2706EFEA}" presName="bgRect" presStyleLbl="node1" presStyleIdx="0" presStyleCnt="2"/>
      <dgm:spPr/>
    </dgm:pt>
    <dgm:pt modelId="{F66A1187-E1CD-4B8A-B0DB-13E035512C40}" type="pres">
      <dgm:prSet presAssocID="{85CA93BE-B18A-404A-A7C5-527C2706EFEA}" presName="parentNode" presStyleLbl="node1" presStyleIdx="0" presStyleCnt="2">
        <dgm:presLayoutVars>
          <dgm:chMax val="0"/>
          <dgm:bulletEnabled val="1"/>
        </dgm:presLayoutVars>
      </dgm:prSet>
      <dgm:spPr/>
    </dgm:pt>
    <dgm:pt modelId="{CB54E232-A062-433F-8704-9A51A4E20B78}" type="pres">
      <dgm:prSet presAssocID="{85CA93BE-B18A-404A-A7C5-527C2706EFEA}" presName="childNode" presStyleLbl="node1" presStyleIdx="0" presStyleCnt="2">
        <dgm:presLayoutVars>
          <dgm:bulletEnabled val="1"/>
        </dgm:presLayoutVars>
      </dgm:prSet>
      <dgm:spPr/>
    </dgm:pt>
    <dgm:pt modelId="{C06B79B1-D9B0-49DC-8690-7CFB1FE545BD}" type="pres">
      <dgm:prSet presAssocID="{7C6B6447-7FF3-4665-9DEE-7903F773E8F1}" presName="hSp" presStyleCnt="0"/>
      <dgm:spPr/>
    </dgm:pt>
    <dgm:pt modelId="{2845345D-3477-4935-802A-D534503DA4F7}" type="pres">
      <dgm:prSet presAssocID="{7C6B6447-7FF3-4665-9DEE-7903F773E8F1}" presName="vProcSp" presStyleCnt="0"/>
      <dgm:spPr/>
    </dgm:pt>
    <dgm:pt modelId="{27A07FD6-0F3D-489C-B8D6-6B52BE2BE662}" type="pres">
      <dgm:prSet presAssocID="{7C6B6447-7FF3-4665-9DEE-7903F773E8F1}" presName="vSp1" presStyleCnt="0"/>
      <dgm:spPr/>
    </dgm:pt>
    <dgm:pt modelId="{1D8D2521-0363-4DBB-BE31-514C0BE79BBD}" type="pres">
      <dgm:prSet presAssocID="{7C6B6447-7FF3-4665-9DEE-7903F773E8F1}" presName="simulatedConn" presStyleLbl="solidFgAcc1" presStyleIdx="0" presStyleCnt="1"/>
      <dgm:spPr/>
    </dgm:pt>
    <dgm:pt modelId="{556E6C66-85FF-48FB-9D4A-79DD46746964}" type="pres">
      <dgm:prSet presAssocID="{7C6B6447-7FF3-4665-9DEE-7903F773E8F1}" presName="vSp2" presStyleCnt="0"/>
      <dgm:spPr/>
    </dgm:pt>
    <dgm:pt modelId="{9845ADB1-ADE4-4DDB-ACF8-67EEBD1E0EA4}" type="pres">
      <dgm:prSet presAssocID="{7C6B6447-7FF3-4665-9DEE-7903F773E8F1}" presName="sibTrans" presStyleCnt="0"/>
      <dgm:spPr/>
    </dgm:pt>
    <dgm:pt modelId="{28D97C70-8919-48A3-8778-D8AF50B07084}" type="pres">
      <dgm:prSet presAssocID="{D9993E23-1A9D-446A-9127-05A31A5B871B}" presName="compositeNode" presStyleCnt="0">
        <dgm:presLayoutVars>
          <dgm:bulletEnabled val="1"/>
        </dgm:presLayoutVars>
      </dgm:prSet>
      <dgm:spPr/>
    </dgm:pt>
    <dgm:pt modelId="{00F54136-19DD-4DE9-949D-37C7111CF126}" type="pres">
      <dgm:prSet presAssocID="{D9993E23-1A9D-446A-9127-05A31A5B871B}" presName="bgRect" presStyleLbl="node1" presStyleIdx="1" presStyleCnt="2"/>
      <dgm:spPr/>
    </dgm:pt>
    <dgm:pt modelId="{11FE3668-F829-4B58-8E78-A91D917DD008}" type="pres">
      <dgm:prSet presAssocID="{D9993E23-1A9D-446A-9127-05A31A5B871B}" presName="parentNode" presStyleLbl="node1" presStyleIdx="1" presStyleCnt="2">
        <dgm:presLayoutVars>
          <dgm:chMax val="0"/>
          <dgm:bulletEnabled val="1"/>
        </dgm:presLayoutVars>
      </dgm:prSet>
      <dgm:spPr/>
    </dgm:pt>
    <dgm:pt modelId="{EBAF74BD-8F95-4592-97C5-9142AFBD2189}" type="pres">
      <dgm:prSet presAssocID="{D9993E23-1A9D-446A-9127-05A31A5B871B}" presName="childNode" presStyleLbl="node1" presStyleIdx="1" presStyleCnt="2">
        <dgm:presLayoutVars>
          <dgm:bulletEnabled val="1"/>
        </dgm:presLayoutVars>
      </dgm:prSet>
      <dgm:spPr/>
    </dgm:pt>
  </dgm:ptLst>
  <dgm:cxnLst>
    <dgm:cxn modelId="{21F4E004-0725-4E49-8154-8FCBE8C1A502}" type="presOf" srcId="{202DF565-DBF2-4A2A-83A7-251284B43BC3}" destId="{EBAF74BD-8F95-4592-97C5-9142AFBD2189}" srcOrd="0" destOrd="7" presId="urn:microsoft.com/office/officeart/2005/8/layout/hProcess7"/>
    <dgm:cxn modelId="{DA5D3409-0276-4A40-B598-19018437010A}" srcId="{D9993E23-1A9D-446A-9127-05A31A5B871B}" destId="{F737B822-2440-488C-8B64-99AB04D6D563}" srcOrd="0" destOrd="0" parTransId="{CE3FF7ED-7A6C-4D61-B507-D0015F7FED73}" sibTransId="{9786E5CF-441A-490B-BD1A-6EBFC72D0001}"/>
    <dgm:cxn modelId="{378F5B14-6541-451E-8F28-FFD00C9CD1F1}" srcId="{D9993E23-1A9D-446A-9127-05A31A5B871B}" destId="{B613E198-7C99-4441-85AF-789CE34CF390}" srcOrd="1" destOrd="0" parTransId="{37C6CE1C-F7A6-4D0E-A715-EB45FB2CB1D2}" sibTransId="{51AB924F-DEF0-49EA-B949-B904FB451AFC}"/>
    <dgm:cxn modelId="{BAAE7F16-CF98-4B4F-B0DF-30B3B0987D21}" type="presOf" srcId="{F737B822-2440-488C-8B64-99AB04D6D563}" destId="{EBAF74BD-8F95-4592-97C5-9142AFBD2189}" srcOrd="0" destOrd="0" presId="urn:microsoft.com/office/officeart/2005/8/layout/hProcess7"/>
    <dgm:cxn modelId="{26DD6717-3DBA-4F6B-BAAE-1D110013F4C0}" srcId="{D9993E23-1A9D-446A-9127-05A31A5B871B}" destId="{5C92B305-21C5-46D6-84E7-8978B4A9C7F3}" srcOrd="3" destOrd="0" parTransId="{19E43499-2D41-4ABB-9DA8-0716B1F11C55}" sibTransId="{C73800C9-8A52-43BC-9A67-048DD2D517DE}"/>
    <dgm:cxn modelId="{E8F2A128-CD63-44ED-B8D0-A8845E2DABB0}" type="presOf" srcId="{F79593FB-A54D-4710-A6C5-E3F2829E5F51}" destId="{EBAF74BD-8F95-4592-97C5-9142AFBD2189}" srcOrd="0" destOrd="4" presId="urn:microsoft.com/office/officeart/2005/8/layout/hProcess7"/>
    <dgm:cxn modelId="{DFF13A2A-4217-4D14-A47D-A1DEBDFEAD5D}" type="presOf" srcId="{362F8606-78BD-477D-8DC1-DAE3A9271DA9}" destId="{EBAF74BD-8F95-4592-97C5-9142AFBD2189}" srcOrd="0" destOrd="6" presId="urn:microsoft.com/office/officeart/2005/8/layout/hProcess7"/>
    <dgm:cxn modelId="{75722B65-4D6A-4FB6-BBE0-C004BE9EDF56}" type="presOf" srcId="{7CBE6B68-D25F-4296-A7B1-DB09F1A5EF22}" destId="{CB54E232-A062-433F-8704-9A51A4E20B78}" srcOrd="0" destOrd="0" presId="urn:microsoft.com/office/officeart/2005/8/layout/hProcess7"/>
    <dgm:cxn modelId="{8B506E6A-C18A-4E36-8D46-B9863187BD46}" type="presOf" srcId="{9FA2B8A0-FEBA-48B8-9085-9C84852A7ACF}" destId="{EBAF74BD-8F95-4592-97C5-9142AFBD2189}" srcOrd="0" destOrd="2" presId="urn:microsoft.com/office/officeart/2005/8/layout/hProcess7"/>
    <dgm:cxn modelId="{D88E734C-E623-4846-BE5E-2BA03A7BF7A3}" type="presOf" srcId="{E0D418C7-82E4-45CB-8762-40790F1C6AD8}" destId="{EBAF74BD-8F95-4592-97C5-9142AFBD2189}" srcOrd="0" destOrd="5" presId="urn:microsoft.com/office/officeart/2005/8/layout/hProcess7"/>
    <dgm:cxn modelId="{3881286F-871A-4172-906B-95B3B9D6FA5F}" srcId="{D9993E23-1A9D-446A-9127-05A31A5B871B}" destId="{202DF565-DBF2-4A2A-83A7-251284B43BC3}" srcOrd="7" destOrd="0" parTransId="{DDBB8387-467B-4782-946B-0C6843257D03}" sibTransId="{1A2B6B77-C738-4814-A146-0CAE9F4CFC42}"/>
    <dgm:cxn modelId="{E4D9CA6F-0C88-4BF1-BC24-9ACE6A1A2860}" type="presOf" srcId="{AAD1C218-48CF-4D19-A4C6-A533DA02BBA6}" destId="{CB54E232-A062-433F-8704-9A51A4E20B78}" srcOrd="0" destOrd="2" presId="urn:microsoft.com/office/officeart/2005/8/layout/hProcess7"/>
    <dgm:cxn modelId="{62A20B73-EA03-4E27-9FEC-8CACBB6FB366}" srcId="{85CA93BE-B18A-404A-A7C5-527C2706EFEA}" destId="{AAD1C218-48CF-4D19-A4C6-A533DA02BBA6}" srcOrd="2" destOrd="0" parTransId="{8B58453B-7A48-486B-B936-FB9BB1B84F3B}" sibTransId="{6BF20E57-AB90-40CF-9148-BDF7F6D22599}"/>
    <dgm:cxn modelId="{EC69B176-BCD6-4AA3-8A14-533833495628}" srcId="{D9993E23-1A9D-446A-9127-05A31A5B871B}" destId="{F79593FB-A54D-4710-A6C5-E3F2829E5F51}" srcOrd="4" destOrd="0" parTransId="{1931EA95-E13A-4EFE-8C08-C1B05F8BCE0A}" sibTransId="{8BEC8A1D-EA65-44EA-84A1-A5281655B8AA}"/>
    <dgm:cxn modelId="{2B8DE877-3E61-41DF-B896-4159CE21BB9D}" type="presOf" srcId="{EDEC1B74-ED2A-4111-92BE-8D61B1730018}" destId="{B9F960B5-1B7C-4297-8EDB-374FA3616B01}" srcOrd="0" destOrd="0" presId="urn:microsoft.com/office/officeart/2005/8/layout/hProcess7"/>
    <dgm:cxn modelId="{40CFF987-0A18-4DDB-B13A-AE687AA177C2}" type="presOf" srcId="{D9993E23-1A9D-446A-9127-05A31A5B871B}" destId="{00F54136-19DD-4DE9-949D-37C7111CF126}" srcOrd="0" destOrd="0" presId="urn:microsoft.com/office/officeart/2005/8/layout/hProcess7"/>
    <dgm:cxn modelId="{1CF0998C-CDA3-4933-86F4-5AE8BE51B6E1}" srcId="{EDEC1B74-ED2A-4111-92BE-8D61B1730018}" destId="{D9993E23-1A9D-446A-9127-05A31A5B871B}" srcOrd="1" destOrd="0" parTransId="{78176A75-AC37-418A-B22E-5B78DC52ECE8}" sibTransId="{9BECEE5B-1F7C-42A7-8E54-D8912A28D9C0}"/>
    <dgm:cxn modelId="{37CB66AB-A227-4F44-A8CC-8419BA273ED1}" srcId="{EDEC1B74-ED2A-4111-92BE-8D61B1730018}" destId="{85CA93BE-B18A-404A-A7C5-527C2706EFEA}" srcOrd="0" destOrd="0" parTransId="{9678632A-271A-406F-B0F4-32A3834AEDAE}" sibTransId="{7C6B6447-7FF3-4665-9DEE-7903F773E8F1}"/>
    <dgm:cxn modelId="{88FC78AF-BC5B-48F8-8AB3-0ED03547053C}" srcId="{85CA93BE-B18A-404A-A7C5-527C2706EFEA}" destId="{0964A256-F465-4F44-B4DF-64CFF4DF6CC0}" srcOrd="1" destOrd="0" parTransId="{1A0F3D6C-7AF4-4CEC-9C91-D3A2E96633DD}" sibTransId="{10AB926E-5CFF-4C05-AB52-B47014FB5FBB}"/>
    <dgm:cxn modelId="{598EF8B2-830A-47D7-8287-66274238965B}" srcId="{D9993E23-1A9D-446A-9127-05A31A5B871B}" destId="{362F8606-78BD-477D-8DC1-DAE3A9271DA9}" srcOrd="6" destOrd="0" parTransId="{9D15485E-FFF3-4888-ABB0-94054D344715}" sibTransId="{DDD11344-436D-4248-81DB-7A9461A91288}"/>
    <dgm:cxn modelId="{F01EB2BB-7194-43B1-AD39-B68A663BF532}" type="presOf" srcId="{B613E198-7C99-4441-85AF-789CE34CF390}" destId="{EBAF74BD-8F95-4592-97C5-9142AFBD2189}" srcOrd="0" destOrd="1" presId="urn:microsoft.com/office/officeart/2005/8/layout/hProcess7"/>
    <dgm:cxn modelId="{AE40C3C9-CAAC-45E8-83A2-12524C09D7C9}" srcId="{D9993E23-1A9D-446A-9127-05A31A5B871B}" destId="{9FA2B8A0-FEBA-48B8-9085-9C84852A7ACF}" srcOrd="2" destOrd="0" parTransId="{487D7781-6506-4947-B955-DDAF85168DF3}" sibTransId="{C451DA32-F39F-4606-84BD-8A6229DE2F96}"/>
    <dgm:cxn modelId="{586629CB-6103-448D-BBA3-316FAC612C0C}" type="presOf" srcId="{CE94050B-DB4E-43A2-A1E6-BEACCE1D7827}" destId="{CB54E232-A062-433F-8704-9A51A4E20B78}" srcOrd="0" destOrd="3" presId="urn:microsoft.com/office/officeart/2005/8/layout/hProcess7"/>
    <dgm:cxn modelId="{14B980CB-8947-4026-82BB-2CFD98AC86E5}" type="presOf" srcId="{D9993E23-1A9D-446A-9127-05A31A5B871B}" destId="{11FE3668-F829-4B58-8E78-A91D917DD008}" srcOrd="1" destOrd="0" presId="urn:microsoft.com/office/officeart/2005/8/layout/hProcess7"/>
    <dgm:cxn modelId="{E3A040D0-5593-4A92-9E50-844899BD0C67}" srcId="{85CA93BE-B18A-404A-A7C5-527C2706EFEA}" destId="{7CBE6B68-D25F-4296-A7B1-DB09F1A5EF22}" srcOrd="0" destOrd="0" parTransId="{9A185D54-6596-4E2E-9689-B69D7A699CB9}" sibTransId="{3228E3C8-7068-4619-897D-6270BAB3EEB2}"/>
    <dgm:cxn modelId="{562442D8-A76D-409A-A284-3B4CEE8283EC}" type="presOf" srcId="{0964A256-F465-4F44-B4DF-64CFF4DF6CC0}" destId="{CB54E232-A062-433F-8704-9A51A4E20B78}" srcOrd="0" destOrd="1" presId="urn:microsoft.com/office/officeart/2005/8/layout/hProcess7"/>
    <dgm:cxn modelId="{4FACE1D8-E2A6-4AEB-89B1-03726BB56C2A}" type="presOf" srcId="{5C92B305-21C5-46D6-84E7-8978B4A9C7F3}" destId="{EBAF74BD-8F95-4592-97C5-9142AFBD2189}" srcOrd="0" destOrd="3" presId="urn:microsoft.com/office/officeart/2005/8/layout/hProcess7"/>
    <dgm:cxn modelId="{D61C10E0-B68C-43B4-BE2E-BF4A09A416A8}" srcId="{85CA93BE-B18A-404A-A7C5-527C2706EFEA}" destId="{CE94050B-DB4E-43A2-A1E6-BEACCE1D7827}" srcOrd="3" destOrd="0" parTransId="{0F62BAF5-276F-4476-8C57-55F7936D74DA}" sibTransId="{CA7D5EDC-BE56-4347-B28B-AC03A591E466}"/>
    <dgm:cxn modelId="{E93F95E2-A162-49B7-BA8C-ADFCCFF439A5}" type="presOf" srcId="{85CA93BE-B18A-404A-A7C5-527C2706EFEA}" destId="{F66A1187-E1CD-4B8A-B0DB-13E035512C40}" srcOrd="1" destOrd="0" presId="urn:microsoft.com/office/officeart/2005/8/layout/hProcess7"/>
    <dgm:cxn modelId="{736524E6-762F-4001-8E26-F396C52FFF3B}" srcId="{D9993E23-1A9D-446A-9127-05A31A5B871B}" destId="{E0D418C7-82E4-45CB-8762-40790F1C6AD8}" srcOrd="5" destOrd="0" parTransId="{0983E85C-2AF0-41E1-A503-7EA32AA283E0}" sibTransId="{96BBC055-5502-44C4-BF8C-A1A8B2C3223F}"/>
    <dgm:cxn modelId="{6FCCADEC-E217-4FBB-A3A8-8DBA4038AA7A}" type="presOf" srcId="{85CA93BE-B18A-404A-A7C5-527C2706EFEA}" destId="{58E0E3DC-DE7B-4306-B6DE-99EFD7E06822}" srcOrd="0" destOrd="0" presId="urn:microsoft.com/office/officeart/2005/8/layout/hProcess7"/>
    <dgm:cxn modelId="{A6924222-6786-4D4B-A25F-78B8243E92FC}" type="presParOf" srcId="{B9F960B5-1B7C-4297-8EDB-374FA3616B01}" destId="{F97F51D4-B28D-4217-A33E-386BB0DC0317}" srcOrd="0" destOrd="0" presId="urn:microsoft.com/office/officeart/2005/8/layout/hProcess7"/>
    <dgm:cxn modelId="{2B5D6F63-F9EA-4E01-83F8-044DC2660866}" type="presParOf" srcId="{F97F51D4-B28D-4217-A33E-386BB0DC0317}" destId="{58E0E3DC-DE7B-4306-B6DE-99EFD7E06822}" srcOrd="0" destOrd="0" presId="urn:microsoft.com/office/officeart/2005/8/layout/hProcess7"/>
    <dgm:cxn modelId="{F553D993-691D-4551-868D-0D9EC8C79E33}" type="presParOf" srcId="{F97F51D4-B28D-4217-A33E-386BB0DC0317}" destId="{F66A1187-E1CD-4B8A-B0DB-13E035512C40}" srcOrd="1" destOrd="0" presId="urn:microsoft.com/office/officeart/2005/8/layout/hProcess7"/>
    <dgm:cxn modelId="{8336D04E-20CA-4F5E-B675-86448ED099A1}" type="presParOf" srcId="{F97F51D4-B28D-4217-A33E-386BB0DC0317}" destId="{CB54E232-A062-433F-8704-9A51A4E20B78}" srcOrd="2" destOrd="0" presId="urn:microsoft.com/office/officeart/2005/8/layout/hProcess7"/>
    <dgm:cxn modelId="{D24A4EE2-0765-4288-9091-719263A04CF0}" type="presParOf" srcId="{B9F960B5-1B7C-4297-8EDB-374FA3616B01}" destId="{C06B79B1-D9B0-49DC-8690-7CFB1FE545BD}" srcOrd="1" destOrd="0" presId="urn:microsoft.com/office/officeart/2005/8/layout/hProcess7"/>
    <dgm:cxn modelId="{4940D547-59FE-4569-A4F7-8AC2E69EECC7}" type="presParOf" srcId="{B9F960B5-1B7C-4297-8EDB-374FA3616B01}" destId="{2845345D-3477-4935-802A-D534503DA4F7}" srcOrd="2" destOrd="0" presId="urn:microsoft.com/office/officeart/2005/8/layout/hProcess7"/>
    <dgm:cxn modelId="{8161E0D1-DA40-43BA-9E73-098E01F80E14}" type="presParOf" srcId="{2845345D-3477-4935-802A-D534503DA4F7}" destId="{27A07FD6-0F3D-489C-B8D6-6B52BE2BE662}" srcOrd="0" destOrd="0" presId="urn:microsoft.com/office/officeart/2005/8/layout/hProcess7"/>
    <dgm:cxn modelId="{10D598DE-76E5-438F-8657-0B14BE79BFAB}" type="presParOf" srcId="{2845345D-3477-4935-802A-D534503DA4F7}" destId="{1D8D2521-0363-4DBB-BE31-514C0BE79BBD}" srcOrd="1" destOrd="0" presId="urn:microsoft.com/office/officeart/2005/8/layout/hProcess7"/>
    <dgm:cxn modelId="{F10622E2-EF4D-4F2E-A7F6-CDFDD775BD17}" type="presParOf" srcId="{2845345D-3477-4935-802A-D534503DA4F7}" destId="{556E6C66-85FF-48FB-9D4A-79DD46746964}" srcOrd="2" destOrd="0" presId="urn:microsoft.com/office/officeart/2005/8/layout/hProcess7"/>
    <dgm:cxn modelId="{E3217AF4-6373-40D1-B86A-237A1D048159}" type="presParOf" srcId="{B9F960B5-1B7C-4297-8EDB-374FA3616B01}" destId="{9845ADB1-ADE4-4DDB-ACF8-67EEBD1E0EA4}" srcOrd="3" destOrd="0" presId="urn:microsoft.com/office/officeart/2005/8/layout/hProcess7"/>
    <dgm:cxn modelId="{A97332EE-03EF-4F42-AE61-074CD816A970}" type="presParOf" srcId="{B9F960B5-1B7C-4297-8EDB-374FA3616B01}" destId="{28D97C70-8919-48A3-8778-D8AF50B07084}" srcOrd="4" destOrd="0" presId="urn:microsoft.com/office/officeart/2005/8/layout/hProcess7"/>
    <dgm:cxn modelId="{9A582AB8-FF31-4452-AE2B-903540694BDA}" type="presParOf" srcId="{28D97C70-8919-48A3-8778-D8AF50B07084}" destId="{00F54136-19DD-4DE9-949D-37C7111CF126}" srcOrd="0" destOrd="0" presId="urn:microsoft.com/office/officeart/2005/8/layout/hProcess7"/>
    <dgm:cxn modelId="{51578852-830F-45EC-BC23-A8E9B4F1D6EC}" type="presParOf" srcId="{28D97C70-8919-48A3-8778-D8AF50B07084}" destId="{11FE3668-F829-4B58-8E78-A91D917DD008}" srcOrd="1" destOrd="0" presId="urn:microsoft.com/office/officeart/2005/8/layout/hProcess7"/>
    <dgm:cxn modelId="{BEAED87E-2426-4F6B-BCB5-463C1C73F697}" type="presParOf" srcId="{28D97C70-8919-48A3-8778-D8AF50B07084}" destId="{EBAF74BD-8F95-4592-97C5-9142AFBD2189}" srcOrd="2" destOrd="0" presId="urn:microsoft.com/office/officeart/2005/8/layout/hProcess7"/>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70D78115-C444-442D-83FF-E6321FA086C1}" type="doc">
      <dgm:prSet loTypeId="urn:microsoft.com/office/officeart/2005/8/layout/default" loCatId="list" qsTypeId="urn:microsoft.com/office/officeart/2005/8/quickstyle/simple1" qsCatId="simple" csTypeId="urn:microsoft.com/office/officeart/2005/8/colors/accent0_3" csCatId="mainScheme" phldr="1"/>
      <dgm:spPr/>
      <dgm:t>
        <a:bodyPr/>
        <a:lstStyle/>
        <a:p>
          <a:endParaRPr lang="en-US"/>
        </a:p>
      </dgm:t>
    </dgm:pt>
    <dgm:pt modelId="{77DE2657-20B5-4534-B1BD-59157761ABE8}">
      <dgm:prSet phldrT="[Text]"/>
      <dgm:spPr/>
      <dgm:t>
        <a:bodyPr/>
        <a:lstStyle/>
        <a:p>
          <a:r>
            <a:rPr lang="en-US" dirty="0"/>
            <a:t>VM = emulate hardware and load entire OS</a:t>
          </a:r>
        </a:p>
      </dgm:t>
    </dgm:pt>
    <dgm:pt modelId="{70760C7D-D07D-4A40-8784-C48B33F34476}" type="parTrans" cxnId="{CB37BD86-734E-4E23-B49D-E7EDCDE5E958}">
      <dgm:prSet/>
      <dgm:spPr/>
      <dgm:t>
        <a:bodyPr/>
        <a:lstStyle/>
        <a:p>
          <a:endParaRPr lang="en-US"/>
        </a:p>
      </dgm:t>
    </dgm:pt>
    <dgm:pt modelId="{37890861-96C0-457E-A82D-26FDBA167F8A}" type="sibTrans" cxnId="{CB37BD86-734E-4E23-B49D-E7EDCDE5E958}">
      <dgm:prSet/>
      <dgm:spPr/>
      <dgm:t>
        <a:bodyPr/>
        <a:lstStyle/>
        <a:p>
          <a:endParaRPr lang="en-US"/>
        </a:p>
      </dgm:t>
    </dgm:pt>
    <dgm:pt modelId="{5E90362A-FAFF-4D7F-8717-1021A0A3709C}">
      <dgm:prSet/>
      <dgm:spPr/>
      <dgm:t>
        <a:bodyPr/>
        <a:lstStyle/>
        <a:p>
          <a:r>
            <a:rPr lang="en-US" dirty="0"/>
            <a:t>Containers = isolation but cooperate with host kernel</a:t>
          </a:r>
        </a:p>
      </dgm:t>
    </dgm:pt>
    <dgm:pt modelId="{5554A203-5C20-499C-9B27-CD8EDB8484CA}" type="parTrans" cxnId="{B50C92DF-9DFB-4A62-BEB8-AED2DD856F4F}">
      <dgm:prSet/>
      <dgm:spPr/>
      <dgm:t>
        <a:bodyPr/>
        <a:lstStyle/>
        <a:p>
          <a:endParaRPr lang="en-US"/>
        </a:p>
      </dgm:t>
    </dgm:pt>
    <dgm:pt modelId="{6C48B771-393C-45AB-B9F8-FD6924202BA5}" type="sibTrans" cxnId="{B50C92DF-9DFB-4A62-BEB8-AED2DD856F4F}">
      <dgm:prSet/>
      <dgm:spPr/>
      <dgm:t>
        <a:bodyPr/>
        <a:lstStyle/>
        <a:p>
          <a:endParaRPr lang="en-US"/>
        </a:p>
      </dgm:t>
    </dgm:pt>
    <dgm:pt modelId="{1304B358-5E55-475C-9CB5-FE95F94F6E60}" type="pres">
      <dgm:prSet presAssocID="{70D78115-C444-442D-83FF-E6321FA086C1}" presName="diagram" presStyleCnt="0">
        <dgm:presLayoutVars>
          <dgm:dir/>
          <dgm:resizeHandles val="exact"/>
        </dgm:presLayoutVars>
      </dgm:prSet>
      <dgm:spPr/>
    </dgm:pt>
    <dgm:pt modelId="{1E2F8480-9C09-4B04-9C4C-C045B2924EFA}" type="pres">
      <dgm:prSet presAssocID="{77DE2657-20B5-4534-B1BD-59157761ABE8}" presName="node" presStyleLbl="node1" presStyleIdx="0" presStyleCnt="2">
        <dgm:presLayoutVars>
          <dgm:bulletEnabled val="1"/>
        </dgm:presLayoutVars>
      </dgm:prSet>
      <dgm:spPr/>
    </dgm:pt>
    <dgm:pt modelId="{BDED5574-F9CB-4464-885B-2318416D1828}" type="pres">
      <dgm:prSet presAssocID="{37890861-96C0-457E-A82D-26FDBA167F8A}" presName="sibTrans" presStyleCnt="0"/>
      <dgm:spPr/>
    </dgm:pt>
    <dgm:pt modelId="{7E110545-13BE-443E-86D6-35AC005902B1}" type="pres">
      <dgm:prSet presAssocID="{5E90362A-FAFF-4D7F-8717-1021A0A3709C}" presName="node" presStyleLbl="node1" presStyleIdx="1" presStyleCnt="2">
        <dgm:presLayoutVars>
          <dgm:bulletEnabled val="1"/>
        </dgm:presLayoutVars>
      </dgm:prSet>
      <dgm:spPr/>
    </dgm:pt>
  </dgm:ptLst>
  <dgm:cxnLst>
    <dgm:cxn modelId="{D3688616-1D5B-4C2C-9A93-2E1DC3475357}" type="presOf" srcId="{5E90362A-FAFF-4D7F-8717-1021A0A3709C}" destId="{7E110545-13BE-443E-86D6-35AC005902B1}" srcOrd="0" destOrd="0" presId="urn:microsoft.com/office/officeart/2005/8/layout/default"/>
    <dgm:cxn modelId="{CB37BD86-734E-4E23-B49D-E7EDCDE5E958}" srcId="{70D78115-C444-442D-83FF-E6321FA086C1}" destId="{77DE2657-20B5-4534-B1BD-59157761ABE8}" srcOrd="0" destOrd="0" parTransId="{70760C7D-D07D-4A40-8784-C48B33F34476}" sibTransId="{37890861-96C0-457E-A82D-26FDBA167F8A}"/>
    <dgm:cxn modelId="{63DA4988-B38A-4D20-8295-C2639ECDBC11}" type="presOf" srcId="{70D78115-C444-442D-83FF-E6321FA086C1}" destId="{1304B358-5E55-475C-9CB5-FE95F94F6E60}" srcOrd="0" destOrd="0" presId="urn:microsoft.com/office/officeart/2005/8/layout/default"/>
    <dgm:cxn modelId="{3A10BDC0-6674-4A66-8A4B-D44BF26A9C0A}" type="presOf" srcId="{77DE2657-20B5-4534-B1BD-59157761ABE8}" destId="{1E2F8480-9C09-4B04-9C4C-C045B2924EFA}" srcOrd="0" destOrd="0" presId="urn:microsoft.com/office/officeart/2005/8/layout/default"/>
    <dgm:cxn modelId="{B50C92DF-9DFB-4A62-BEB8-AED2DD856F4F}" srcId="{70D78115-C444-442D-83FF-E6321FA086C1}" destId="{5E90362A-FAFF-4D7F-8717-1021A0A3709C}" srcOrd="1" destOrd="0" parTransId="{5554A203-5C20-499C-9B27-CD8EDB8484CA}" sibTransId="{6C48B771-393C-45AB-B9F8-FD6924202BA5}"/>
    <dgm:cxn modelId="{AC295DB7-3C0D-4480-9622-1FFB8F45A468}" type="presParOf" srcId="{1304B358-5E55-475C-9CB5-FE95F94F6E60}" destId="{1E2F8480-9C09-4B04-9C4C-C045B2924EFA}" srcOrd="0" destOrd="0" presId="urn:microsoft.com/office/officeart/2005/8/layout/default"/>
    <dgm:cxn modelId="{5EBEF416-AB38-415A-A831-6DC7E2A58421}" type="presParOf" srcId="{1304B358-5E55-475C-9CB5-FE95F94F6E60}" destId="{BDED5574-F9CB-4464-885B-2318416D1828}" srcOrd="1" destOrd="0" presId="urn:microsoft.com/office/officeart/2005/8/layout/default"/>
    <dgm:cxn modelId="{D6DB64AA-C9B9-4A1E-9A53-73C7B9AA77D9}" type="presParOf" srcId="{1304B358-5E55-475C-9CB5-FE95F94F6E60}" destId="{7E110545-13BE-443E-86D6-35AC005902B1}" srcOrd="2"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0FBB894C-BEE6-48F9-A43B-F7F7FCDCA47A}" type="doc">
      <dgm:prSet loTypeId="urn:microsoft.com/office/officeart/2005/8/layout/default" loCatId="list" qsTypeId="urn:microsoft.com/office/officeart/2005/8/quickstyle/simple1" qsCatId="simple" csTypeId="urn:microsoft.com/office/officeart/2005/8/colors/accent2_2" csCatId="accent2" phldr="1"/>
      <dgm:spPr/>
      <dgm:t>
        <a:bodyPr/>
        <a:lstStyle/>
        <a:p>
          <a:endParaRPr lang="en-US"/>
        </a:p>
      </dgm:t>
    </dgm:pt>
    <dgm:pt modelId="{A5CF3E69-F202-4BDA-BE6F-B8A282295219}">
      <dgm:prSet phldrT="[Text]"/>
      <dgm:spPr/>
      <dgm:t>
        <a:bodyPr/>
        <a:lstStyle/>
        <a:p>
          <a:r>
            <a:rPr lang="en-US" dirty="0"/>
            <a:t>SQL Server Engine pre-installed</a:t>
          </a:r>
        </a:p>
      </dgm:t>
    </dgm:pt>
    <dgm:pt modelId="{5E4F8704-9963-4179-BFAC-06CB161DEC30}" type="parTrans" cxnId="{6D3C25A4-A771-46C7-A47E-DFD54E725D05}">
      <dgm:prSet/>
      <dgm:spPr/>
      <dgm:t>
        <a:bodyPr/>
        <a:lstStyle/>
        <a:p>
          <a:endParaRPr lang="en-US"/>
        </a:p>
      </dgm:t>
    </dgm:pt>
    <dgm:pt modelId="{C9073CF5-62D1-4BA2-B5C9-3D8B536515E5}" type="sibTrans" cxnId="{6D3C25A4-A771-46C7-A47E-DFD54E725D05}">
      <dgm:prSet/>
      <dgm:spPr/>
      <dgm:t>
        <a:bodyPr/>
        <a:lstStyle/>
        <a:p>
          <a:endParaRPr lang="en-US"/>
        </a:p>
      </dgm:t>
    </dgm:pt>
    <dgm:pt modelId="{FD012980-89D2-483E-908C-298D99947DFC}">
      <dgm:prSet phldrT="[Text]"/>
      <dgm:spPr/>
      <dgm:t>
        <a:bodyPr/>
        <a:lstStyle/>
        <a:p>
          <a:r>
            <a:rPr lang="en-US" dirty="0"/>
            <a:t>SQL Server tools pre-installed</a:t>
          </a:r>
        </a:p>
      </dgm:t>
    </dgm:pt>
    <dgm:pt modelId="{CEF56745-761A-414E-85DE-26B61449D9E6}" type="parTrans" cxnId="{021B96F8-2A7D-4287-997B-463A68B52C4C}">
      <dgm:prSet/>
      <dgm:spPr/>
      <dgm:t>
        <a:bodyPr/>
        <a:lstStyle/>
        <a:p>
          <a:endParaRPr lang="en-US"/>
        </a:p>
      </dgm:t>
    </dgm:pt>
    <dgm:pt modelId="{07FDC1D7-05D0-4C0E-A9AC-8F57BE3BE772}" type="sibTrans" cxnId="{021B96F8-2A7D-4287-997B-463A68B52C4C}">
      <dgm:prSet/>
      <dgm:spPr/>
      <dgm:t>
        <a:bodyPr/>
        <a:lstStyle/>
        <a:p>
          <a:endParaRPr lang="en-US"/>
        </a:p>
      </dgm:t>
    </dgm:pt>
    <dgm:pt modelId="{B15FA3F4-5F74-4C47-B4C0-BA1B3AACD8CC}">
      <dgm:prSet phldrT="[Text]"/>
      <dgm:spPr/>
      <dgm:t>
        <a:bodyPr/>
        <a:lstStyle/>
        <a:p>
          <a:r>
            <a:rPr lang="en-US" dirty="0"/>
            <a:t>Database and application compatibility</a:t>
          </a:r>
        </a:p>
      </dgm:t>
    </dgm:pt>
    <dgm:pt modelId="{73742025-89F8-4B5D-93FC-8112C8792E2F}" type="parTrans" cxnId="{90C9C358-6AE1-4435-9279-3B2F97844A1D}">
      <dgm:prSet/>
      <dgm:spPr/>
      <dgm:t>
        <a:bodyPr/>
        <a:lstStyle/>
        <a:p>
          <a:endParaRPr lang="en-US"/>
        </a:p>
      </dgm:t>
    </dgm:pt>
    <dgm:pt modelId="{C26C9A8A-E6C4-4DC4-B2BF-4EA32E7D2998}" type="sibTrans" cxnId="{90C9C358-6AE1-4435-9279-3B2F97844A1D}">
      <dgm:prSet/>
      <dgm:spPr/>
      <dgm:t>
        <a:bodyPr/>
        <a:lstStyle/>
        <a:p>
          <a:endParaRPr lang="en-US"/>
        </a:p>
      </dgm:t>
    </dgm:pt>
    <dgm:pt modelId="{6D50755F-D55D-4E51-8396-CE47D60AA794}">
      <dgm:prSet phldrT="[Text]"/>
      <dgm:spPr/>
      <dgm:t>
        <a:bodyPr/>
        <a:lstStyle/>
        <a:p>
          <a:r>
            <a:rPr lang="en-US" dirty="0">
              <a:ea typeface="Segoe UI" pitchFamily="34" charset="0"/>
              <a:cs typeface="Segoe UI" pitchFamily="34" charset="0"/>
            </a:rPr>
            <a:t>See </a:t>
          </a:r>
          <a:r>
            <a:rPr lang="en-US" dirty="0">
              <a:ea typeface="Segoe UI" pitchFamily="34" charset="0"/>
              <a:cs typeface="Segoe UI" pitchFamily="34" charset="0"/>
              <a:hlinkClick xmlns:r="http://schemas.openxmlformats.org/officeDocument/2006/relationships" r:id="rId1"/>
            </a:rPr>
            <a:t>here</a:t>
          </a:r>
          <a:r>
            <a:rPr lang="en-US" dirty="0">
              <a:ea typeface="Segoe UI" pitchFamily="34" charset="0"/>
              <a:cs typeface="Segoe UI" pitchFamily="34" charset="0"/>
            </a:rPr>
            <a:t> how to add other packages</a:t>
          </a:r>
          <a:endParaRPr lang="en-US" dirty="0"/>
        </a:p>
      </dgm:t>
    </dgm:pt>
    <dgm:pt modelId="{95FEB4F2-1BB7-4FC3-93B2-7340978908CA}" type="parTrans" cxnId="{4212C62F-047C-4037-AC99-ACD9D3CE0456}">
      <dgm:prSet/>
      <dgm:spPr/>
      <dgm:t>
        <a:bodyPr/>
        <a:lstStyle/>
        <a:p>
          <a:endParaRPr lang="en-US"/>
        </a:p>
      </dgm:t>
    </dgm:pt>
    <dgm:pt modelId="{13AD28BE-0CF6-406B-9133-E87F21222CC2}" type="sibTrans" cxnId="{4212C62F-047C-4037-AC99-ACD9D3CE0456}">
      <dgm:prSet/>
      <dgm:spPr/>
      <dgm:t>
        <a:bodyPr/>
        <a:lstStyle/>
        <a:p>
          <a:endParaRPr lang="en-US"/>
        </a:p>
      </dgm:t>
    </dgm:pt>
    <dgm:pt modelId="{49D64543-FD2B-4DD5-862A-DF6F91375FC2}" type="pres">
      <dgm:prSet presAssocID="{0FBB894C-BEE6-48F9-A43B-F7F7FCDCA47A}" presName="diagram" presStyleCnt="0">
        <dgm:presLayoutVars>
          <dgm:dir/>
          <dgm:resizeHandles val="exact"/>
        </dgm:presLayoutVars>
      </dgm:prSet>
      <dgm:spPr/>
    </dgm:pt>
    <dgm:pt modelId="{20449ED9-0CDF-463E-8624-14A510D3FFC6}" type="pres">
      <dgm:prSet presAssocID="{A5CF3E69-F202-4BDA-BE6F-B8A282295219}" presName="node" presStyleLbl="node1" presStyleIdx="0" presStyleCnt="4">
        <dgm:presLayoutVars>
          <dgm:bulletEnabled val="1"/>
        </dgm:presLayoutVars>
      </dgm:prSet>
      <dgm:spPr/>
    </dgm:pt>
    <dgm:pt modelId="{8D0F6A75-4726-4785-9069-F356A796254E}" type="pres">
      <dgm:prSet presAssocID="{C9073CF5-62D1-4BA2-B5C9-3D8B536515E5}" presName="sibTrans" presStyleCnt="0"/>
      <dgm:spPr/>
    </dgm:pt>
    <dgm:pt modelId="{942BBD2B-F852-425E-85F5-A5351702B81D}" type="pres">
      <dgm:prSet presAssocID="{FD012980-89D2-483E-908C-298D99947DFC}" presName="node" presStyleLbl="node1" presStyleIdx="1" presStyleCnt="4">
        <dgm:presLayoutVars>
          <dgm:bulletEnabled val="1"/>
        </dgm:presLayoutVars>
      </dgm:prSet>
      <dgm:spPr/>
    </dgm:pt>
    <dgm:pt modelId="{4A08C685-BA5D-47F2-BEE4-98269B6962B0}" type="pres">
      <dgm:prSet presAssocID="{07FDC1D7-05D0-4C0E-A9AC-8F57BE3BE772}" presName="sibTrans" presStyleCnt="0"/>
      <dgm:spPr/>
    </dgm:pt>
    <dgm:pt modelId="{573CCB76-FF01-4911-8502-CF4D944B35D3}" type="pres">
      <dgm:prSet presAssocID="{6D50755F-D55D-4E51-8396-CE47D60AA794}" presName="node" presStyleLbl="node1" presStyleIdx="2" presStyleCnt="4">
        <dgm:presLayoutVars>
          <dgm:bulletEnabled val="1"/>
        </dgm:presLayoutVars>
      </dgm:prSet>
      <dgm:spPr/>
    </dgm:pt>
    <dgm:pt modelId="{CC3C67C0-EC24-4AAC-BCB4-F672E6F60BBE}" type="pres">
      <dgm:prSet presAssocID="{13AD28BE-0CF6-406B-9133-E87F21222CC2}" presName="sibTrans" presStyleCnt="0"/>
      <dgm:spPr/>
    </dgm:pt>
    <dgm:pt modelId="{0486C7D6-14B3-4356-9E6B-4777A12A48E8}" type="pres">
      <dgm:prSet presAssocID="{B15FA3F4-5F74-4C47-B4C0-BA1B3AACD8CC}" presName="node" presStyleLbl="node1" presStyleIdx="3" presStyleCnt="4">
        <dgm:presLayoutVars>
          <dgm:bulletEnabled val="1"/>
        </dgm:presLayoutVars>
      </dgm:prSet>
      <dgm:spPr/>
    </dgm:pt>
  </dgm:ptLst>
  <dgm:cxnLst>
    <dgm:cxn modelId="{4212C62F-047C-4037-AC99-ACD9D3CE0456}" srcId="{0FBB894C-BEE6-48F9-A43B-F7F7FCDCA47A}" destId="{6D50755F-D55D-4E51-8396-CE47D60AA794}" srcOrd="2" destOrd="0" parTransId="{95FEB4F2-1BB7-4FC3-93B2-7340978908CA}" sibTransId="{13AD28BE-0CF6-406B-9133-E87F21222CC2}"/>
    <dgm:cxn modelId="{B97DE256-52F6-49AF-B890-C889737F202F}" type="presOf" srcId="{B15FA3F4-5F74-4C47-B4C0-BA1B3AACD8CC}" destId="{0486C7D6-14B3-4356-9E6B-4777A12A48E8}" srcOrd="0" destOrd="0" presId="urn:microsoft.com/office/officeart/2005/8/layout/default"/>
    <dgm:cxn modelId="{90C9C358-6AE1-4435-9279-3B2F97844A1D}" srcId="{0FBB894C-BEE6-48F9-A43B-F7F7FCDCA47A}" destId="{B15FA3F4-5F74-4C47-B4C0-BA1B3AACD8CC}" srcOrd="3" destOrd="0" parTransId="{73742025-89F8-4B5D-93FC-8112C8792E2F}" sibTransId="{C26C9A8A-E6C4-4DC4-B2BF-4EA32E7D2998}"/>
    <dgm:cxn modelId="{6D3C25A4-A771-46C7-A47E-DFD54E725D05}" srcId="{0FBB894C-BEE6-48F9-A43B-F7F7FCDCA47A}" destId="{A5CF3E69-F202-4BDA-BE6F-B8A282295219}" srcOrd="0" destOrd="0" parTransId="{5E4F8704-9963-4179-BFAC-06CB161DEC30}" sibTransId="{C9073CF5-62D1-4BA2-B5C9-3D8B536515E5}"/>
    <dgm:cxn modelId="{426FFABA-EFE4-4C9D-AA5D-1B9AD81DBFAA}" type="presOf" srcId="{FD012980-89D2-483E-908C-298D99947DFC}" destId="{942BBD2B-F852-425E-85F5-A5351702B81D}" srcOrd="0" destOrd="0" presId="urn:microsoft.com/office/officeart/2005/8/layout/default"/>
    <dgm:cxn modelId="{7B1E34E1-266A-44A0-97D6-F32CCCF53FC8}" type="presOf" srcId="{0FBB894C-BEE6-48F9-A43B-F7F7FCDCA47A}" destId="{49D64543-FD2B-4DD5-862A-DF6F91375FC2}" srcOrd="0" destOrd="0" presId="urn:microsoft.com/office/officeart/2005/8/layout/default"/>
    <dgm:cxn modelId="{021B96F8-2A7D-4287-997B-463A68B52C4C}" srcId="{0FBB894C-BEE6-48F9-A43B-F7F7FCDCA47A}" destId="{FD012980-89D2-483E-908C-298D99947DFC}" srcOrd="1" destOrd="0" parTransId="{CEF56745-761A-414E-85DE-26B61449D9E6}" sibTransId="{07FDC1D7-05D0-4C0E-A9AC-8F57BE3BE772}"/>
    <dgm:cxn modelId="{6E3EAEF9-57D4-42E0-A36D-8E2F31013706}" type="presOf" srcId="{6D50755F-D55D-4E51-8396-CE47D60AA794}" destId="{573CCB76-FF01-4911-8502-CF4D944B35D3}" srcOrd="0" destOrd="0" presId="urn:microsoft.com/office/officeart/2005/8/layout/default"/>
    <dgm:cxn modelId="{7DEDE5F9-CEDB-47A6-9275-123E0F97DCEA}" type="presOf" srcId="{A5CF3E69-F202-4BDA-BE6F-B8A282295219}" destId="{20449ED9-0CDF-463E-8624-14A510D3FFC6}" srcOrd="0" destOrd="0" presId="urn:microsoft.com/office/officeart/2005/8/layout/default"/>
    <dgm:cxn modelId="{D7B61C7A-0252-4CD1-A4A6-99F81DEBDDFE}" type="presParOf" srcId="{49D64543-FD2B-4DD5-862A-DF6F91375FC2}" destId="{20449ED9-0CDF-463E-8624-14A510D3FFC6}" srcOrd="0" destOrd="0" presId="urn:microsoft.com/office/officeart/2005/8/layout/default"/>
    <dgm:cxn modelId="{F6FA64CF-B45A-46B9-8208-7D724F955AC9}" type="presParOf" srcId="{49D64543-FD2B-4DD5-862A-DF6F91375FC2}" destId="{8D0F6A75-4726-4785-9069-F356A796254E}" srcOrd="1" destOrd="0" presId="urn:microsoft.com/office/officeart/2005/8/layout/default"/>
    <dgm:cxn modelId="{23017A0E-F0A6-4A29-8279-96CF071562F9}" type="presParOf" srcId="{49D64543-FD2B-4DD5-862A-DF6F91375FC2}" destId="{942BBD2B-F852-425E-85F5-A5351702B81D}" srcOrd="2" destOrd="0" presId="urn:microsoft.com/office/officeart/2005/8/layout/default"/>
    <dgm:cxn modelId="{9C4C97C6-3999-4093-A77F-4367BB1B900D}" type="presParOf" srcId="{49D64543-FD2B-4DD5-862A-DF6F91375FC2}" destId="{4A08C685-BA5D-47F2-BEE4-98269B6962B0}" srcOrd="3" destOrd="0" presId="urn:microsoft.com/office/officeart/2005/8/layout/default"/>
    <dgm:cxn modelId="{BA4486C9-42D0-4BA8-BD4C-6D5CF59986A1}" type="presParOf" srcId="{49D64543-FD2B-4DD5-862A-DF6F91375FC2}" destId="{573CCB76-FF01-4911-8502-CF4D944B35D3}" srcOrd="4" destOrd="0" presId="urn:microsoft.com/office/officeart/2005/8/layout/default"/>
    <dgm:cxn modelId="{D8F91FDD-F13F-4CFF-AABA-C6B2FC5BEC5E}" type="presParOf" srcId="{49D64543-FD2B-4DD5-862A-DF6F91375FC2}" destId="{CC3C67C0-EC24-4AAC-BCB4-F672E6F60BBE}" srcOrd="5" destOrd="0" presId="urn:microsoft.com/office/officeart/2005/8/layout/default"/>
    <dgm:cxn modelId="{3BA70209-044F-4F46-BEAA-5EFE4B7509E1}" type="presParOf" srcId="{49D64543-FD2B-4DD5-862A-DF6F91375FC2}" destId="{0486C7D6-14B3-4356-9E6B-4777A12A48E8}" srcOrd="6" destOrd="0" presId="urn:microsoft.com/office/officeart/2005/8/layout/default"/>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A5D6F280-0600-4EAC-8AAF-9F6D8866BE0B}"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DD0D439D-D88A-4DDC-8320-CD444A0D9BD9}">
      <dgm:prSet/>
      <dgm:spPr/>
      <dgm:t>
        <a:bodyPr/>
        <a:lstStyle/>
        <a:p>
          <a:r>
            <a:rPr lang="en-US" baseline="0" dirty="0"/>
            <a:t>minikube</a:t>
          </a:r>
          <a:endParaRPr lang="en-US" dirty="0"/>
        </a:p>
      </dgm:t>
    </dgm:pt>
    <dgm:pt modelId="{6F43A549-9807-4A68-A86F-C509785011E9}" type="parTrans" cxnId="{33E79C76-75CF-49BD-996C-8FFB1157ECEF}">
      <dgm:prSet/>
      <dgm:spPr/>
      <dgm:t>
        <a:bodyPr/>
        <a:lstStyle/>
        <a:p>
          <a:endParaRPr lang="en-US"/>
        </a:p>
      </dgm:t>
    </dgm:pt>
    <dgm:pt modelId="{9647A591-2BCC-4197-808E-354FE53CF56F}" type="sibTrans" cxnId="{33E79C76-75CF-49BD-996C-8FFB1157ECEF}">
      <dgm:prSet/>
      <dgm:spPr/>
      <dgm:t>
        <a:bodyPr/>
        <a:lstStyle/>
        <a:p>
          <a:endParaRPr lang="en-US"/>
        </a:p>
      </dgm:t>
    </dgm:pt>
    <dgm:pt modelId="{5AC454AC-7591-4282-9D93-86BB4204949A}">
      <dgm:prSet/>
      <dgm:spPr/>
      <dgm:t>
        <a:bodyPr/>
        <a:lstStyle/>
        <a:p>
          <a:r>
            <a:rPr lang="en-US" baseline="0" dirty="0"/>
            <a:t>Kubeadm</a:t>
          </a:r>
          <a:endParaRPr lang="en-US" dirty="0"/>
        </a:p>
      </dgm:t>
    </dgm:pt>
    <dgm:pt modelId="{2CFD7B17-C333-4186-A414-292BCD94C4B2}" type="parTrans" cxnId="{379C7026-697A-4ED5-8D2D-F16D94FD3740}">
      <dgm:prSet/>
      <dgm:spPr/>
      <dgm:t>
        <a:bodyPr/>
        <a:lstStyle/>
        <a:p>
          <a:endParaRPr lang="en-US"/>
        </a:p>
      </dgm:t>
    </dgm:pt>
    <dgm:pt modelId="{3D281065-0A4F-4023-85A0-05249FD48DC7}" type="sibTrans" cxnId="{379C7026-697A-4ED5-8D2D-F16D94FD3740}">
      <dgm:prSet/>
      <dgm:spPr/>
      <dgm:t>
        <a:bodyPr/>
        <a:lstStyle/>
        <a:p>
          <a:endParaRPr lang="en-US"/>
        </a:p>
      </dgm:t>
    </dgm:pt>
    <dgm:pt modelId="{19A48540-125E-4802-9494-EB56670134FD}">
      <dgm:prSet/>
      <dgm:spPr/>
      <dgm:t>
        <a:bodyPr/>
        <a:lstStyle/>
        <a:p>
          <a:r>
            <a:rPr lang="en-US" baseline="0" dirty="0"/>
            <a:t>RedHat OpenShift</a:t>
          </a:r>
          <a:endParaRPr lang="en-US" dirty="0"/>
        </a:p>
      </dgm:t>
    </dgm:pt>
    <dgm:pt modelId="{FFFEEE55-4337-46C3-981E-E6CDFBBC3051}" type="parTrans" cxnId="{8D468D78-9C47-4412-9273-307F1BFE3BBE}">
      <dgm:prSet/>
      <dgm:spPr/>
      <dgm:t>
        <a:bodyPr/>
        <a:lstStyle/>
        <a:p>
          <a:endParaRPr lang="en-US"/>
        </a:p>
      </dgm:t>
    </dgm:pt>
    <dgm:pt modelId="{E7A06994-2EA6-48DA-A3EA-58FB8184452C}" type="sibTrans" cxnId="{8D468D78-9C47-4412-9273-307F1BFE3BBE}">
      <dgm:prSet/>
      <dgm:spPr/>
      <dgm:t>
        <a:bodyPr/>
        <a:lstStyle/>
        <a:p>
          <a:endParaRPr lang="en-US"/>
        </a:p>
      </dgm:t>
    </dgm:pt>
    <dgm:pt modelId="{DAF2D275-9708-41A8-BA74-F6159A6D6CF9}">
      <dgm:prSet/>
      <dgm:spPr/>
      <dgm:t>
        <a:bodyPr/>
        <a:lstStyle/>
        <a:p>
          <a:r>
            <a:rPr lang="en-US" baseline="0" dirty="0"/>
            <a:t>Azure Kubernetes Service (AKS)</a:t>
          </a:r>
        </a:p>
      </dgm:t>
    </dgm:pt>
    <dgm:pt modelId="{3630FF73-D1D2-4C04-AEB2-9A6512ADFB5B}" type="parTrans" cxnId="{F25DF49D-C1C0-4D8D-9824-DEFE0F9C9707}">
      <dgm:prSet/>
      <dgm:spPr/>
      <dgm:t>
        <a:bodyPr/>
        <a:lstStyle/>
        <a:p>
          <a:endParaRPr lang="en-US"/>
        </a:p>
      </dgm:t>
    </dgm:pt>
    <dgm:pt modelId="{567AC784-8215-4A28-BC65-44F723BCAFCE}" type="sibTrans" cxnId="{F25DF49D-C1C0-4D8D-9824-DEFE0F9C9707}">
      <dgm:prSet/>
      <dgm:spPr/>
      <dgm:t>
        <a:bodyPr/>
        <a:lstStyle/>
        <a:p>
          <a:endParaRPr lang="en-US"/>
        </a:p>
      </dgm:t>
    </dgm:pt>
    <dgm:pt modelId="{77588DEA-6EB0-4C8E-A232-6D0F8E2F85F1}">
      <dgm:prSet/>
      <dgm:spPr/>
      <dgm:t>
        <a:bodyPr/>
        <a:lstStyle/>
        <a:p>
          <a:r>
            <a:rPr lang="en-US" baseline="0" dirty="0"/>
            <a:t>OpenShift on Azure (OSA)</a:t>
          </a:r>
          <a:endParaRPr lang="en-US" dirty="0"/>
        </a:p>
      </dgm:t>
    </dgm:pt>
    <dgm:pt modelId="{FA42B41A-6F9E-4496-88F4-16A5423E72D2}" type="parTrans" cxnId="{E36A2C73-B8EC-4ED7-BAF1-3018F73FD3F3}">
      <dgm:prSet/>
      <dgm:spPr/>
      <dgm:t>
        <a:bodyPr/>
        <a:lstStyle/>
        <a:p>
          <a:endParaRPr lang="en-US"/>
        </a:p>
      </dgm:t>
    </dgm:pt>
    <dgm:pt modelId="{F319D6EF-7874-41FE-8CA9-F2F4F6AE7DE8}" type="sibTrans" cxnId="{E36A2C73-B8EC-4ED7-BAF1-3018F73FD3F3}">
      <dgm:prSet/>
      <dgm:spPr/>
      <dgm:t>
        <a:bodyPr/>
        <a:lstStyle/>
        <a:p>
          <a:endParaRPr lang="en-US"/>
        </a:p>
      </dgm:t>
    </dgm:pt>
    <dgm:pt modelId="{9029E277-2B7F-4A80-BCBE-75EC527A564F}">
      <dgm:prSet/>
      <dgm:spPr/>
      <dgm:t>
        <a:bodyPr/>
        <a:lstStyle/>
        <a:p>
          <a:r>
            <a:rPr lang="en-US" dirty="0"/>
            <a:t>Single node on your laptop</a:t>
          </a:r>
        </a:p>
      </dgm:t>
    </dgm:pt>
    <dgm:pt modelId="{D56C5FC3-14A9-4065-91F2-998352BBFEBE}" type="parTrans" cxnId="{95D0B3E6-7953-4C09-9689-805C18041951}">
      <dgm:prSet/>
      <dgm:spPr/>
      <dgm:t>
        <a:bodyPr/>
        <a:lstStyle/>
        <a:p>
          <a:endParaRPr lang="en-US"/>
        </a:p>
      </dgm:t>
    </dgm:pt>
    <dgm:pt modelId="{19FEC824-A905-4107-B420-C5335DE0D4FC}" type="sibTrans" cxnId="{95D0B3E6-7953-4C09-9689-805C18041951}">
      <dgm:prSet/>
      <dgm:spPr/>
      <dgm:t>
        <a:bodyPr/>
        <a:lstStyle/>
        <a:p>
          <a:endParaRPr lang="en-US"/>
        </a:p>
      </dgm:t>
    </dgm:pt>
    <dgm:pt modelId="{6EE676B2-B8CB-4654-B3C6-F931E78782A7}">
      <dgm:prSet/>
      <dgm:spPr/>
      <dgm:t>
        <a:bodyPr/>
        <a:lstStyle/>
        <a:p>
          <a:r>
            <a:rPr lang="en-US" dirty="0"/>
            <a:t>Install your own cluster</a:t>
          </a:r>
        </a:p>
      </dgm:t>
    </dgm:pt>
    <dgm:pt modelId="{7127594F-ABCF-4EDE-9FEA-0D87A3F7FE9D}" type="parTrans" cxnId="{A9E77584-F707-438C-B0EA-C65F7828B00E}">
      <dgm:prSet/>
      <dgm:spPr/>
      <dgm:t>
        <a:bodyPr/>
        <a:lstStyle/>
        <a:p>
          <a:endParaRPr lang="en-US"/>
        </a:p>
      </dgm:t>
    </dgm:pt>
    <dgm:pt modelId="{B6E0CA97-293A-4A1C-B608-2C11855E39F1}" type="sibTrans" cxnId="{A9E77584-F707-438C-B0EA-C65F7828B00E}">
      <dgm:prSet/>
      <dgm:spPr/>
      <dgm:t>
        <a:bodyPr/>
        <a:lstStyle/>
        <a:p>
          <a:endParaRPr lang="en-US"/>
        </a:p>
      </dgm:t>
    </dgm:pt>
    <dgm:pt modelId="{DACDA6C1-1BE5-4F08-B5CD-59D5074FC02D}">
      <dgm:prSet/>
      <dgm:spPr/>
      <dgm:t>
        <a:bodyPr/>
        <a:lstStyle/>
        <a:p>
          <a:r>
            <a:rPr lang="en-US" dirty="0"/>
            <a:t>K8s platform private or public cloud</a:t>
          </a:r>
        </a:p>
      </dgm:t>
    </dgm:pt>
    <dgm:pt modelId="{5835BA8E-4EF7-4C03-8981-1D487767DCBF}" type="parTrans" cxnId="{062FBC0B-8890-4891-ACE3-1F9366086386}">
      <dgm:prSet/>
      <dgm:spPr/>
      <dgm:t>
        <a:bodyPr/>
        <a:lstStyle/>
        <a:p>
          <a:endParaRPr lang="en-US"/>
        </a:p>
      </dgm:t>
    </dgm:pt>
    <dgm:pt modelId="{681F8D11-9B4D-42F5-9BBB-6E8A6B179924}" type="sibTrans" cxnId="{062FBC0B-8890-4891-ACE3-1F9366086386}">
      <dgm:prSet/>
      <dgm:spPr/>
      <dgm:t>
        <a:bodyPr/>
        <a:lstStyle/>
        <a:p>
          <a:endParaRPr lang="en-US"/>
        </a:p>
      </dgm:t>
    </dgm:pt>
    <dgm:pt modelId="{5AE44DF7-A27C-40A8-B522-2D659A734B25}">
      <dgm:prSet/>
      <dgm:spPr/>
      <dgm:t>
        <a:bodyPr/>
        <a:lstStyle/>
        <a:p>
          <a:r>
            <a:rPr lang="en-US" baseline="0" dirty="0"/>
            <a:t>Azure hosted k8s</a:t>
          </a:r>
        </a:p>
      </dgm:t>
    </dgm:pt>
    <dgm:pt modelId="{9443D53D-C012-4AE7-9CD9-E9A245800686}" type="parTrans" cxnId="{15BD2310-9AD0-4BD4-A1E0-C2DA7F7C9574}">
      <dgm:prSet/>
      <dgm:spPr/>
      <dgm:t>
        <a:bodyPr/>
        <a:lstStyle/>
        <a:p>
          <a:endParaRPr lang="en-US"/>
        </a:p>
      </dgm:t>
    </dgm:pt>
    <dgm:pt modelId="{B0B88EE4-1E33-4233-82BE-1F891FF2521D}" type="sibTrans" cxnId="{15BD2310-9AD0-4BD4-A1E0-C2DA7F7C9574}">
      <dgm:prSet/>
      <dgm:spPr/>
      <dgm:t>
        <a:bodyPr/>
        <a:lstStyle/>
        <a:p>
          <a:endParaRPr lang="en-US"/>
        </a:p>
      </dgm:t>
    </dgm:pt>
    <dgm:pt modelId="{4B89C82B-E391-4B9D-8FDE-3C415B09D8A6}">
      <dgm:prSet/>
      <dgm:spPr/>
      <dgm:t>
        <a:bodyPr/>
        <a:lstStyle/>
        <a:p>
          <a:r>
            <a:rPr lang="en-US" dirty="0"/>
            <a:t>Managed OpenShift on Azure</a:t>
          </a:r>
        </a:p>
      </dgm:t>
    </dgm:pt>
    <dgm:pt modelId="{9031FD3C-1C27-4245-AA0E-ADF9F6AF6FCE}" type="parTrans" cxnId="{ED8567D7-21A5-4793-A43D-5DFBE91AC090}">
      <dgm:prSet/>
      <dgm:spPr/>
      <dgm:t>
        <a:bodyPr/>
        <a:lstStyle/>
        <a:p>
          <a:endParaRPr lang="en-US"/>
        </a:p>
      </dgm:t>
    </dgm:pt>
    <dgm:pt modelId="{1082CC82-436C-410A-A6D3-E8CB452B5227}" type="sibTrans" cxnId="{ED8567D7-21A5-4793-A43D-5DFBE91AC090}">
      <dgm:prSet/>
      <dgm:spPr/>
      <dgm:t>
        <a:bodyPr/>
        <a:lstStyle/>
        <a:p>
          <a:endParaRPr lang="en-US"/>
        </a:p>
      </dgm:t>
    </dgm:pt>
    <dgm:pt modelId="{77D90FC2-640E-4D80-8E69-2F1BCC5F3530}">
      <dgm:prSet/>
      <dgm:spPr/>
      <dgm:t>
        <a:bodyPr/>
        <a:lstStyle/>
        <a:p>
          <a:r>
            <a:rPr lang="en-US" dirty="0"/>
            <a:t>Other</a:t>
          </a:r>
        </a:p>
      </dgm:t>
    </dgm:pt>
    <dgm:pt modelId="{E7F15988-BCD1-4C4D-80E1-3E3DC0016276}" type="parTrans" cxnId="{B98A32D5-1451-4E5F-812E-F067A6606DB1}">
      <dgm:prSet/>
      <dgm:spPr/>
      <dgm:t>
        <a:bodyPr/>
        <a:lstStyle/>
        <a:p>
          <a:endParaRPr lang="en-US"/>
        </a:p>
      </dgm:t>
    </dgm:pt>
    <dgm:pt modelId="{8B329470-5924-4E28-9F56-8D59465AAC2A}" type="sibTrans" cxnId="{B98A32D5-1451-4E5F-812E-F067A6606DB1}">
      <dgm:prSet/>
      <dgm:spPr/>
      <dgm:t>
        <a:bodyPr/>
        <a:lstStyle/>
        <a:p>
          <a:endParaRPr lang="en-US"/>
        </a:p>
      </dgm:t>
    </dgm:pt>
    <dgm:pt modelId="{CBBC5B49-0821-4798-A4D2-74773775E98F}">
      <dgm:prSet/>
      <dgm:spPr/>
      <dgm:t>
        <a:bodyPr/>
        <a:lstStyle/>
        <a:p>
          <a:r>
            <a:rPr lang="en-US" dirty="0"/>
            <a:t>Azure Stack</a:t>
          </a:r>
        </a:p>
      </dgm:t>
    </dgm:pt>
    <dgm:pt modelId="{CD1C1BA9-0CFD-40CA-9DFC-2010D0B8D969}" type="parTrans" cxnId="{0D9B6568-4D99-4566-9E37-137B54831269}">
      <dgm:prSet/>
      <dgm:spPr/>
      <dgm:t>
        <a:bodyPr/>
        <a:lstStyle/>
        <a:p>
          <a:endParaRPr lang="en-US"/>
        </a:p>
      </dgm:t>
    </dgm:pt>
    <dgm:pt modelId="{4E4F676D-25AE-4B18-9569-577952FDEDA7}" type="sibTrans" cxnId="{0D9B6568-4D99-4566-9E37-137B54831269}">
      <dgm:prSet/>
      <dgm:spPr/>
      <dgm:t>
        <a:bodyPr/>
        <a:lstStyle/>
        <a:p>
          <a:endParaRPr lang="en-US"/>
        </a:p>
      </dgm:t>
    </dgm:pt>
    <dgm:pt modelId="{07573054-3617-4EEB-BB0C-FB3AAAE42066}">
      <dgm:prSet/>
      <dgm:spPr/>
      <dgm:t>
        <a:bodyPr/>
        <a:lstStyle/>
        <a:p>
          <a:r>
            <a:rPr lang="en-US" dirty="0"/>
            <a:t>Windows Server</a:t>
          </a:r>
        </a:p>
      </dgm:t>
    </dgm:pt>
    <dgm:pt modelId="{7FB66B8C-99F2-4EBA-91A3-6FB62531A5D0}" type="parTrans" cxnId="{A23D5139-0288-49A4-BE99-3BFBD7AA0D2F}">
      <dgm:prSet/>
      <dgm:spPr/>
      <dgm:t>
        <a:bodyPr/>
        <a:lstStyle/>
        <a:p>
          <a:endParaRPr lang="en-US"/>
        </a:p>
      </dgm:t>
    </dgm:pt>
    <dgm:pt modelId="{FAEE5BBF-4D89-47A8-9FFD-B538D3AEF1E5}" type="sibTrans" cxnId="{A23D5139-0288-49A4-BE99-3BFBD7AA0D2F}">
      <dgm:prSet/>
      <dgm:spPr/>
      <dgm:t>
        <a:bodyPr/>
        <a:lstStyle/>
        <a:p>
          <a:endParaRPr lang="en-US"/>
        </a:p>
      </dgm:t>
    </dgm:pt>
    <dgm:pt modelId="{70369E63-9EDA-4F05-B614-C5325659A0AE}" type="pres">
      <dgm:prSet presAssocID="{A5D6F280-0600-4EAC-8AAF-9F6D8866BE0B}" presName="diagram" presStyleCnt="0">
        <dgm:presLayoutVars>
          <dgm:dir/>
          <dgm:resizeHandles val="exact"/>
        </dgm:presLayoutVars>
      </dgm:prSet>
      <dgm:spPr/>
    </dgm:pt>
    <dgm:pt modelId="{D65FF878-1A60-4E47-9A24-794CDD479790}" type="pres">
      <dgm:prSet presAssocID="{DD0D439D-D88A-4DDC-8320-CD444A0D9BD9}" presName="node" presStyleLbl="node1" presStyleIdx="0" presStyleCnt="6">
        <dgm:presLayoutVars>
          <dgm:bulletEnabled val="1"/>
        </dgm:presLayoutVars>
      </dgm:prSet>
      <dgm:spPr/>
    </dgm:pt>
    <dgm:pt modelId="{BB29C696-83A2-419B-BF04-57F1507FB3D2}" type="pres">
      <dgm:prSet presAssocID="{9647A591-2BCC-4197-808E-354FE53CF56F}" presName="sibTrans" presStyleCnt="0"/>
      <dgm:spPr/>
    </dgm:pt>
    <dgm:pt modelId="{AB435B41-97BA-440A-A705-44B22CDB9B08}" type="pres">
      <dgm:prSet presAssocID="{5AC454AC-7591-4282-9D93-86BB4204949A}" presName="node" presStyleLbl="node1" presStyleIdx="1" presStyleCnt="6">
        <dgm:presLayoutVars>
          <dgm:bulletEnabled val="1"/>
        </dgm:presLayoutVars>
      </dgm:prSet>
      <dgm:spPr/>
    </dgm:pt>
    <dgm:pt modelId="{AF46970D-99E1-4186-8C8D-B1C7463F51E5}" type="pres">
      <dgm:prSet presAssocID="{3D281065-0A4F-4023-85A0-05249FD48DC7}" presName="sibTrans" presStyleCnt="0"/>
      <dgm:spPr/>
    </dgm:pt>
    <dgm:pt modelId="{6FED4224-6491-4827-B3FF-D06680D6EA87}" type="pres">
      <dgm:prSet presAssocID="{19A48540-125E-4802-9494-EB56670134FD}" presName="node" presStyleLbl="node1" presStyleIdx="2" presStyleCnt="6">
        <dgm:presLayoutVars>
          <dgm:bulletEnabled val="1"/>
        </dgm:presLayoutVars>
      </dgm:prSet>
      <dgm:spPr/>
    </dgm:pt>
    <dgm:pt modelId="{55394A8B-454F-4623-BA0B-D03C6C935D65}" type="pres">
      <dgm:prSet presAssocID="{E7A06994-2EA6-48DA-A3EA-58FB8184452C}" presName="sibTrans" presStyleCnt="0"/>
      <dgm:spPr/>
    </dgm:pt>
    <dgm:pt modelId="{248090D7-1E72-4460-B238-DAE11EAFAB92}" type="pres">
      <dgm:prSet presAssocID="{DAF2D275-9708-41A8-BA74-F6159A6D6CF9}" presName="node" presStyleLbl="node1" presStyleIdx="3" presStyleCnt="6">
        <dgm:presLayoutVars>
          <dgm:bulletEnabled val="1"/>
        </dgm:presLayoutVars>
      </dgm:prSet>
      <dgm:spPr/>
    </dgm:pt>
    <dgm:pt modelId="{DBFABF32-4E57-41E7-B07A-534213974CB8}" type="pres">
      <dgm:prSet presAssocID="{567AC784-8215-4A28-BC65-44F723BCAFCE}" presName="sibTrans" presStyleCnt="0"/>
      <dgm:spPr/>
    </dgm:pt>
    <dgm:pt modelId="{DA7E4824-0F14-46CE-8B64-4544C89C3240}" type="pres">
      <dgm:prSet presAssocID="{77588DEA-6EB0-4C8E-A232-6D0F8E2F85F1}" presName="node" presStyleLbl="node1" presStyleIdx="4" presStyleCnt="6">
        <dgm:presLayoutVars>
          <dgm:bulletEnabled val="1"/>
        </dgm:presLayoutVars>
      </dgm:prSet>
      <dgm:spPr/>
    </dgm:pt>
    <dgm:pt modelId="{6204D4A9-3748-4DA2-8C00-9AC1D3E7E2F1}" type="pres">
      <dgm:prSet presAssocID="{F319D6EF-7874-41FE-8CA9-F2F4F6AE7DE8}" presName="sibTrans" presStyleCnt="0"/>
      <dgm:spPr/>
    </dgm:pt>
    <dgm:pt modelId="{6F34995B-366C-4C54-998F-F53E0C766676}" type="pres">
      <dgm:prSet presAssocID="{77D90FC2-640E-4D80-8E69-2F1BCC5F3530}" presName="node" presStyleLbl="node1" presStyleIdx="5" presStyleCnt="6">
        <dgm:presLayoutVars>
          <dgm:bulletEnabled val="1"/>
        </dgm:presLayoutVars>
      </dgm:prSet>
      <dgm:spPr/>
    </dgm:pt>
  </dgm:ptLst>
  <dgm:cxnLst>
    <dgm:cxn modelId="{315FE300-C1DB-4C10-B83F-F9718EAF2DA3}" type="presOf" srcId="{07573054-3617-4EEB-BB0C-FB3AAAE42066}" destId="{6F34995B-366C-4C54-998F-F53E0C766676}" srcOrd="0" destOrd="2" presId="urn:microsoft.com/office/officeart/2005/8/layout/default"/>
    <dgm:cxn modelId="{062FBC0B-8890-4891-ACE3-1F9366086386}" srcId="{19A48540-125E-4802-9494-EB56670134FD}" destId="{DACDA6C1-1BE5-4F08-B5CD-59D5074FC02D}" srcOrd="0" destOrd="0" parTransId="{5835BA8E-4EF7-4C03-8981-1D487767DCBF}" sibTransId="{681F8D11-9B4D-42F5-9BBB-6E8A6B179924}"/>
    <dgm:cxn modelId="{15BD2310-9AD0-4BD4-A1E0-C2DA7F7C9574}" srcId="{DAF2D275-9708-41A8-BA74-F6159A6D6CF9}" destId="{5AE44DF7-A27C-40A8-B522-2D659A734B25}" srcOrd="0" destOrd="0" parTransId="{9443D53D-C012-4AE7-9CD9-E9A245800686}" sibTransId="{B0B88EE4-1E33-4233-82BE-1F891FF2521D}"/>
    <dgm:cxn modelId="{379C7026-697A-4ED5-8D2D-F16D94FD3740}" srcId="{A5D6F280-0600-4EAC-8AAF-9F6D8866BE0B}" destId="{5AC454AC-7591-4282-9D93-86BB4204949A}" srcOrd="1" destOrd="0" parTransId="{2CFD7B17-C333-4186-A414-292BCD94C4B2}" sibTransId="{3D281065-0A4F-4023-85A0-05249FD48DC7}"/>
    <dgm:cxn modelId="{A0EDA92A-65FC-40D1-B204-077670F8EC9C}" type="presOf" srcId="{9029E277-2B7F-4A80-BCBE-75EC527A564F}" destId="{D65FF878-1A60-4E47-9A24-794CDD479790}" srcOrd="0" destOrd="1" presId="urn:microsoft.com/office/officeart/2005/8/layout/default"/>
    <dgm:cxn modelId="{A23D5139-0288-49A4-BE99-3BFBD7AA0D2F}" srcId="{77D90FC2-640E-4D80-8E69-2F1BCC5F3530}" destId="{07573054-3617-4EEB-BB0C-FB3AAAE42066}" srcOrd="1" destOrd="0" parTransId="{7FB66B8C-99F2-4EBA-91A3-6FB62531A5D0}" sibTransId="{FAEE5BBF-4D89-47A8-9FFD-B538D3AEF1E5}"/>
    <dgm:cxn modelId="{F5DF325B-32A0-49AA-A1BE-3AEC15AEEAE2}" type="presOf" srcId="{DACDA6C1-1BE5-4F08-B5CD-59D5074FC02D}" destId="{6FED4224-6491-4827-B3FF-D06680D6EA87}" srcOrd="0" destOrd="1" presId="urn:microsoft.com/office/officeart/2005/8/layout/default"/>
    <dgm:cxn modelId="{CD5B2062-7CED-430A-9A0B-E2D85DB7DA42}" type="presOf" srcId="{77D90FC2-640E-4D80-8E69-2F1BCC5F3530}" destId="{6F34995B-366C-4C54-998F-F53E0C766676}" srcOrd="0" destOrd="0" presId="urn:microsoft.com/office/officeart/2005/8/layout/default"/>
    <dgm:cxn modelId="{55467665-5A77-4E57-9A04-B597F1A68061}" type="presOf" srcId="{CBBC5B49-0821-4798-A4D2-74773775E98F}" destId="{6F34995B-366C-4C54-998F-F53E0C766676}" srcOrd="0" destOrd="1" presId="urn:microsoft.com/office/officeart/2005/8/layout/default"/>
    <dgm:cxn modelId="{59E5EE65-8C3B-41BE-8670-6F8B4B112EA9}" type="presOf" srcId="{77588DEA-6EB0-4C8E-A232-6D0F8E2F85F1}" destId="{DA7E4824-0F14-46CE-8B64-4544C89C3240}" srcOrd="0" destOrd="0" presId="urn:microsoft.com/office/officeart/2005/8/layout/default"/>
    <dgm:cxn modelId="{0D9B6568-4D99-4566-9E37-137B54831269}" srcId="{77D90FC2-640E-4D80-8E69-2F1BCC5F3530}" destId="{CBBC5B49-0821-4798-A4D2-74773775E98F}" srcOrd="0" destOrd="0" parTransId="{CD1C1BA9-0CFD-40CA-9DFC-2010D0B8D969}" sibTransId="{4E4F676D-25AE-4B18-9569-577952FDEDA7}"/>
    <dgm:cxn modelId="{8A72BC49-20B2-4656-9841-12806994BCA4}" type="presOf" srcId="{6EE676B2-B8CB-4654-B3C6-F931E78782A7}" destId="{AB435B41-97BA-440A-A705-44B22CDB9B08}" srcOrd="0" destOrd="1" presId="urn:microsoft.com/office/officeart/2005/8/layout/default"/>
    <dgm:cxn modelId="{AEA5944B-B7FE-40FD-9084-E90AD489AF08}" type="presOf" srcId="{A5D6F280-0600-4EAC-8AAF-9F6D8866BE0B}" destId="{70369E63-9EDA-4F05-B614-C5325659A0AE}" srcOrd="0" destOrd="0" presId="urn:microsoft.com/office/officeart/2005/8/layout/default"/>
    <dgm:cxn modelId="{CEB04B70-9D67-47DD-8119-4B2E17CCC21B}" type="presOf" srcId="{5AE44DF7-A27C-40A8-B522-2D659A734B25}" destId="{248090D7-1E72-4460-B238-DAE11EAFAB92}" srcOrd="0" destOrd="1" presId="urn:microsoft.com/office/officeart/2005/8/layout/default"/>
    <dgm:cxn modelId="{E36A2C73-B8EC-4ED7-BAF1-3018F73FD3F3}" srcId="{A5D6F280-0600-4EAC-8AAF-9F6D8866BE0B}" destId="{77588DEA-6EB0-4C8E-A232-6D0F8E2F85F1}" srcOrd="4" destOrd="0" parTransId="{FA42B41A-6F9E-4496-88F4-16A5423E72D2}" sibTransId="{F319D6EF-7874-41FE-8CA9-F2F4F6AE7DE8}"/>
    <dgm:cxn modelId="{33E79C76-75CF-49BD-996C-8FFB1157ECEF}" srcId="{A5D6F280-0600-4EAC-8AAF-9F6D8866BE0B}" destId="{DD0D439D-D88A-4DDC-8320-CD444A0D9BD9}" srcOrd="0" destOrd="0" parTransId="{6F43A549-9807-4A68-A86F-C509785011E9}" sibTransId="{9647A591-2BCC-4197-808E-354FE53CF56F}"/>
    <dgm:cxn modelId="{8D468D78-9C47-4412-9273-307F1BFE3BBE}" srcId="{A5D6F280-0600-4EAC-8AAF-9F6D8866BE0B}" destId="{19A48540-125E-4802-9494-EB56670134FD}" srcOrd="2" destOrd="0" parTransId="{FFFEEE55-4337-46C3-981E-E6CDFBBC3051}" sibTransId="{E7A06994-2EA6-48DA-A3EA-58FB8184452C}"/>
    <dgm:cxn modelId="{A9E77584-F707-438C-B0EA-C65F7828B00E}" srcId="{5AC454AC-7591-4282-9D93-86BB4204949A}" destId="{6EE676B2-B8CB-4654-B3C6-F931E78782A7}" srcOrd="0" destOrd="0" parTransId="{7127594F-ABCF-4EDE-9FEA-0D87A3F7FE9D}" sibTransId="{B6E0CA97-293A-4A1C-B608-2C11855E39F1}"/>
    <dgm:cxn modelId="{F25DF49D-C1C0-4D8D-9824-DEFE0F9C9707}" srcId="{A5D6F280-0600-4EAC-8AAF-9F6D8866BE0B}" destId="{DAF2D275-9708-41A8-BA74-F6159A6D6CF9}" srcOrd="3" destOrd="0" parTransId="{3630FF73-D1D2-4C04-AEB2-9A6512ADFB5B}" sibTransId="{567AC784-8215-4A28-BC65-44F723BCAFCE}"/>
    <dgm:cxn modelId="{574F439F-3E63-43E0-BBDE-1EA281406A62}" type="presOf" srcId="{5AC454AC-7591-4282-9D93-86BB4204949A}" destId="{AB435B41-97BA-440A-A705-44B22CDB9B08}" srcOrd="0" destOrd="0" presId="urn:microsoft.com/office/officeart/2005/8/layout/default"/>
    <dgm:cxn modelId="{1CFFC1D0-CA7A-4A2B-AEC9-93EA0D437586}" type="presOf" srcId="{DD0D439D-D88A-4DDC-8320-CD444A0D9BD9}" destId="{D65FF878-1A60-4E47-9A24-794CDD479790}" srcOrd="0" destOrd="0" presId="urn:microsoft.com/office/officeart/2005/8/layout/default"/>
    <dgm:cxn modelId="{B98A32D5-1451-4E5F-812E-F067A6606DB1}" srcId="{A5D6F280-0600-4EAC-8AAF-9F6D8866BE0B}" destId="{77D90FC2-640E-4D80-8E69-2F1BCC5F3530}" srcOrd="5" destOrd="0" parTransId="{E7F15988-BCD1-4C4D-80E1-3E3DC0016276}" sibTransId="{8B329470-5924-4E28-9F56-8D59465AAC2A}"/>
    <dgm:cxn modelId="{ED8567D7-21A5-4793-A43D-5DFBE91AC090}" srcId="{77588DEA-6EB0-4C8E-A232-6D0F8E2F85F1}" destId="{4B89C82B-E391-4B9D-8FDE-3C415B09D8A6}" srcOrd="0" destOrd="0" parTransId="{9031FD3C-1C27-4245-AA0E-ADF9F6AF6FCE}" sibTransId="{1082CC82-436C-410A-A6D3-E8CB452B5227}"/>
    <dgm:cxn modelId="{44014FE5-5C23-4567-99E4-933D4EB46819}" type="presOf" srcId="{DAF2D275-9708-41A8-BA74-F6159A6D6CF9}" destId="{248090D7-1E72-4460-B238-DAE11EAFAB92}" srcOrd="0" destOrd="0" presId="urn:microsoft.com/office/officeart/2005/8/layout/default"/>
    <dgm:cxn modelId="{95D0B3E6-7953-4C09-9689-805C18041951}" srcId="{DD0D439D-D88A-4DDC-8320-CD444A0D9BD9}" destId="{9029E277-2B7F-4A80-BCBE-75EC527A564F}" srcOrd="0" destOrd="0" parTransId="{D56C5FC3-14A9-4065-91F2-998352BBFEBE}" sibTransId="{19FEC824-A905-4107-B420-C5335DE0D4FC}"/>
    <dgm:cxn modelId="{1EC80DEC-2468-4184-ABCC-39BB19EB5AC6}" type="presOf" srcId="{19A48540-125E-4802-9494-EB56670134FD}" destId="{6FED4224-6491-4827-B3FF-D06680D6EA87}" srcOrd="0" destOrd="0" presId="urn:microsoft.com/office/officeart/2005/8/layout/default"/>
    <dgm:cxn modelId="{C0B956F8-8DB1-4D31-9A95-89CCD84F7A34}" type="presOf" srcId="{4B89C82B-E391-4B9D-8FDE-3C415B09D8A6}" destId="{DA7E4824-0F14-46CE-8B64-4544C89C3240}" srcOrd="0" destOrd="1" presId="urn:microsoft.com/office/officeart/2005/8/layout/default"/>
    <dgm:cxn modelId="{DF94F352-1034-45F1-9746-94513EC4D00A}" type="presParOf" srcId="{70369E63-9EDA-4F05-B614-C5325659A0AE}" destId="{D65FF878-1A60-4E47-9A24-794CDD479790}" srcOrd="0" destOrd="0" presId="urn:microsoft.com/office/officeart/2005/8/layout/default"/>
    <dgm:cxn modelId="{C077F146-D8D6-4A49-8B87-E7A4EF141BE9}" type="presParOf" srcId="{70369E63-9EDA-4F05-B614-C5325659A0AE}" destId="{BB29C696-83A2-419B-BF04-57F1507FB3D2}" srcOrd="1" destOrd="0" presId="urn:microsoft.com/office/officeart/2005/8/layout/default"/>
    <dgm:cxn modelId="{680EBE79-A9B4-4FB6-B7F6-038096C3609F}" type="presParOf" srcId="{70369E63-9EDA-4F05-B614-C5325659A0AE}" destId="{AB435B41-97BA-440A-A705-44B22CDB9B08}" srcOrd="2" destOrd="0" presId="urn:microsoft.com/office/officeart/2005/8/layout/default"/>
    <dgm:cxn modelId="{93417181-6159-4C2E-B26F-5950E834E668}" type="presParOf" srcId="{70369E63-9EDA-4F05-B614-C5325659A0AE}" destId="{AF46970D-99E1-4186-8C8D-B1C7463F51E5}" srcOrd="3" destOrd="0" presId="urn:microsoft.com/office/officeart/2005/8/layout/default"/>
    <dgm:cxn modelId="{08B531F7-EEF0-41F1-9F8D-E3D20D30EAF1}" type="presParOf" srcId="{70369E63-9EDA-4F05-B614-C5325659A0AE}" destId="{6FED4224-6491-4827-B3FF-D06680D6EA87}" srcOrd="4" destOrd="0" presId="urn:microsoft.com/office/officeart/2005/8/layout/default"/>
    <dgm:cxn modelId="{AD63ECC9-B9D3-4628-B250-3A9D87871BC1}" type="presParOf" srcId="{70369E63-9EDA-4F05-B614-C5325659A0AE}" destId="{55394A8B-454F-4623-BA0B-D03C6C935D65}" srcOrd="5" destOrd="0" presId="urn:microsoft.com/office/officeart/2005/8/layout/default"/>
    <dgm:cxn modelId="{B4E513AE-C830-4BF6-A45C-690F54285FFA}" type="presParOf" srcId="{70369E63-9EDA-4F05-B614-C5325659A0AE}" destId="{248090D7-1E72-4460-B238-DAE11EAFAB92}" srcOrd="6" destOrd="0" presId="urn:microsoft.com/office/officeart/2005/8/layout/default"/>
    <dgm:cxn modelId="{305995EB-D429-44E4-A013-F8F3845F7D68}" type="presParOf" srcId="{70369E63-9EDA-4F05-B614-C5325659A0AE}" destId="{DBFABF32-4E57-41E7-B07A-534213974CB8}" srcOrd="7" destOrd="0" presId="urn:microsoft.com/office/officeart/2005/8/layout/default"/>
    <dgm:cxn modelId="{C65B57AA-F114-4D18-B138-D97F88BDCD45}" type="presParOf" srcId="{70369E63-9EDA-4F05-B614-C5325659A0AE}" destId="{DA7E4824-0F14-46CE-8B64-4544C89C3240}" srcOrd="8" destOrd="0" presId="urn:microsoft.com/office/officeart/2005/8/layout/default"/>
    <dgm:cxn modelId="{6861819E-8D98-49C9-9C34-F54F5D323836}" type="presParOf" srcId="{70369E63-9EDA-4F05-B614-C5325659A0AE}" destId="{6204D4A9-3748-4DA2-8C00-9AC1D3E7E2F1}" srcOrd="9" destOrd="0" presId="urn:microsoft.com/office/officeart/2005/8/layout/default"/>
    <dgm:cxn modelId="{F1BEB53A-F8F0-4D3D-A475-43CF8B64A25F}" type="presParOf" srcId="{70369E63-9EDA-4F05-B614-C5325659A0AE}" destId="{6F34995B-366C-4C54-998F-F53E0C766676}" srcOrd="10"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C291FA7B-B6B5-4CA5-9E90-73D8D8D4339C}"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1DD91275-C59A-47CE-B42E-94C85EC875A8}">
      <dgm:prSet/>
      <dgm:spPr/>
      <dgm:t>
        <a:bodyPr/>
        <a:lstStyle/>
        <a:p>
          <a:r>
            <a:rPr lang="en-US" baseline="0" dirty="0"/>
            <a:t>Use EXTERNAL table to map common names familiar to your SQL Server</a:t>
          </a:r>
          <a:endParaRPr lang="en-US" dirty="0"/>
        </a:p>
      </dgm:t>
    </dgm:pt>
    <dgm:pt modelId="{5EF37A7D-E97D-49B1-A7AE-70405457F65C}" type="parTrans" cxnId="{C33B7FE6-9165-477A-AD42-1A12CF1E2934}">
      <dgm:prSet/>
      <dgm:spPr/>
      <dgm:t>
        <a:bodyPr/>
        <a:lstStyle/>
        <a:p>
          <a:endParaRPr lang="en-US"/>
        </a:p>
      </dgm:t>
    </dgm:pt>
    <dgm:pt modelId="{CB5D2CD0-C405-4573-8370-B2CFE143867F}" type="sibTrans" cxnId="{C33B7FE6-9165-477A-AD42-1A12CF1E2934}">
      <dgm:prSet/>
      <dgm:spPr/>
      <dgm:t>
        <a:bodyPr/>
        <a:lstStyle/>
        <a:p>
          <a:endParaRPr lang="en-US"/>
        </a:p>
      </dgm:t>
    </dgm:pt>
    <dgm:pt modelId="{7C53E093-E4A2-4810-A0BC-F0155FE1F281}">
      <dgm:prSet/>
      <dgm:spPr/>
      <dgm:t>
        <a:bodyPr/>
        <a:lstStyle/>
        <a:p>
          <a:r>
            <a:rPr lang="en-US" baseline="0" dirty="0"/>
            <a:t>Exclude fields or columns from data source that are not needed (Planned)</a:t>
          </a:r>
          <a:endParaRPr lang="en-US" dirty="0"/>
        </a:p>
      </dgm:t>
    </dgm:pt>
    <dgm:pt modelId="{7B24AB0B-759F-44CC-9409-647A913683BB}" type="parTrans" cxnId="{6305EDEC-F668-4471-8513-1C2892A27883}">
      <dgm:prSet/>
      <dgm:spPr/>
      <dgm:t>
        <a:bodyPr/>
        <a:lstStyle/>
        <a:p>
          <a:endParaRPr lang="en-US"/>
        </a:p>
      </dgm:t>
    </dgm:pt>
    <dgm:pt modelId="{B60DA91A-D802-403E-8600-A1328329FC20}" type="sibTrans" cxnId="{6305EDEC-F668-4471-8513-1C2892A27883}">
      <dgm:prSet/>
      <dgm:spPr/>
      <dgm:t>
        <a:bodyPr/>
        <a:lstStyle/>
        <a:p>
          <a:endParaRPr lang="en-US"/>
        </a:p>
      </dgm:t>
    </dgm:pt>
    <dgm:pt modelId="{0A9635D1-3D57-4DC0-909E-FEE579CF7975}">
      <dgm:prSet/>
      <dgm:spPr/>
      <dgm:t>
        <a:bodyPr/>
        <a:lstStyle/>
        <a:p>
          <a:r>
            <a:rPr lang="en-US" baseline="0" dirty="0"/>
            <a:t>Use SQL Server views to abstract joins and data source access</a:t>
          </a:r>
          <a:endParaRPr lang="en-US" dirty="0"/>
        </a:p>
      </dgm:t>
    </dgm:pt>
    <dgm:pt modelId="{00FF0F43-9721-4115-B6EA-9158B820C6B0}" type="parTrans" cxnId="{1F8638F5-5823-4EB3-9214-4F27130D5E38}">
      <dgm:prSet/>
      <dgm:spPr/>
      <dgm:t>
        <a:bodyPr/>
        <a:lstStyle/>
        <a:p>
          <a:endParaRPr lang="en-US"/>
        </a:p>
      </dgm:t>
    </dgm:pt>
    <dgm:pt modelId="{477F95A1-2FAB-433A-B85C-ABC206F4C53B}" type="sibTrans" cxnId="{1F8638F5-5823-4EB3-9214-4F27130D5E38}">
      <dgm:prSet/>
      <dgm:spPr/>
      <dgm:t>
        <a:bodyPr/>
        <a:lstStyle/>
        <a:p>
          <a:endParaRPr lang="en-US"/>
        </a:p>
      </dgm:t>
    </dgm:pt>
    <dgm:pt modelId="{732F32E9-530C-4610-A466-67F04EEB775F}">
      <dgm:prSet/>
      <dgm:spPr/>
      <dgm:t>
        <a:bodyPr/>
        <a:lstStyle/>
        <a:p>
          <a:r>
            <a:rPr lang="en-US" baseline="0" dirty="0"/>
            <a:t>Use UNION to join similar data from data sources and local SQL Server</a:t>
          </a:r>
          <a:endParaRPr lang="en-US" dirty="0"/>
        </a:p>
      </dgm:t>
    </dgm:pt>
    <dgm:pt modelId="{16DED101-8CEB-4EA2-9313-8DB2AEB2708C}" type="parTrans" cxnId="{097B2F4F-7B46-4C88-8588-DAEFE354BE2D}">
      <dgm:prSet/>
      <dgm:spPr/>
      <dgm:t>
        <a:bodyPr/>
        <a:lstStyle/>
        <a:p>
          <a:endParaRPr lang="en-US"/>
        </a:p>
      </dgm:t>
    </dgm:pt>
    <dgm:pt modelId="{AC110B8E-528D-45B1-9B47-B89A83DD8013}" type="sibTrans" cxnId="{097B2F4F-7B46-4C88-8588-DAEFE354BE2D}">
      <dgm:prSet/>
      <dgm:spPr/>
      <dgm:t>
        <a:bodyPr/>
        <a:lstStyle/>
        <a:p>
          <a:endParaRPr lang="en-US"/>
        </a:p>
      </dgm:t>
    </dgm:pt>
    <dgm:pt modelId="{5CF7C271-14A6-45F3-9451-C57A0CC2370B}" type="pres">
      <dgm:prSet presAssocID="{C291FA7B-B6B5-4CA5-9E90-73D8D8D4339C}" presName="vert0" presStyleCnt="0">
        <dgm:presLayoutVars>
          <dgm:dir/>
          <dgm:animOne val="branch"/>
          <dgm:animLvl val="lvl"/>
        </dgm:presLayoutVars>
      </dgm:prSet>
      <dgm:spPr/>
    </dgm:pt>
    <dgm:pt modelId="{7B9C0021-9E0F-4819-8601-2AFFD75C478B}" type="pres">
      <dgm:prSet presAssocID="{1DD91275-C59A-47CE-B42E-94C85EC875A8}" presName="thickLine" presStyleLbl="alignNode1" presStyleIdx="0" presStyleCnt="4"/>
      <dgm:spPr/>
    </dgm:pt>
    <dgm:pt modelId="{4FA9CAB7-BB25-47C4-A806-50C9FACEE2CF}" type="pres">
      <dgm:prSet presAssocID="{1DD91275-C59A-47CE-B42E-94C85EC875A8}" presName="horz1" presStyleCnt="0"/>
      <dgm:spPr/>
    </dgm:pt>
    <dgm:pt modelId="{A53015CF-E7F1-40DA-802D-0874AF2F9F82}" type="pres">
      <dgm:prSet presAssocID="{1DD91275-C59A-47CE-B42E-94C85EC875A8}" presName="tx1" presStyleLbl="revTx" presStyleIdx="0" presStyleCnt="4"/>
      <dgm:spPr/>
    </dgm:pt>
    <dgm:pt modelId="{A0B7DC05-CE47-4E45-8C84-CE39EA9D3ABD}" type="pres">
      <dgm:prSet presAssocID="{1DD91275-C59A-47CE-B42E-94C85EC875A8}" presName="vert1" presStyleCnt="0"/>
      <dgm:spPr/>
    </dgm:pt>
    <dgm:pt modelId="{76D4A2F8-890D-4060-88BE-6CA64F8E03CA}" type="pres">
      <dgm:prSet presAssocID="{7C53E093-E4A2-4810-A0BC-F0155FE1F281}" presName="thickLine" presStyleLbl="alignNode1" presStyleIdx="1" presStyleCnt="4"/>
      <dgm:spPr/>
    </dgm:pt>
    <dgm:pt modelId="{778B5F6B-4272-4B8F-B347-247874EEA97A}" type="pres">
      <dgm:prSet presAssocID="{7C53E093-E4A2-4810-A0BC-F0155FE1F281}" presName="horz1" presStyleCnt="0"/>
      <dgm:spPr/>
    </dgm:pt>
    <dgm:pt modelId="{2576E28E-0ECE-4CBC-853B-06A49E1BDAEC}" type="pres">
      <dgm:prSet presAssocID="{7C53E093-E4A2-4810-A0BC-F0155FE1F281}" presName="tx1" presStyleLbl="revTx" presStyleIdx="1" presStyleCnt="4"/>
      <dgm:spPr/>
    </dgm:pt>
    <dgm:pt modelId="{816DC313-C86A-4374-AE46-FAEDDFC76895}" type="pres">
      <dgm:prSet presAssocID="{7C53E093-E4A2-4810-A0BC-F0155FE1F281}" presName="vert1" presStyleCnt="0"/>
      <dgm:spPr/>
    </dgm:pt>
    <dgm:pt modelId="{6124704D-3D09-43B9-ABCC-F83534700E66}" type="pres">
      <dgm:prSet presAssocID="{0A9635D1-3D57-4DC0-909E-FEE579CF7975}" presName="thickLine" presStyleLbl="alignNode1" presStyleIdx="2" presStyleCnt="4"/>
      <dgm:spPr/>
    </dgm:pt>
    <dgm:pt modelId="{A01C3B18-873F-4F16-A13C-E8702C488024}" type="pres">
      <dgm:prSet presAssocID="{0A9635D1-3D57-4DC0-909E-FEE579CF7975}" presName="horz1" presStyleCnt="0"/>
      <dgm:spPr/>
    </dgm:pt>
    <dgm:pt modelId="{6304E49C-D2BC-4FB7-9753-8F39DECAA5F2}" type="pres">
      <dgm:prSet presAssocID="{0A9635D1-3D57-4DC0-909E-FEE579CF7975}" presName="tx1" presStyleLbl="revTx" presStyleIdx="2" presStyleCnt="4"/>
      <dgm:spPr/>
    </dgm:pt>
    <dgm:pt modelId="{BE795213-59EE-477A-A930-43338CDCB3FF}" type="pres">
      <dgm:prSet presAssocID="{0A9635D1-3D57-4DC0-909E-FEE579CF7975}" presName="vert1" presStyleCnt="0"/>
      <dgm:spPr/>
    </dgm:pt>
    <dgm:pt modelId="{47B09D47-81C1-4389-AC79-D92B545CD87D}" type="pres">
      <dgm:prSet presAssocID="{732F32E9-530C-4610-A466-67F04EEB775F}" presName="thickLine" presStyleLbl="alignNode1" presStyleIdx="3" presStyleCnt="4"/>
      <dgm:spPr/>
    </dgm:pt>
    <dgm:pt modelId="{3943135A-9495-40D3-9194-BF323110F7DE}" type="pres">
      <dgm:prSet presAssocID="{732F32E9-530C-4610-A466-67F04EEB775F}" presName="horz1" presStyleCnt="0"/>
      <dgm:spPr/>
    </dgm:pt>
    <dgm:pt modelId="{B9907A0E-F67A-4370-B2FD-060E9FC8C8A5}" type="pres">
      <dgm:prSet presAssocID="{732F32E9-530C-4610-A466-67F04EEB775F}" presName="tx1" presStyleLbl="revTx" presStyleIdx="3" presStyleCnt="4"/>
      <dgm:spPr/>
    </dgm:pt>
    <dgm:pt modelId="{63C2DC81-B2A7-459F-8F07-BEAF31DE5094}" type="pres">
      <dgm:prSet presAssocID="{732F32E9-530C-4610-A466-67F04EEB775F}" presName="vert1" presStyleCnt="0"/>
      <dgm:spPr/>
    </dgm:pt>
  </dgm:ptLst>
  <dgm:cxnLst>
    <dgm:cxn modelId="{8F44A318-A8EE-49BF-9787-5C8262F6A9A4}" type="presOf" srcId="{1DD91275-C59A-47CE-B42E-94C85EC875A8}" destId="{A53015CF-E7F1-40DA-802D-0874AF2F9F82}" srcOrd="0" destOrd="0" presId="urn:microsoft.com/office/officeart/2008/layout/LinedList"/>
    <dgm:cxn modelId="{9006CB19-1567-47BE-A565-1B9B91F7A9C8}" type="presOf" srcId="{C291FA7B-B6B5-4CA5-9E90-73D8D8D4339C}" destId="{5CF7C271-14A6-45F3-9451-C57A0CC2370B}" srcOrd="0" destOrd="0" presId="urn:microsoft.com/office/officeart/2008/layout/LinedList"/>
    <dgm:cxn modelId="{972DB73C-0BB5-4ACA-BDAD-D769572E5BC2}" type="presOf" srcId="{7C53E093-E4A2-4810-A0BC-F0155FE1F281}" destId="{2576E28E-0ECE-4CBC-853B-06A49E1BDAEC}" srcOrd="0" destOrd="0" presId="urn:microsoft.com/office/officeart/2008/layout/LinedList"/>
    <dgm:cxn modelId="{097B2F4F-7B46-4C88-8588-DAEFE354BE2D}" srcId="{C291FA7B-B6B5-4CA5-9E90-73D8D8D4339C}" destId="{732F32E9-530C-4610-A466-67F04EEB775F}" srcOrd="3" destOrd="0" parTransId="{16DED101-8CEB-4EA2-9313-8DB2AEB2708C}" sibTransId="{AC110B8E-528D-45B1-9B47-B89A83DD8013}"/>
    <dgm:cxn modelId="{9BA87450-8A9E-46A7-9D28-B687C79CE3BF}" type="presOf" srcId="{0A9635D1-3D57-4DC0-909E-FEE579CF7975}" destId="{6304E49C-D2BC-4FB7-9753-8F39DECAA5F2}" srcOrd="0" destOrd="0" presId="urn:microsoft.com/office/officeart/2008/layout/LinedList"/>
    <dgm:cxn modelId="{3956705A-C5EB-4275-AE6A-5C60C0CB6E84}" type="presOf" srcId="{732F32E9-530C-4610-A466-67F04EEB775F}" destId="{B9907A0E-F67A-4370-B2FD-060E9FC8C8A5}" srcOrd="0" destOrd="0" presId="urn:microsoft.com/office/officeart/2008/layout/LinedList"/>
    <dgm:cxn modelId="{C33B7FE6-9165-477A-AD42-1A12CF1E2934}" srcId="{C291FA7B-B6B5-4CA5-9E90-73D8D8D4339C}" destId="{1DD91275-C59A-47CE-B42E-94C85EC875A8}" srcOrd="0" destOrd="0" parTransId="{5EF37A7D-E97D-49B1-A7AE-70405457F65C}" sibTransId="{CB5D2CD0-C405-4573-8370-B2CFE143867F}"/>
    <dgm:cxn modelId="{6305EDEC-F668-4471-8513-1C2892A27883}" srcId="{C291FA7B-B6B5-4CA5-9E90-73D8D8D4339C}" destId="{7C53E093-E4A2-4810-A0BC-F0155FE1F281}" srcOrd="1" destOrd="0" parTransId="{7B24AB0B-759F-44CC-9409-647A913683BB}" sibTransId="{B60DA91A-D802-403E-8600-A1328329FC20}"/>
    <dgm:cxn modelId="{1F8638F5-5823-4EB3-9214-4F27130D5E38}" srcId="{C291FA7B-B6B5-4CA5-9E90-73D8D8D4339C}" destId="{0A9635D1-3D57-4DC0-909E-FEE579CF7975}" srcOrd="2" destOrd="0" parTransId="{00FF0F43-9721-4115-B6EA-9158B820C6B0}" sibTransId="{477F95A1-2FAB-433A-B85C-ABC206F4C53B}"/>
    <dgm:cxn modelId="{396D8C7A-B2C9-4C2D-BAD6-5272F0D40978}" type="presParOf" srcId="{5CF7C271-14A6-45F3-9451-C57A0CC2370B}" destId="{7B9C0021-9E0F-4819-8601-2AFFD75C478B}" srcOrd="0" destOrd="0" presId="urn:microsoft.com/office/officeart/2008/layout/LinedList"/>
    <dgm:cxn modelId="{B9F6C184-4527-4CB2-A5C5-648BB58D669E}" type="presParOf" srcId="{5CF7C271-14A6-45F3-9451-C57A0CC2370B}" destId="{4FA9CAB7-BB25-47C4-A806-50C9FACEE2CF}" srcOrd="1" destOrd="0" presId="urn:microsoft.com/office/officeart/2008/layout/LinedList"/>
    <dgm:cxn modelId="{410FCC01-571B-4A78-A467-B54DD70802B3}" type="presParOf" srcId="{4FA9CAB7-BB25-47C4-A806-50C9FACEE2CF}" destId="{A53015CF-E7F1-40DA-802D-0874AF2F9F82}" srcOrd="0" destOrd="0" presId="urn:microsoft.com/office/officeart/2008/layout/LinedList"/>
    <dgm:cxn modelId="{9B30AA49-35B7-4E30-B1DC-891A9D57B023}" type="presParOf" srcId="{4FA9CAB7-BB25-47C4-A806-50C9FACEE2CF}" destId="{A0B7DC05-CE47-4E45-8C84-CE39EA9D3ABD}" srcOrd="1" destOrd="0" presId="urn:microsoft.com/office/officeart/2008/layout/LinedList"/>
    <dgm:cxn modelId="{B860B75B-36D5-4668-AE2C-BC04DAA202F8}" type="presParOf" srcId="{5CF7C271-14A6-45F3-9451-C57A0CC2370B}" destId="{76D4A2F8-890D-4060-88BE-6CA64F8E03CA}" srcOrd="2" destOrd="0" presId="urn:microsoft.com/office/officeart/2008/layout/LinedList"/>
    <dgm:cxn modelId="{E49C8C83-FFBD-403E-BDDE-642C38ECFC07}" type="presParOf" srcId="{5CF7C271-14A6-45F3-9451-C57A0CC2370B}" destId="{778B5F6B-4272-4B8F-B347-247874EEA97A}" srcOrd="3" destOrd="0" presId="urn:microsoft.com/office/officeart/2008/layout/LinedList"/>
    <dgm:cxn modelId="{A920255D-A7BB-46AD-AF9A-9BC74FE2C4DC}" type="presParOf" srcId="{778B5F6B-4272-4B8F-B347-247874EEA97A}" destId="{2576E28E-0ECE-4CBC-853B-06A49E1BDAEC}" srcOrd="0" destOrd="0" presId="urn:microsoft.com/office/officeart/2008/layout/LinedList"/>
    <dgm:cxn modelId="{9A9A1AC6-77EA-4943-A559-2E4DDF57ADAD}" type="presParOf" srcId="{778B5F6B-4272-4B8F-B347-247874EEA97A}" destId="{816DC313-C86A-4374-AE46-FAEDDFC76895}" srcOrd="1" destOrd="0" presId="urn:microsoft.com/office/officeart/2008/layout/LinedList"/>
    <dgm:cxn modelId="{8591A5C0-BA7C-47A1-8953-3DE7EA9551E1}" type="presParOf" srcId="{5CF7C271-14A6-45F3-9451-C57A0CC2370B}" destId="{6124704D-3D09-43B9-ABCC-F83534700E66}" srcOrd="4" destOrd="0" presId="urn:microsoft.com/office/officeart/2008/layout/LinedList"/>
    <dgm:cxn modelId="{F510DADE-E780-4A70-9A7B-C2869AE84817}" type="presParOf" srcId="{5CF7C271-14A6-45F3-9451-C57A0CC2370B}" destId="{A01C3B18-873F-4F16-A13C-E8702C488024}" srcOrd="5" destOrd="0" presId="urn:microsoft.com/office/officeart/2008/layout/LinedList"/>
    <dgm:cxn modelId="{B147B211-21C6-49C0-9818-9EA43B9FB42A}" type="presParOf" srcId="{A01C3B18-873F-4F16-A13C-E8702C488024}" destId="{6304E49C-D2BC-4FB7-9753-8F39DECAA5F2}" srcOrd="0" destOrd="0" presId="urn:microsoft.com/office/officeart/2008/layout/LinedList"/>
    <dgm:cxn modelId="{24735CE0-19FA-45D7-8C52-751C100649EF}" type="presParOf" srcId="{A01C3B18-873F-4F16-A13C-E8702C488024}" destId="{BE795213-59EE-477A-A930-43338CDCB3FF}" srcOrd="1" destOrd="0" presId="urn:microsoft.com/office/officeart/2008/layout/LinedList"/>
    <dgm:cxn modelId="{94B3EC3C-2E1E-4E13-85B6-C18BDCF6B4A1}" type="presParOf" srcId="{5CF7C271-14A6-45F3-9451-C57A0CC2370B}" destId="{47B09D47-81C1-4389-AC79-D92B545CD87D}" srcOrd="6" destOrd="0" presId="urn:microsoft.com/office/officeart/2008/layout/LinedList"/>
    <dgm:cxn modelId="{9F058F4F-9CB0-4C73-A162-49B87C94F976}" type="presParOf" srcId="{5CF7C271-14A6-45F3-9451-C57A0CC2370B}" destId="{3943135A-9495-40D3-9194-BF323110F7DE}" srcOrd="7" destOrd="0" presId="urn:microsoft.com/office/officeart/2008/layout/LinedList"/>
    <dgm:cxn modelId="{DEF60815-C753-418E-843E-BBED6529E153}" type="presParOf" srcId="{3943135A-9495-40D3-9194-BF323110F7DE}" destId="{B9907A0E-F67A-4370-B2FD-060E9FC8C8A5}" srcOrd="0" destOrd="0" presId="urn:microsoft.com/office/officeart/2008/layout/LinedList"/>
    <dgm:cxn modelId="{672B9928-C26B-4078-8D6D-8ED63902ED69}" type="presParOf" srcId="{3943135A-9495-40D3-9194-BF323110F7DE}" destId="{63C2DC81-B2A7-459F-8F07-BEAF31DE5094}"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F32B127-5802-4115-98D9-1D04E4767F1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53D7EFAD-9D69-4131-B665-D784611009F2}">
      <dgm:prSet phldrT="[Text]"/>
      <dgm:spPr/>
      <dgm:t>
        <a:bodyPr/>
        <a:lstStyle/>
        <a:p>
          <a:pPr algn="ctr"/>
          <a:r>
            <a:rPr lang="en-US" dirty="0"/>
            <a:t>The Solution(s)</a:t>
          </a:r>
        </a:p>
      </dgm:t>
    </dgm:pt>
    <dgm:pt modelId="{667211BE-884C-4748-9590-BCA1EAA647FD}" type="parTrans" cxnId="{65520CBD-22DB-4683-909D-9F25C21B1F87}">
      <dgm:prSet/>
      <dgm:spPr/>
      <dgm:t>
        <a:bodyPr/>
        <a:lstStyle/>
        <a:p>
          <a:endParaRPr lang="en-US"/>
        </a:p>
      </dgm:t>
    </dgm:pt>
    <dgm:pt modelId="{1E2345BE-2458-4C6F-BC98-B5B3F86981E7}" type="sibTrans" cxnId="{65520CBD-22DB-4683-909D-9F25C21B1F87}">
      <dgm:prSet/>
      <dgm:spPr/>
      <dgm:t>
        <a:bodyPr/>
        <a:lstStyle/>
        <a:p>
          <a:endParaRPr lang="en-US"/>
        </a:p>
      </dgm:t>
    </dgm:pt>
    <dgm:pt modelId="{93965B70-4792-44F1-AEE8-C922889DD887}">
      <dgm:prSet phldrT="[Text]"/>
      <dgm:spPr/>
      <dgm:t>
        <a:bodyPr/>
        <a:lstStyle/>
        <a:p>
          <a:r>
            <a:rPr lang="en-US" dirty="0"/>
            <a:t>Build intelligent, adaptable operators</a:t>
          </a:r>
        </a:p>
      </dgm:t>
    </dgm:pt>
    <dgm:pt modelId="{AF6CBFEB-FA1C-467C-9266-BD06C3082274}" type="parTrans" cxnId="{26143243-C902-4D2D-AAA4-0A1A960E0172}">
      <dgm:prSet/>
      <dgm:spPr/>
      <dgm:t>
        <a:bodyPr/>
        <a:lstStyle/>
        <a:p>
          <a:endParaRPr lang="en-US"/>
        </a:p>
      </dgm:t>
    </dgm:pt>
    <dgm:pt modelId="{70D492B5-E811-46F5-98A8-B615493C7C77}" type="sibTrans" cxnId="{26143243-C902-4D2D-AAA4-0A1A960E0172}">
      <dgm:prSet/>
      <dgm:spPr/>
      <dgm:t>
        <a:bodyPr/>
        <a:lstStyle/>
        <a:p>
          <a:endParaRPr lang="en-US"/>
        </a:p>
      </dgm:t>
    </dgm:pt>
    <dgm:pt modelId="{13F31CE6-4B8A-4B33-BC21-ECB8629D6650}">
      <dgm:prSet phldrT="[Text]"/>
      <dgm:spPr/>
      <dgm:t>
        <a:bodyPr/>
        <a:lstStyle/>
        <a:p>
          <a:r>
            <a:rPr lang="en-US" dirty="0"/>
            <a:t>Modify query plans in cache based on previous execution</a:t>
          </a:r>
        </a:p>
      </dgm:t>
    </dgm:pt>
    <dgm:pt modelId="{6C9D25EF-0717-405A-8F9F-81F0EB907BEB}" type="parTrans" cxnId="{5D8139B3-F54E-4B67-A4E2-FE4A4873F2E3}">
      <dgm:prSet/>
      <dgm:spPr/>
      <dgm:t>
        <a:bodyPr/>
        <a:lstStyle/>
        <a:p>
          <a:endParaRPr lang="en-US"/>
        </a:p>
      </dgm:t>
    </dgm:pt>
    <dgm:pt modelId="{2BFFDF0D-2D01-42C9-9A82-C51D9EF7DCBC}" type="sibTrans" cxnId="{5D8139B3-F54E-4B67-A4E2-FE4A4873F2E3}">
      <dgm:prSet/>
      <dgm:spPr/>
      <dgm:t>
        <a:bodyPr/>
        <a:lstStyle/>
        <a:p>
          <a:endParaRPr lang="en-US"/>
        </a:p>
      </dgm:t>
    </dgm:pt>
    <dgm:pt modelId="{D34D0808-FDE9-482F-B247-8690EA373CE9}">
      <dgm:prSet phldrT="[Text]"/>
      <dgm:spPr/>
      <dgm:t>
        <a:bodyPr/>
        <a:lstStyle/>
        <a:p>
          <a:r>
            <a:rPr lang="en-US" dirty="0"/>
            <a:t>Expand batch mode</a:t>
          </a:r>
        </a:p>
      </dgm:t>
    </dgm:pt>
    <dgm:pt modelId="{DDFE9F40-826A-4844-9147-BC33C049FBEC}" type="parTrans" cxnId="{676DC50C-02EF-4861-99FF-C0A31804CEC5}">
      <dgm:prSet/>
      <dgm:spPr/>
      <dgm:t>
        <a:bodyPr/>
        <a:lstStyle/>
        <a:p>
          <a:endParaRPr lang="en-US"/>
        </a:p>
      </dgm:t>
    </dgm:pt>
    <dgm:pt modelId="{38D1F5AA-21D3-4766-A168-5B02AFF9F053}" type="sibTrans" cxnId="{676DC50C-02EF-4861-99FF-C0A31804CEC5}">
      <dgm:prSet/>
      <dgm:spPr/>
      <dgm:t>
        <a:bodyPr/>
        <a:lstStyle/>
        <a:p>
          <a:endParaRPr lang="en-US"/>
        </a:p>
      </dgm:t>
    </dgm:pt>
    <dgm:pt modelId="{CBFBF310-FC9D-4470-BA7B-4A7402B138A2}">
      <dgm:prSet phldrT="[Text]"/>
      <dgm:spPr/>
      <dgm:t>
        <a:bodyPr/>
        <a:lstStyle/>
        <a:p>
          <a:r>
            <a:rPr lang="en-US" dirty="0"/>
            <a:t>Execution data drives downstream compilation</a:t>
          </a:r>
        </a:p>
      </dgm:t>
    </dgm:pt>
    <dgm:pt modelId="{F721AD24-B4BA-404C-90EA-2FFA641C3152}" type="parTrans" cxnId="{B9839248-428D-4241-89E9-C929A6E3B156}">
      <dgm:prSet/>
      <dgm:spPr/>
      <dgm:t>
        <a:bodyPr/>
        <a:lstStyle/>
        <a:p>
          <a:endParaRPr lang="en-US"/>
        </a:p>
      </dgm:t>
    </dgm:pt>
    <dgm:pt modelId="{4EFFFB34-1AE6-4F32-B87F-DB49B0D76E37}" type="sibTrans" cxnId="{B9839248-428D-4241-89E9-C929A6E3B156}">
      <dgm:prSet/>
      <dgm:spPr/>
      <dgm:t>
        <a:bodyPr/>
        <a:lstStyle/>
        <a:p>
          <a:endParaRPr lang="en-US"/>
        </a:p>
      </dgm:t>
    </dgm:pt>
    <dgm:pt modelId="{4EE5749F-4CB1-4F27-BF5F-F9070ABC4C18}">
      <dgm:prSet phldrT="[Text]"/>
      <dgm:spPr/>
      <dgm:t>
        <a:bodyPr/>
        <a:lstStyle/>
        <a:p>
          <a:r>
            <a:rPr lang="en-US" dirty="0"/>
            <a:t>Smarter query processing</a:t>
          </a:r>
        </a:p>
      </dgm:t>
    </dgm:pt>
    <dgm:pt modelId="{55DA12DE-5798-42B0-BC89-C01946CE1AEF}" type="parTrans" cxnId="{7E082ADD-1333-44BD-8F8C-4D432B18093B}">
      <dgm:prSet/>
      <dgm:spPr/>
      <dgm:t>
        <a:bodyPr/>
        <a:lstStyle/>
        <a:p>
          <a:endParaRPr lang="en-US"/>
        </a:p>
      </dgm:t>
    </dgm:pt>
    <dgm:pt modelId="{D1DF7E24-3EB9-408A-8E58-F86CB0A5CD9D}" type="sibTrans" cxnId="{7E082ADD-1333-44BD-8F8C-4D432B18093B}">
      <dgm:prSet/>
      <dgm:spPr/>
      <dgm:t>
        <a:bodyPr/>
        <a:lstStyle/>
        <a:p>
          <a:endParaRPr lang="en-US"/>
        </a:p>
      </dgm:t>
    </dgm:pt>
    <dgm:pt modelId="{C70A7381-E7ED-45BE-9458-3C60AE6CCEC5}" type="pres">
      <dgm:prSet presAssocID="{2F32B127-5802-4115-98D9-1D04E4767F15}" presName="linear" presStyleCnt="0">
        <dgm:presLayoutVars>
          <dgm:animLvl val="lvl"/>
          <dgm:resizeHandles val="exact"/>
        </dgm:presLayoutVars>
      </dgm:prSet>
      <dgm:spPr/>
    </dgm:pt>
    <dgm:pt modelId="{C6E835C1-CAA7-4C71-892C-77159276F6BE}" type="pres">
      <dgm:prSet presAssocID="{53D7EFAD-9D69-4131-B665-D784611009F2}" presName="parentText" presStyleLbl="node1" presStyleIdx="0" presStyleCnt="1">
        <dgm:presLayoutVars>
          <dgm:chMax val="0"/>
          <dgm:bulletEnabled val="1"/>
        </dgm:presLayoutVars>
      </dgm:prSet>
      <dgm:spPr/>
    </dgm:pt>
    <dgm:pt modelId="{F4F491F2-8310-4EDC-83BE-3E4CB6BFF77F}" type="pres">
      <dgm:prSet presAssocID="{53D7EFAD-9D69-4131-B665-D784611009F2}" presName="childText" presStyleLbl="revTx" presStyleIdx="0" presStyleCnt="1">
        <dgm:presLayoutVars>
          <dgm:bulletEnabled val="1"/>
        </dgm:presLayoutVars>
      </dgm:prSet>
      <dgm:spPr/>
    </dgm:pt>
  </dgm:ptLst>
  <dgm:cxnLst>
    <dgm:cxn modelId="{33511D06-A576-4AD5-B7BE-35D9FA7308FC}" type="presOf" srcId="{D34D0808-FDE9-482F-B247-8690EA373CE9}" destId="{F4F491F2-8310-4EDC-83BE-3E4CB6BFF77F}" srcOrd="0" destOrd="2" presId="urn:microsoft.com/office/officeart/2005/8/layout/vList2"/>
    <dgm:cxn modelId="{676DC50C-02EF-4861-99FF-C0A31804CEC5}" srcId="{53D7EFAD-9D69-4131-B665-D784611009F2}" destId="{D34D0808-FDE9-482F-B247-8690EA373CE9}" srcOrd="2" destOrd="0" parTransId="{DDFE9F40-826A-4844-9147-BC33C049FBEC}" sibTransId="{38D1F5AA-21D3-4766-A168-5B02AFF9F053}"/>
    <dgm:cxn modelId="{330B2111-1B17-4F75-A313-C466AA383995}" type="presOf" srcId="{CBFBF310-FC9D-4470-BA7B-4A7402B138A2}" destId="{F4F491F2-8310-4EDC-83BE-3E4CB6BFF77F}" srcOrd="0" destOrd="3" presId="urn:microsoft.com/office/officeart/2005/8/layout/vList2"/>
    <dgm:cxn modelId="{43222D16-6B11-4388-938B-92C08522F78B}" type="presOf" srcId="{13F31CE6-4B8A-4B33-BC21-ECB8629D6650}" destId="{F4F491F2-8310-4EDC-83BE-3E4CB6BFF77F}" srcOrd="0" destOrd="1" presId="urn:microsoft.com/office/officeart/2005/8/layout/vList2"/>
    <dgm:cxn modelId="{C32B2822-F8EF-4077-9EBE-527BFFD0740F}" type="presOf" srcId="{4EE5749F-4CB1-4F27-BF5F-F9070ABC4C18}" destId="{F4F491F2-8310-4EDC-83BE-3E4CB6BFF77F}" srcOrd="0" destOrd="4" presId="urn:microsoft.com/office/officeart/2005/8/layout/vList2"/>
    <dgm:cxn modelId="{26143243-C902-4D2D-AAA4-0A1A960E0172}" srcId="{53D7EFAD-9D69-4131-B665-D784611009F2}" destId="{93965B70-4792-44F1-AEE8-C922889DD887}" srcOrd="0" destOrd="0" parTransId="{AF6CBFEB-FA1C-467C-9266-BD06C3082274}" sibTransId="{70D492B5-E811-46F5-98A8-B615493C7C77}"/>
    <dgm:cxn modelId="{B9839248-428D-4241-89E9-C929A6E3B156}" srcId="{53D7EFAD-9D69-4131-B665-D784611009F2}" destId="{CBFBF310-FC9D-4470-BA7B-4A7402B138A2}" srcOrd="3" destOrd="0" parTransId="{F721AD24-B4BA-404C-90EA-2FFA641C3152}" sibTransId="{4EFFFB34-1AE6-4F32-B87F-DB49B0D76E37}"/>
    <dgm:cxn modelId="{AAA6444F-83C6-4AB2-8113-0FC8108A89D9}" type="presOf" srcId="{93965B70-4792-44F1-AEE8-C922889DD887}" destId="{F4F491F2-8310-4EDC-83BE-3E4CB6BFF77F}" srcOrd="0" destOrd="0" presId="urn:microsoft.com/office/officeart/2005/8/layout/vList2"/>
    <dgm:cxn modelId="{CCE35880-8BA3-4B58-A370-A0E6B37B5366}" type="presOf" srcId="{2F32B127-5802-4115-98D9-1D04E4767F15}" destId="{C70A7381-E7ED-45BE-9458-3C60AE6CCEC5}" srcOrd="0" destOrd="0" presId="urn:microsoft.com/office/officeart/2005/8/layout/vList2"/>
    <dgm:cxn modelId="{68A8E696-460C-4316-A460-CCD7E4D22CCA}" type="presOf" srcId="{53D7EFAD-9D69-4131-B665-D784611009F2}" destId="{C6E835C1-CAA7-4C71-892C-77159276F6BE}" srcOrd="0" destOrd="0" presId="urn:microsoft.com/office/officeart/2005/8/layout/vList2"/>
    <dgm:cxn modelId="{5D8139B3-F54E-4B67-A4E2-FE4A4873F2E3}" srcId="{53D7EFAD-9D69-4131-B665-D784611009F2}" destId="{13F31CE6-4B8A-4B33-BC21-ECB8629D6650}" srcOrd="1" destOrd="0" parTransId="{6C9D25EF-0717-405A-8F9F-81F0EB907BEB}" sibTransId="{2BFFDF0D-2D01-42C9-9A82-C51D9EF7DCBC}"/>
    <dgm:cxn modelId="{65520CBD-22DB-4683-909D-9F25C21B1F87}" srcId="{2F32B127-5802-4115-98D9-1D04E4767F15}" destId="{53D7EFAD-9D69-4131-B665-D784611009F2}" srcOrd="0" destOrd="0" parTransId="{667211BE-884C-4748-9590-BCA1EAA647FD}" sibTransId="{1E2345BE-2458-4C6F-BC98-B5B3F86981E7}"/>
    <dgm:cxn modelId="{7E082ADD-1333-44BD-8F8C-4D432B18093B}" srcId="{53D7EFAD-9D69-4131-B665-D784611009F2}" destId="{4EE5749F-4CB1-4F27-BF5F-F9070ABC4C18}" srcOrd="4" destOrd="0" parTransId="{55DA12DE-5798-42B0-BC89-C01946CE1AEF}" sibTransId="{D1DF7E24-3EB9-408A-8E58-F86CB0A5CD9D}"/>
    <dgm:cxn modelId="{2EABF8C7-8544-4D41-B0FB-8EE1EAB5CD2C}" type="presParOf" srcId="{C70A7381-E7ED-45BE-9458-3C60AE6CCEC5}" destId="{C6E835C1-CAA7-4C71-892C-77159276F6BE}" srcOrd="0" destOrd="0" presId="urn:microsoft.com/office/officeart/2005/8/layout/vList2"/>
    <dgm:cxn modelId="{3B35F175-09F8-4349-8876-C8D2852DDC51}" type="presParOf" srcId="{C70A7381-E7ED-45BE-9458-3C60AE6CCEC5}" destId="{F4F491F2-8310-4EDC-83BE-3E4CB6BFF77F}" srcOrd="1"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1E25C45E-BF54-4D39-8AAC-59D7EFDA2249}" type="doc">
      <dgm:prSet loTypeId="urn:microsoft.com/office/officeart/2005/8/layout/default" loCatId="list" qsTypeId="urn:microsoft.com/office/officeart/2005/8/quickstyle/simple1" qsCatId="simple" csTypeId="urn:microsoft.com/office/officeart/2005/8/colors/accent0_2" csCatId="mainScheme" phldr="1"/>
      <dgm:spPr/>
      <dgm:t>
        <a:bodyPr/>
        <a:lstStyle/>
        <a:p>
          <a:endParaRPr lang="en-US"/>
        </a:p>
      </dgm:t>
    </dgm:pt>
    <dgm:pt modelId="{84259B64-D449-4506-B16C-4B2E98C146E1}">
      <dgm:prSet phldrT="[Text]"/>
      <dgm:spPr/>
      <dgm:t>
        <a:bodyPr/>
        <a:lstStyle/>
        <a:p>
          <a:r>
            <a:rPr lang="en-US" dirty="0"/>
            <a:t>Code generation in Notebooks</a:t>
          </a:r>
        </a:p>
      </dgm:t>
    </dgm:pt>
    <dgm:pt modelId="{EE836284-7D04-4AA3-8460-E7D9D985F4A0}" type="parTrans" cxnId="{7DAEC801-395C-45E6-B680-3FADC075350C}">
      <dgm:prSet/>
      <dgm:spPr/>
      <dgm:t>
        <a:bodyPr/>
        <a:lstStyle/>
        <a:p>
          <a:endParaRPr lang="en-US"/>
        </a:p>
      </dgm:t>
    </dgm:pt>
    <dgm:pt modelId="{264B78FD-6F5B-45BD-B5FE-3762B9D9766B}" type="sibTrans" cxnId="{7DAEC801-395C-45E6-B680-3FADC075350C}">
      <dgm:prSet/>
      <dgm:spPr/>
      <dgm:t>
        <a:bodyPr/>
        <a:lstStyle/>
        <a:p>
          <a:endParaRPr lang="en-US"/>
        </a:p>
      </dgm:t>
    </dgm:pt>
    <dgm:pt modelId="{B2B2D7C4-3228-4E8A-9A62-6E79A1AF2EAA}">
      <dgm:prSet phldrT="[Text]"/>
      <dgm:spPr/>
      <dgm:t>
        <a:bodyPr/>
        <a:lstStyle/>
        <a:p>
          <a:r>
            <a:rPr lang="en-US" dirty="0"/>
            <a:t>Import wizards</a:t>
          </a:r>
        </a:p>
      </dgm:t>
    </dgm:pt>
    <dgm:pt modelId="{271B5695-4839-40CF-8C44-18AFDFAF6986}" type="parTrans" cxnId="{6ECD6AB7-55AD-4B21-B16C-1F6FF5C38E92}">
      <dgm:prSet/>
      <dgm:spPr/>
      <dgm:t>
        <a:bodyPr/>
        <a:lstStyle/>
        <a:p>
          <a:endParaRPr lang="en-US"/>
        </a:p>
      </dgm:t>
    </dgm:pt>
    <dgm:pt modelId="{54F6D2F7-0A40-41BA-A200-EDD0E6A87ED7}" type="sibTrans" cxnId="{6ECD6AB7-55AD-4B21-B16C-1F6FF5C38E92}">
      <dgm:prSet/>
      <dgm:spPr/>
      <dgm:t>
        <a:bodyPr/>
        <a:lstStyle/>
        <a:p>
          <a:endParaRPr lang="en-US"/>
        </a:p>
      </dgm:t>
    </dgm:pt>
    <dgm:pt modelId="{C00BBE85-F204-46C2-9B9F-1FCCC32E4655}">
      <dgm:prSet phldrT="[Text]"/>
      <dgm:spPr/>
      <dgm:t>
        <a:bodyPr/>
        <a:lstStyle/>
        <a:p>
          <a:r>
            <a:rPr lang="en-US" dirty="0"/>
            <a:t>External Table detection for HDFS</a:t>
          </a:r>
        </a:p>
      </dgm:t>
    </dgm:pt>
    <dgm:pt modelId="{6644815E-74D1-4A2E-B292-0E1548DC8649}" type="parTrans" cxnId="{B8EAA869-E4EF-4DF0-8BB4-EBC4A4B78279}">
      <dgm:prSet/>
      <dgm:spPr/>
      <dgm:t>
        <a:bodyPr/>
        <a:lstStyle/>
        <a:p>
          <a:endParaRPr lang="en-US"/>
        </a:p>
      </dgm:t>
    </dgm:pt>
    <dgm:pt modelId="{A9A83669-6177-49E7-AF90-B0FF8FC20694}" type="sibTrans" cxnId="{B8EAA869-E4EF-4DF0-8BB4-EBC4A4B78279}">
      <dgm:prSet/>
      <dgm:spPr/>
      <dgm:t>
        <a:bodyPr/>
        <a:lstStyle/>
        <a:p>
          <a:endParaRPr lang="en-US"/>
        </a:p>
      </dgm:t>
    </dgm:pt>
    <dgm:pt modelId="{6C03B221-73CB-4AE4-8F32-32FDB85BECE7}" type="pres">
      <dgm:prSet presAssocID="{1E25C45E-BF54-4D39-8AAC-59D7EFDA2249}" presName="diagram" presStyleCnt="0">
        <dgm:presLayoutVars>
          <dgm:dir/>
          <dgm:resizeHandles val="exact"/>
        </dgm:presLayoutVars>
      </dgm:prSet>
      <dgm:spPr/>
    </dgm:pt>
    <dgm:pt modelId="{B0B14557-D145-44CE-AA9D-CF510C83A62E}" type="pres">
      <dgm:prSet presAssocID="{84259B64-D449-4506-B16C-4B2E98C146E1}" presName="node" presStyleLbl="node1" presStyleIdx="0" presStyleCnt="3">
        <dgm:presLayoutVars>
          <dgm:bulletEnabled val="1"/>
        </dgm:presLayoutVars>
      </dgm:prSet>
      <dgm:spPr/>
    </dgm:pt>
    <dgm:pt modelId="{FFA68533-7FA6-467A-A15C-ACC7DC0B11A2}" type="pres">
      <dgm:prSet presAssocID="{264B78FD-6F5B-45BD-B5FE-3762B9D9766B}" presName="sibTrans" presStyleCnt="0"/>
      <dgm:spPr/>
    </dgm:pt>
    <dgm:pt modelId="{49EC0BD5-D2A4-4328-9E0C-2D2BE22B5F17}" type="pres">
      <dgm:prSet presAssocID="{B2B2D7C4-3228-4E8A-9A62-6E79A1AF2EAA}" presName="node" presStyleLbl="node1" presStyleIdx="1" presStyleCnt="3">
        <dgm:presLayoutVars>
          <dgm:bulletEnabled val="1"/>
        </dgm:presLayoutVars>
      </dgm:prSet>
      <dgm:spPr/>
    </dgm:pt>
    <dgm:pt modelId="{B1028F22-FC4B-413D-ABE7-05104A89B403}" type="pres">
      <dgm:prSet presAssocID="{54F6D2F7-0A40-41BA-A200-EDD0E6A87ED7}" presName="sibTrans" presStyleCnt="0"/>
      <dgm:spPr/>
    </dgm:pt>
    <dgm:pt modelId="{CB2D3F6D-CFB3-42FD-AA44-03959C982C2A}" type="pres">
      <dgm:prSet presAssocID="{C00BBE85-F204-46C2-9B9F-1FCCC32E4655}" presName="node" presStyleLbl="node1" presStyleIdx="2" presStyleCnt="3">
        <dgm:presLayoutVars>
          <dgm:bulletEnabled val="1"/>
        </dgm:presLayoutVars>
      </dgm:prSet>
      <dgm:spPr/>
    </dgm:pt>
  </dgm:ptLst>
  <dgm:cxnLst>
    <dgm:cxn modelId="{7DAEC801-395C-45E6-B680-3FADC075350C}" srcId="{1E25C45E-BF54-4D39-8AAC-59D7EFDA2249}" destId="{84259B64-D449-4506-B16C-4B2E98C146E1}" srcOrd="0" destOrd="0" parTransId="{EE836284-7D04-4AA3-8460-E7D9D985F4A0}" sibTransId="{264B78FD-6F5B-45BD-B5FE-3762B9D9766B}"/>
    <dgm:cxn modelId="{AFD5035F-CA52-4DC8-AE55-20870ABA043C}" type="presOf" srcId="{84259B64-D449-4506-B16C-4B2E98C146E1}" destId="{B0B14557-D145-44CE-AA9D-CF510C83A62E}" srcOrd="0" destOrd="0" presId="urn:microsoft.com/office/officeart/2005/8/layout/default"/>
    <dgm:cxn modelId="{B8EAA869-E4EF-4DF0-8BB4-EBC4A4B78279}" srcId="{1E25C45E-BF54-4D39-8AAC-59D7EFDA2249}" destId="{C00BBE85-F204-46C2-9B9F-1FCCC32E4655}" srcOrd="2" destOrd="0" parTransId="{6644815E-74D1-4A2E-B292-0E1548DC8649}" sibTransId="{A9A83669-6177-49E7-AF90-B0FF8FC20694}"/>
    <dgm:cxn modelId="{BAACD577-4629-4000-9DF1-BE17409CA6A6}" type="presOf" srcId="{1E25C45E-BF54-4D39-8AAC-59D7EFDA2249}" destId="{6C03B221-73CB-4AE4-8F32-32FDB85BECE7}" srcOrd="0" destOrd="0" presId="urn:microsoft.com/office/officeart/2005/8/layout/default"/>
    <dgm:cxn modelId="{0AC1E959-EC89-4536-908A-7E6EA0AFF888}" type="presOf" srcId="{B2B2D7C4-3228-4E8A-9A62-6E79A1AF2EAA}" destId="{49EC0BD5-D2A4-4328-9E0C-2D2BE22B5F17}" srcOrd="0" destOrd="0" presId="urn:microsoft.com/office/officeart/2005/8/layout/default"/>
    <dgm:cxn modelId="{AF446CA9-8C7E-48E6-89F6-48F970A1A2AA}" type="presOf" srcId="{C00BBE85-F204-46C2-9B9F-1FCCC32E4655}" destId="{CB2D3F6D-CFB3-42FD-AA44-03959C982C2A}" srcOrd="0" destOrd="0" presId="urn:microsoft.com/office/officeart/2005/8/layout/default"/>
    <dgm:cxn modelId="{6ECD6AB7-55AD-4B21-B16C-1F6FF5C38E92}" srcId="{1E25C45E-BF54-4D39-8AAC-59D7EFDA2249}" destId="{B2B2D7C4-3228-4E8A-9A62-6E79A1AF2EAA}" srcOrd="1" destOrd="0" parTransId="{271B5695-4839-40CF-8C44-18AFDFAF6986}" sibTransId="{54F6D2F7-0A40-41BA-A200-EDD0E6A87ED7}"/>
    <dgm:cxn modelId="{5E2737BD-6C5C-4D50-911D-A68F53EF0407}" type="presParOf" srcId="{6C03B221-73CB-4AE4-8F32-32FDB85BECE7}" destId="{B0B14557-D145-44CE-AA9D-CF510C83A62E}" srcOrd="0" destOrd="0" presId="urn:microsoft.com/office/officeart/2005/8/layout/default"/>
    <dgm:cxn modelId="{7792970A-27FE-4BEE-B7E1-2E084A099FB4}" type="presParOf" srcId="{6C03B221-73CB-4AE4-8F32-32FDB85BECE7}" destId="{FFA68533-7FA6-467A-A15C-ACC7DC0B11A2}" srcOrd="1" destOrd="0" presId="urn:microsoft.com/office/officeart/2005/8/layout/default"/>
    <dgm:cxn modelId="{2B792F78-AB01-4674-AADC-F39520383445}" type="presParOf" srcId="{6C03B221-73CB-4AE4-8F32-32FDB85BECE7}" destId="{49EC0BD5-D2A4-4328-9E0C-2D2BE22B5F17}" srcOrd="2" destOrd="0" presId="urn:microsoft.com/office/officeart/2005/8/layout/default"/>
    <dgm:cxn modelId="{63D0C5F9-442F-477E-9928-FC3DCC5D105B}" type="presParOf" srcId="{6C03B221-73CB-4AE4-8F32-32FDB85BECE7}" destId="{B1028F22-FC4B-413D-ABE7-05104A89B403}" srcOrd="3" destOrd="0" presId="urn:microsoft.com/office/officeart/2005/8/layout/default"/>
    <dgm:cxn modelId="{4AAF71E2-E98E-4B26-806D-57D0527A3115}" type="presParOf" srcId="{6C03B221-73CB-4AE4-8F32-32FDB85BECE7}" destId="{CB2D3F6D-CFB3-42FD-AA44-03959C982C2A}" srcOrd="4" destOrd="0" presId="urn:microsoft.com/office/officeart/2005/8/layout/defaul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2B0AF477-21C1-4225-80FC-615A38AF5160}" type="doc">
      <dgm:prSet loTypeId="urn:microsoft.com/office/officeart/2008/layout/PictureAccentList" loCatId="list" qsTypeId="urn:microsoft.com/office/officeart/2005/8/quickstyle/simple1" qsCatId="simple" csTypeId="urn:microsoft.com/office/officeart/2005/8/colors/accent1_2" csCatId="accent1" phldr="1"/>
      <dgm:spPr/>
      <dgm:t>
        <a:bodyPr/>
        <a:lstStyle/>
        <a:p>
          <a:endParaRPr lang="en-US"/>
        </a:p>
      </dgm:t>
    </dgm:pt>
    <dgm:pt modelId="{F1C2EF93-A089-400B-A96F-EBDC7B2EC143}">
      <dgm:prSet phldrT="[Text]" custT="1"/>
      <dgm:spPr/>
      <dgm:t>
        <a:bodyPr/>
        <a:lstStyle/>
        <a:p>
          <a:r>
            <a:rPr lang="en-US" sz="2800" dirty="0"/>
            <a:t>Stop certifying for any given platform (Cloud, on-prem)!</a:t>
          </a:r>
        </a:p>
      </dgm:t>
    </dgm:pt>
    <dgm:pt modelId="{8D7BE4CD-C3D7-4058-B251-2A8078B12227}" type="parTrans" cxnId="{D9E0114C-208F-4DE0-9D28-915EE061A71B}">
      <dgm:prSet/>
      <dgm:spPr/>
      <dgm:t>
        <a:bodyPr/>
        <a:lstStyle/>
        <a:p>
          <a:endParaRPr lang="en-US"/>
        </a:p>
      </dgm:t>
    </dgm:pt>
    <dgm:pt modelId="{31D77C5E-E115-4A69-B462-3EED625EEB2E}" type="sibTrans" cxnId="{D9E0114C-208F-4DE0-9D28-915EE061A71B}">
      <dgm:prSet/>
      <dgm:spPr/>
      <dgm:t>
        <a:bodyPr/>
        <a:lstStyle/>
        <a:p>
          <a:endParaRPr lang="en-US"/>
        </a:p>
      </dgm:t>
    </dgm:pt>
    <dgm:pt modelId="{15B8B901-7617-4691-A72C-7F75BC46FF1E}">
      <dgm:prSet custT="1"/>
      <dgm:spPr/>
      <dgm:t>
        <a:bodyPr/>
        <a:lstStyle/>
        <a:p>
          <a:r>
            <a:rPr lang="en-US" sz="2800" dirty="0"/>
            <a:t>Stop certifying for a named SQL Server version!</a:t>
          </a:r>
        </a:p>
      </dgm:t>
    </dgm:pt>
    <dgm:pt modelId="{B456C6DE-4F89-4FF8-AD50-6EF32072241A}" type="parTrans" cxnId="{3AD2B214-D704-41C1-9C5C-EB7FB983464D}">
      <dgm:prSet/>
      <dgm:spPr/>
      <dgm:t>
        <a:bodyPr/>
        <a:lstStyle/>
        <a:p>
          <a:endParaRPr lang="en-US"/>
        </a:p>
      </dgm:t>
    </dgm:pt>
    <dgm:pt modelId="{3C501626-9B94-4D8B-B2FB-BB862C4209C4}" type="sibTrans" cxnId="{3AD2B214-D704-41C1-9C5C-EB7FB983464D}">
      <dgm:prSet/>
      <dgm:spPr/>
      <dgm:t>
        <a:bodyPr/>
        <a:lstStyle/>
        <a:p>
          <a:endParaRPr lang="en-US"/>
        </a:p>
      </dgm:t>
    </dgm:pt>
    <dgm:pt modelId="{32FB442F-F4C3-4E4D-8107-7CCD3F1C6255}" type="pres">
      <dgm:prSet presAssocID="{2B0AF477-21C1-4225-80FC-615A38AF5160}" presName="layout" presStyleCnt="0">
        <dgm:presLayoutVars>
          <dgm:chMax/>
          <dgm:chPref/>
          <dgm:dir/>
          <dgm:animOne val="branch"/>
          <dgm:animLvl val="lvl"/>
          <dgm:resizeHandles/>
        </dgm:presLayoutVars>
      </dgm:prSet>
      <dgm:spPr/>
    </dgm:pt>
    <dgm:pt modelId="{1BF35792-2A86-412A-89A8-9A8D9D4BD3BF}" type="pres">
      <dgm:prSet presAssocID="{F1C2EF93-A089-400B-A96F-EBDC7B2EC143}" presName="root" presStyleCnt="0">
        <dgm:presLayoutVars>
          <dgm:chMax/>
          <dgm:chPref val="4"/>
        </dgm:presLayoutVars>
      </dgm:prSet>
      <dgm:spPr/>
    </dgm:pt>
    <dgm:pt modelId="{CAB5E5C6-F1F7-4981-805D-955E98F091E0}" type="pres">
      <dgm:prSet presAssocID="{F1C2EF93-A089-400B-A96F-EBDC7B2EC143}" presName="rootComposite" presStyleCnt="0">
        <dgm:presLayoutVars/>
      </dgm:prSet>
      <dgm:spPr/>
    </dgm:pt>
    <dgm:pt modelId="{902E34D9-7EEA-4599-BB0A-67C67AFD7EE0}" type="pres">
      <dgm:prSet presAssocID="{F1C2EF93-A089-400B-A96F-EBDC7B2EC143}" presName="rootText" presStyleLbl="node0" presStyleIdx="0" presStyleCnt="2" custScaleY="337975">
        <dgm:presLayoutVars>
          <dgm:chMax/>
          <dgm:chPref val="4"/>
        </dgm:presLayoutVars>
      </dgm:prSet>
      <dgm:spPr/>
    </dgm:pt>
    <dgm:pt modelId="{F07C932F-8EA7-40CF-BF8C-E9EE9E0C870A}" type="pres">
      <dgm:prSet presAssocID="{F1C2EF93-A089-400B-A96F-EBDC7B2EC143}" presName="childShape" presStyleCnt="0">
        <dgm:presLayoutVars>
          <dgm:chMax val="0"/>
          <dgm:chPref val="0"/>
        </dgm:presLayoutVars>
      </dgm:prSet>
      <dgm:spPr/>
    </dgm:pt>
    <dgm:pt modelId="{9B9ABCA6-A538-412A-906A-9512D7D70F6F}" type="pres">
      <dgm:prSet presAssocID="{15B8B901-7617-4691-A72C-7F75BC46FF1E}" presName="root" presStyleCnt="0">
        <dgm:presLayoutVars>
          <dgm:chMax/>
          <dgm:chPref val="4"/>
        </dgm:presLayoutVars>
      </dgm:prSet>
      <dgm:spPr/>
    </dgm:pt>
    <dgm:pt modelId="{F2CE4E4C-8DE5-469B-AF5E-C7C9EC6E70CB}" type="pres">
      <dgm:prSet presAssocID="{15B8B901-7617-4691-A72C-7F75BC46FF1E}" presName="rootComposite" presStyleCnt="0">
        <dgm:presLayoutVars/>
      </dgm:prSet>
      <dgm:spPr/>
    </dgm:pt>
    <dgm:pt modelId="{229EBB6B-392D-43F2-BB82-99F540E131C7}" type="pres">
      <dgm:prSet presAssocID="{15B8B901-7617-4691-A72C-7F75BC46FF1E}" presName="rootText" presStyleLbl="node0" presStyleIdx="1" presStyleCnt="2" custScaleY="347299">
        <dgm:presLayoutVars>
          <dgm:chMax/>
          <dgm:chPref val="4"/>
        </dgm:presLayoutVars>
      </dgm:prSet>
      <dgm:spPr/>
    </dgm:pt>
    <dgm:pt modelId="{8C7A5028-FBC7-4516-A8A4-24CE2583A449}" type="pres">
      <dgm:prSet presAssocID="{15B8B901-7617-4691-A72C-7F75BC46FF1E}" presName="childShape" presStyleCnt="0">
        <dgm:presLayoutVars>
          <dgm:chMax val="0"/>
          <dgm:chPref val="0"/>
        </dgm:presLayoutVars>
      </dgm:prSet>
      <dgm:spPr/>
    </dgm:pt>
  </dgm:ptLst>
  <dgm:cxnLst>
    <dgm:cxn modelId="{DD28FE08-6B8E-4FA0-A023-5FEB385E764E}" type="presOf" srcId="{2B0AF477-21C1-4225-80FC-615A38AF5160}" destId="{32FB442F-F4C3-4E4D-8107-7CCD3F1C6255}" srcOrd="0" destOrd="0" presId="urn:microsoft.com/office/officeart/2008/layout/PictureAccentList"/>
    <dgm:cxn modelId="{3AD2B214-D704-41C1-9C5C-EB7FB983464D}" srcId="{2B0AF477-21C1-4225-80FC-615A38AF5160}" destId="{15B8B901-7617-4691-A72C-7F75BC46FF1E}" srcOrd="1" destOrd="0" parTransId="{B456C6DE-4F89-4FF8-AD50-6EF32072241A}" sibTransId="{3C501626-9B94-4D8B-B2FB-BB862C4209C4}"/>
    <dgm:cxn modelId="{D9E0114C-208F-4DE0-9D28-915EE061A71B}" srcId="{2B0AF477-21C1-4225-80FC-615A38AF5160}" destId="{F1C2EF93-A089-400B-A96F-EBDC7B2EC143}" srcOrd="0" destOrd="0" parTransId="{8D7BE4CD-C3D7-4058-B251-2A8078B12227}" sibTransId="{31D77C5E-E115-4A69-B462-3EED625EEB2E}"/>
    <dgm:cxn modelId="{F0973257-81CD-4EF6-ADD8-243040ABBE6E}" type="presOf" srcId="{F1C2EF93-A089-400B-A96F-EBDC7B2EC143}" destId="{902E34D9-7EEA-4599-BB0A-67C67AFD7EE0}" srcOrd="0" destOrd="0" presId="urn:microsoft.com/office/officeart/2008/layout/PictureAccentList"/>
    <dgm:cxn modelId="{997AD37C-7CD0-4EFF-ABF3-B267CD3BF208}" type="presOf" srcId="{15B8B901-7617-4691-A72C-7F75BC46FF1E}" destId="{229EBB6B-392D-43F2-BB82-99F540E131C7}" srcOrd="0" destOrd="0" presId="urn:microsoft.com/office/officeart/2008/layout/PictureAccentList"/>
    <dgm:cxn modelId="{54C96927-DE37-45B2-9B5E-157E5804E85A}" type="presParOf" srcId="{32FB442F-F4C3-4E4D-8107-7CCD3F1C6255}" destId="{1BF35792-2A86-412A-89A8-9A8D9D4BD3BF}" srcOrd="0" destOrd="0" presId="urn:microsoft.com/office/officeart/2008/layout/PictureAccentList"/>
    <dgm:cxn modelId="{B133DA06-DFC4-4C8B-BB9E-0B4684A882F4}" type="presParOf" srcId="{1BF35792-2A86-412A-89A8-9A8D9D4BD3BF}" destId="{CAB5E5C6-F1F7-4981-805D-955E98F091E0}" srcOrd="0" destOrd="0" presId="urn:microsoft.com/office/officeart/2008/layout/PictureAccentList"/>
    <dgm:cxn modelId="{B004209F-A0A2-49EB-82C3-499DBF3F22AC}" type="presParOf" srcId="{CAB5E5C6-F1F7-4981-805D-955E98F091E0}" destId="{902E34D9-7EEA-4599-BB0A-67C67AFD7EE0}" srcOrd="0" destOrd="0" presId="urn:microsoft.com/office/officeart/2008/layout/PictureAccentList"/>
    <dgm:cxn modelId="{625D174A-7A70-4753-90E1-8D70C08840C1}" type="presParOf" srcId="{1BF35792-2A86-412A-89A8-9A8D9D4BD3BF}" destId="{F07C932F-8EA7-40CF-BF8C-E9EE9E0C870A}" srcOrd="1" destOrd="0" presId="urn:microsoft.com/office/officeart/2008/layout/PictureAccentList"/>
    <dgm:cxn modelId="{1B5BB173-7613-411F-9C3A-2BED4BB93723}" type="presParOf" srcId="{32FB442F-F4C3-4E4D-8107-7CCD3F1C6255}" destId="{9B9ABCA6-A538-412A-906A-9512D7D70F6F}" srcOrd="1" destOrd="0" presId="urn:microsoft.com/office/officeart/2008/layout/PictureAccentList"/>
    <dgm:cxn modelId="{159F4DEE-088D-49C0-9659-453A6B46C4B6}" type="presParOf" srcId="{9B9ABCA6-A538-412A-906A-9512D7D70F6F}" destId="{F2CE4E4C-8DE5-469B-AF5E-C7C9EC6E70CB}" srcOrd="0" destOrd="0" presId="urn:microsoft.com/office/officeart/2008/layout/PictureAccentList"/>
    <dgm:cxn modelId="{5D3EFA17-C306-4E9A-9FA8-19C74BBA3BF3}" type="presParOf" srcId="{F2CE4E4C-8DE5-469B-AF5E-C7C9EC6E70CB}" destId="{229EBB6B-392D-43F2-BB82-99F540E131C7}" srcOrd="0" destOrd="0" presId="urn:microsoft.com/office/officeart/2008/layout/PictureAccentList"/>
    <dgm:cxn modelId="{78612D2A-3100-4508-949A-AFEA239E8AE7}" type="presParOf" srcId="{9B9ABCA6-A538-412A-906A-9512D7D70F6F}" destId="{8C7A5028-FBC7-4516-A8A4-24CE2583A449}" srcOrd="1" destOrd="0" presId="urn:microsoft.com/office/officeart/2008/layout/PictureAccen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42B3803A-C0BC-46FC-AB28-7C6A1374E26C}" type="doc">
      <dgm:prSet loTypeId="urn:microsoft.com/office/officeart/2005/8/layout/hierarchy4" loCatId="list" qsTypeId="urn:microsoft.com/office/officeart/2005/8/quickstyle/simple1" qsCatId="simple" csTypeId="urn:microsoft.com/office/officeart/2005/8/colors/colorful1" csCatId="colorful" phldr="1"/>
      <dgm:spPr/>
      <dgm:t>
        <a:bodyPr/>
        <a:lstStyle/>
        <a:p>
          <a:endParaRPr lang="en-US"/>
        </a:p>
      </dgm:t>
    </dgm:pt>
    <dgm:pt modelId="{99041CE6-90C1-41C8-A0C2-C8030376833C}">
      <dgm:prSet phldrT="[Text]"/>
      <dgm:spPr/>
      <dgm:t>
        <a:bodyPr/>
        <a:lstStyle/>
        <a:p>
          <a:r>
            <a:rPr lang="en-US" dirty="0"/>
            <a:t>Microsoft Database Compatibility Level </a:t>
          </a:r>
          <a:r>
            <a:rPr lang="en-US" u="sng" dirty="0"/>
            <a:t>Protection</a:t>
          </a:r>
          <a:endParaRPr lang="en-US" dirty="0"/>
        </a:p>
      </dgm:t>
    </dgm:pt>
    <dgm:pt modelId="{90D94BA8-3036-449A-8C11-AAE6FDA2EB34}" type="parTrans" cxnId="{3720A8ED-E3FB-4324-B0B9-2F05AE591D30}">
      <dgm:prSet/>
      <dgm:spPr/>
      <dgm:t>
        <a:bodyPr/>
        <a:lstStyle/>
        <a:p>
          <a:endParaRPr lang="en-US"/>
        </a:p>
      </dgm:t>
    </dgm:pt>
    <dgm:pt modelId="{A5915128-9DDD-4630-AFC5-951A008884D3}" type="sibTrans" cxnId="{3720A8ED-E3FB-4324-B0B9-2F05AE591D30}">
      <dgm:prSet/>
      <dgm:spPr/>
      <dgm:t>
        <a:bodyPr/>
        <a:lstStyle/>
        <a:p>
          <a:endParaRPr lang="en-US"/>
        </a:p>
      </dgm:t>
    </dgm:pt>
    <dgm:pt modelId="{12D9C702-DB8A-47FF-A198-602EBC10A9DD}">
      <dgm:prSet/>
      <dgm:spPr/>
      <dgm:t>
        <a:bodyPr/>
        <a:lstStyle/>
        <a:p>
          <a:r>
            <a:rPr lang="en-US" dirty="0"/>
            <a:t>Full Functional protection once assessment tools runs clean with no errors.</a:t>
          </a:r>
        </a:p>
      </dgm:t>
    </dgm:pt>
    <dgm:pt modelId="{E21B152A-3766-4BA2-8A15-B1C321545E71}" type="parTrans" cxnId="{FF4FC9DD-CA3C-4326-A572-4173F4EC30E8}">
      <dgm:prSet/>
      <dgm:spPr/>
      <dgm:t>
        <a:bodyPr/>
        <a:lstStyle/>
        <a:p>
          <a:endParaRPr lang="en-US"/>
        </a:p>
      </dgm:t>
    </dgm:pt>
    <dgm:pt modelId="{C36239B0-267A-470A-AB0A-5CB632DD6C44}" type="sibTrans" cxnId="{FF4FC9DD-CA3C-4326-A572-4173F4EC30E8}">
      <dgm:prSet/>
      <dgm:spPr/>
      <dgm:t>
        <a:bodyPr/>
        <a:lstStyle/>
        <a:p>
          <a:endParaRPr lang="en-US"/>
        </a:p>
      </dgm:t>
    </dgm:pt>
    <dgm:pt modelId="{B58C766D-9888-403E-B5AE-1DDAAB1D77C7}">
      <dgm:prSet/>
      <dgm:spPr/>
      <dgm:t>
        <a:bodyPr/>
        <a:lstStyle/>
        <a:p>
          <a:r>
            <a:rPr lang="en-US" dirty="0"/>
            <a:t>Query Plan shape protection on comparable hardware.</a:t>
          </a:r>
        </a:p>
      </dgm:t>
    </dgm:pt>
    <dgm:pt modelId="{361C4EDD-C8D8-4B25-A8F7-A1731E1C03AC}" type="parTrans" cxnId="{9D53DC4E-9AF6-483E-AA73-9B5E6A562B86}">
      <dgm:prSet/>
      <dgm:spPr/>
      <dgm:t>
        <a:bodyPr/>
        <a:lstStyle/>
        <a:p>
          <a:endParaRPr lang="en-US"/>
        </a:p>
      </dgm:t>
    </dgm:pt>
    <dgm:pt modelId="{C49F5508-3CA9-4E19-8A93-4900267276DE}" type="sibTrans" cxnId="{9D53DC4E-9AF6-483E-AA73-9B5E6A562B86}">
      <dgm:prSet/>
      <dgm:spPr/>
      <dgm:t>
        <a:bodyPr/>
        <a:lstStyle/>
        <a:p>
          <a:endParaRPr lang="en-US"/>
        </a:p>
      </dgm:t>
    </dgm:pt>
    <dgm:pt modelId="{3E1D04A1-5E7F-4422-828C-C09B4A14D9E8}">
      <dgm:prSet/>
      <dgm:spPr/>
      <dgm:t>
        <a:bodyPr/>
        <a:lstStyle/>
        <a:p>
          <a:r>
            <a:rPr lang="en-US" dirty="0"/>
            <a:t>Maintaining backward compatibility is very important to SQL Server team.</a:t>
          </a:r>
        </a:p>
      </dgm:t>
    </dgm:pt>
    <dgm:pt modelId="{ACEC7677-C1CB-443D-A836-F4936A3F0F31}" type="parTrans" cxnId="{175BCF90-9645-4113-A06B-53846835EFDC}">
      <dgm:prSet/>
      <dgm:spPr/>
      <dgm:t>
        <a:bodyPr/>
        <a:lstStyle/>
        <a:p>
          <a:endParaRPr lang="en-US"/>
        </a:p>
      </dgm:t>
    </dgm:pt>
    <dgm:pt modelId="{0263CD6F-B3FC-4539-964E-A5B9501B556A}" type="sibTrans" cxnId="{175BCF90-9645-4113-A06B-53846835EFDC}">
      <dgm:prSet/>
      <dgm:spPr/>
      <dgm:t>
        <a:bodyPr/>
        <a:lstStyle/>
        <a:p>
          <a:endParaRPr lang="en-US"/>
        </a:p>
      </dgm:t>
    </dgm:pt>
    <dgm:pt modelId="{7B6EB133-E965-4DA1-AEDA-9F56B19073FB}" type="pres">
      <dgm:prSet presAssocID="{42B3803A-C0BC-46FC-AB28-7C6A1374E26C}" presName="Name0" presStyleCnt="0">
        <dgm:presLayoutVars>
          <dgm:chPref val="1"/>
          <dgm:dir/>
          <dgm:animOne val="branch"/>
          <dgm:animLvl val="lvl"/>
          <dgm:resizeHandles/>
        </dgm:presLayoutVars>
      </dgm:prSet>
      <dgm:spPr/>
    </dgm:pt>
    <dgm:pt modelId="{9DEAF91D-988B-436A-B4AD-0FA38680801F}" type="pres">
      <dgm:prSet presAssocID="{99041CE6-90C1-41C8-A0C2-C8030376833C}" presName="vertOne" presStyleCnt="0"/>
      <dgm:spPr/>
    </dgm:pt>
    <dgm:pt modelId="{0F131562-68F0-4B19-9C9B-11EDABF5C6C2}" type="pres">
      <dgm:prSet presAssocID="{99041CE6-90C1-41C8-A0C2-C8030376833C}" presName="txOne" presStyleLbl="node0" presStyleIdx="0" presStyleCnt="1" custScaleY="56530" custLinFactNeighborX="-13878" custLinFactNeighborY="-34886">
        <dgm:presLayoutVars>
          <dgm:chPref val="3"/>
        </dgm:presLayoutVars>
      </dgm:prSet>
      <dgm:spPr/>
    </dgm:pt>
    <dgm:pt modelId="{AB3CB3C0-8712-4BA4-81B8-87F9A0830E47}" type="pres">
      <dgm:prSet presAssocID="{99041CE6-90C1-41C8-A0C2-C8030376833C}" presName="parTransOne" presStyleCnt="0"/>
      <dgm:spPr/>
    </dgm:pt>
    <dgm:pt modelId="{90E14036-F607-48D2-8BB7-691FF71B9DDB}" type="pres">
      <dgm:prSet presAssocID="{99041CE6-90C1-41C8-A0C2-C8030376833C}" presName="horzOne" presStyleCnt="0"/>
      <dgm:spPr/>
    </dgm:pt>
    <dgm:pt modelId="{B6223322-94B2-4196-8422-7042F58D06B8}" type="pres">
      <dgm:prSet presAssocID="{12D9C702-DB8A-47FF-A198-602EBC10A9DD}" presName="vertTwo" presStyleCnt="0"/>
      <dgm:spPr/>
    </dgm:pt>
    <dgm:pt modelId="{BB60262A-7260-41EC-A300-83A70430AB88}" type="pres">
      <dgm:prSet presAssocID="{12D9C702-DB8A-47FF-A198-602EBC10A9DD}" presName="txTwo" presStyleLbl="node2" presStyleIdx="0" presStyleCnt="3">
        <dgm:presLayoutVars>
          <dgm:chPref val="3"/>
        </dgm:presLayoutVars>
      </dgm:prSet>
      <dgm:spPr/>
    </dgm:pt>
    <dgm:pt modelId="{55BC2CBB-6E25-40CC-9A8D-C06CE5B7F0A8}" type="pres">
      <dgm:prSet presAssocID="{12D9C702-DB8A-47FF-A198-602EBC10A9DD}" presName="horzTwo" presStyleCnt="0"/>
      <dgm:spPr/>
    </dgm:pt>
    <dgm:pt modelId="{287E28FA-D374-4A5D-A472-F229463CB04D}" type="pres">
      <dgm:prSet presAssocID="{C36239B0-267A-470A-AB0A-5CB632DD6C44}" presName="sibSpaceTwo" presStyleCnt="0"/>
      <dgm:spPr/>
    </dgm:pt>
    <dgm:pt modelId="{DA53B45B-5499-47F8-A556-0964BFD87D36}" type="pres">
      <dgm:prSet presAssocID="{B58C766D-9888-403E-B5AE-1DDAAB1D77C7}" presName="vertTwo" presStyleCnt="0"/>
      <dgm:spPr/>
    </dgm:pt>
    <dgm:pt modelId="{7818A2DF-6CC5-48A1-A1AD-474D3C9CEE83}" type="pres">
      <dgm:prSet presAssocID="{B58C766D-9888-403E-B5AE-1DDAAB1D77C7}" presName="txTwo" presStyleLbl="node2" presStyleIdx="1" presStyleCnt="3">
        <dgm:presLayoutVars>
          <dgm:chPref val="3"/>
        </dgm:presLayoutVars>
      </dgm:prSet>
      <dgm:spPr/>
    </dgm:pt>
    <dgm:pt modelId="{9B79251B-783E-491A-A9E5-F58B89F63EC8}" type="pres">
      <dgm:prSet presAssocID="{B58C766D-9888-403E-B5AE-1DDAAB1D77C7}" presName="horzTwo" presStyleCnt="0"/>
      <dgm:spPr/>
    </dgm:pt>
    <dgm:pt modelId="{FE2D0123-6B91-4B0E-A0EA-6AE9FCE6D574}" type="pres">
      <dgm:prSet presAssocID="{C49F5508-3CA9-4E19-8A93-4900267276DE}" presName="sibSpaceTwo" presStyleCnt="0"/>
      <dgm:spPr/>
    </dgm:pt>
    <dgm:pt modelId="{56A0D942-50A4-4348-9583-FC96137351ED}" type="pres">
      <dgm:prSet presAssocID="{3E1D04A1-5E7F-4422-828C-C09B4A14D9E8}" presName="vertTwo" presStyleCnt="0"/>
      <dgm:spPr/>
    </dgm:pt>
    <dgm:pt modelId="{3B92D154-099C-4BE2-9BB9-C48EC9DD153F}" type="pres">
      <dgm:prSet presAssocID="{3E1D04A1-5E7F-4422-828C-C09B4A14D9E8}" presName="txTwo" presStyleLbl="node2" presStyleIdx="2" presStyleCnt="3">
        <dgm:presLayoutVars>
          <dgm:chPref val="3"/>
        </dgm:presLayoutVars>
      </dgm:prSet>
      <dgm:spPr/>
    </dgm:pt>
    <dgm:pt modelId="{BB27141E-5621-4AB1-9F06-0F814C66E625}" type="pres">
      <dgm:prSet presAssocID="{3E1D04A1-5E7F-4422-828C-C09B4A14D9E8}" presName="horzTwo" presStyleCnt="0"/>
      <dgm:spPr/>
    </dgm:pt>
  </dgm:ptLst>
  <dgm:cxnLst>
    <dgm:cxn modelId="{D19C6C0F-6071-4D35-88D2-7DA633252AF9}" type="presOf" srcId="{3E1D04A1-5E7F-4422-828C-C09B4A14D9E8}" destId="{3B92D154-099C-4BE2-9BB9-C48EC9DD153F}" srcOrd="0" destOrd="0" presId="urn:microsoft.com/office/officeart/2005/8/layout/hierarchy4"/>
    <dgm:cxn modelId="{46818032-BA35-4235-BB2E-BB6751F92E86}" type="presOf" srcId="{B58C766D-9888-403E-B5AE-1DDAAB1D77C7}" destId="{7818A2DF-6CC5-48A1-A1AD-474D3C9CEE83}" srcOrd="0" destOrd="0" presId="urn:microsoft.com/office/officeart/2005/8/layout/hierarchy4"/>
    <dgm:cxn modelId="{EFE2EE32-C1A4-465C-9811-39200747025B}" type="presOf" srcId="{99041CE6-90C1-41C8-A0C2-C8030376833C}" destId="{0F131562-68F0-4B19-9C9B-11EDABF5C6C2}" srcOrd="0" destOrd="0" presId="urn:microsoft.com/office/officeart/2005/8/layout/hierarchy4"/>
    <dgm:cxn modelId="{9D53DC4E-9AF6-483E-AA73-9B5E6A562B86}" srcId="{99041CE6-90C1-41C8-A0C2-C8030376833C}" destId="{B58C766D-9888-403E-B5AE-1DDAAB1D77C7}" srcOrd="1" destOrd="0" parTransId="{361C4EDD-C8D8-4B25-A8F7-A1731E1C03AC}" sibTransId="{C49F5508-3CA9-4E19-8A93-4900267276DE}"/>
    <dgm:cxn modelId="{CCD2527F-CC1A-43B0-85AB-5C7AFA6D610E}" type="presOf" srcId="{12D9C702-DB8A-47FF-A198-602EBC10A9DD}" destId="{BB60262A-7260-41EC-A300-83A70430AB88}" srcOrd="0" destOrd="0" presId="urn:microsoft.com/office/officeart/2005/8/layout/hierarchy4"/>
    <dgm:cxn modelId="{5243DC87-BD8E-4D91-B59A-F1A624514EEB}" type="presOf" srcId="{42B3803A-C0BC-46FC-AB28-7C6A1374E26C}" destId="{7B6EB133-E965-4DA1-AEDA-9F56B19073FB}" srcOrd="0" destOrd="0" presId="urn:microsoft.com/office/officeart/2005/8/layout/hierarchy4"/>
    <dgm:cxn modelId="{175BCF90-9645-4113-A06B-53846835EFDC}" srcId="{99041CE6-90C1-41C8-A0C2-C8030376833C}" destId="{3E1D04A1-5E7F-4422-828C-C09B4A14D9E8}" srcOrd="2" destOrd="0" parTransId="{ACEC7677-C1CB-443D-A836-F4936A3F0F31}" sibTransId="{0263CD6F-B3FC-4539-964E-A5B9501B556A}"/>
    <dgm:cxn modelId="{FF4FC9DD-CA3C-4326-A572-4173F4EC30E8}" srcId="{99041CE6-90C1-41C8-A0C2-C8030376833C}" destId="{12D9C702-DB8A-47FF-A198-602EBC10A9DD}" srcOrd="0" destOrd="0" parTransId="{E21B152A-3766-4BA2-8A15-B1C321545E71}" sibTransId="{C36239B0-267A-470A-AB0A-5CB632DD6C44}"/>
    <dgm:cxn modelId="{3720A8ED-E3FB-4324-B0B9-2F05AE591D30}" srcId="{42B3803A-C0BC-46FC-AB28-7C6A1374E26C}" destId="{99041CE6-90C1-41C8-A0C2-C8030376833C}" srcOrd="0" destOrd="0" parTransId="{90D94BA8-3036-449A-8C11-AAE6FDA2EB34}" sibTransId="{A5915128-9DDD-4630-AFC5-951A008884D3}"/>
    <dgm:cxn modelId="{00F7E771-1A4F-4069-BBCA-09410F119D3C}" type="presParOf" srcId="{7B6EB133-E965-4DA1-AEDA-9F56B19073FB}" destId="{9DEAF91D-988B-436A-B4AD-0FA38680801F}" srcOrd="0" destOrd="0" presId="urn:microsoft.com/office/officeart/2005/8/layout/hierarchy4"/>
    <dgm:cxn modelId="{4ACE5188-FED3-418B-A070-033B33A58F09}" type="presParOf" srcId="{9DEAF91D-988B-436A-B4AD-0FA38680801F}" destId="{0F131562-68F0-4B19-9C9B-11EDABF5C6C2}" srcOrd="0" destOrd="0" presId="urn:microsoft.com/office/officeart/2005/8/layout/hierarchy4"/>
    <dgm:cxn modelId="{632148F2-B851-4009-849D-63A089183C10}" type="presParOf" srcId="{9DEAF91D-988B-436A-B4AD-0FA38680801F}" destId="{AB3CB3C0-8712-4BA4-81B8-87F9A0830E47}" srcOrd="1" destOrd="0" presId="urn:microsoft.com/office/officeart/2005/8/layout/hierarchy4"/>
    <dgm:cxn modelId="{85E55806-0320-45FA-BC7E-C8DA8764BFE7}" type="presParOf" srcId="{9DEAF91D-988B-436A-B4AD-0FA38680801F}" destId="{90E14036-F607-48D2-8BB7-691FF71B9DDB}" srcOrd="2" destOrd="0" presId="urn:microsoft.com/office/officeart/2005/8/layout/hierarchy4"/>
    <dgm:cxn modelId="{840303A4-5CFA-4EFD-8025-EFC8A8747B43}" type="presParOf" srcId="{90E14036-F607-48D2-8BB7-691FF71B9DDB}" destId="{B6223322-94B2-4196-8422-7042F58D06B8}" srcOrd="0" destOrd="0" presId="urn:microsoft.com/office/officeart/2005/8/layout/hierarchy4"/>
    <dgm:cxn modelId="{F20A9E2C-4405-4049-84A7-47C042C04F5F}" type="presParOf" srcId="{B6223322-94B2-4196-8422-7042F58D06B8}" destId="{BB60262A-7260-41EC-A300-83A70430AB88}" srcOrd="0" destOrd="0" presId="urn:microsoft.com/office/officeart/2005/8/layout/hierarchy4"/>
    <dgm:cxn modelId="{9C2F95F6-80C2-4662-9802-6ED667680258}" type="presParOf" srcId="{B6223322-94B2-4196-8422-7042F58D06B8}" destId="{55BC2CBB-6E25-40CC-9A8D-C06CE5B7F0A8}" srcOrd="1" destOrd="0" presId="urn:microsoft.com/office/officeart/2005/8/layout/hierarchy4"/>
    <dgm:cxn modelId="{B566995C-D5C2-4F78-8A6A-6814F636FD71}" type="presParOf" srcId="{90E14036-F607-48D2-8BB7-691FF71B9DDB}" destId="{287E28FA-D374-4A5D-A472-F229463CB04D}" srcOrd="1" destOrd="0" presId="urn:microsoft.com/office/officeart/2005/8/layout/hierarchy4"/>
    <dgm:cxn modelId="{8D8BF93C-A18F-44E7-A345-47BEA82FAF04}" type="presParOf" srcId="{90E14036-F607-48D2-8BB7-691FF71B9DDB}" destId="{DA53B45B-5499-47F8-A556-0964BFD87D36}" srcOrd="2" destOrd="0" presId="urn:microsoft.com/office/officeart/2005/8/layout/hierarchy4"/>
    <dgm:cxn modelId="{B688EC78-A849-48CB-9C9C-3240F25BBBED}" type="presParOf" srcId="{DA53B45B-5499-47F8-A556-0964BFD87D36}" destId="{7818A2DF-6CC5-48A1-A1AD-474D3C9CEE83}" srcOrd="0" destOrd="0" presId="urn:microsoft.com/office/officeart/2005/8/layout/hierarchy4"/>
    <dgm:cxn modelId="{4608DEE6-957D-4AEB-811E-0BBEE4B61DD9}" type="presParOf" srcId="{DA53B45B-5499-47F8-A556-0964BFD87D36}" destId="{9B79251B-783E-491A-A9E5-F58B89F63EC8}" srcOrd="1" destOrd="0" presId="urn:microsoft.com/office/officeart/2005/8/layout/hierarchy4"/>
    <dgm:cxn modelId="{D3CC74D2-B098-4992-BFCA-5D7E349FB592}" type="presParOf" srcId="{90E14036-F607-48D2-8BB7-691FF71B9DDB}" destId="{FE2D0123-6B91-4B0E-A0EA-6AE9FCE6D574}" srcOrd="3" destOrd="0" presId="urn:microsoft.com/office/officeart/2005/8/layout/hierarchy4"/>
    <dgm:cxn modelId="{EB7CA100-1FED-4BE2-9349-2655B94E3B79}" type="presParOf" srcId="{90E14036-F607-48D2-8BB7-691FF71B9DDB}" destId="{56A0D942-50A4-4348-9583-FC96137351ED}" srcOrd="4" destOrd="0" presId="urn:microsoft.com/office/officeart/2005/8/layout/hierarchy4"/>
    <dgm:cxn modelId="{4F2002BB-CED5-4FE4-8E89-447044FE5854}" type="presParOf" srcId="{56A0D942-50A4-4348-9583-FC96137351ED}" destId="{3B92D154-099C-4BE2-9BB9-C48EC9DD153F}" srcOrd="0" destOrd="0" presId="urn:microsoft.com/office/officeart/2005/8/layout/hierarchy4"/>
    <dgm:cxn modelId="{9FDD906B-4D86-468A-B6A1-7C8E25BCF1B5}" type="presParOf" srcId="{56A0D942-50A4-4348-9583-FC96137351ED}" destId="{BB27141E-5621-4AB1-9F06-0F814C66E625}" srcOrd="1" destOrd="0" presId="urn:microsoft.com/office/officeart/2005/8/layout/hierarchy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F32B127-5802-4115-98D9-1D04E4767F1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53D7EFAD-9D69-4131-B665-D784611009F2}">
      <dgm:prSet phldrT="[Text]"/>
      <dgm:spPr/>
      <dgm:t>
        <a:bodyPr/>
        <a:lstStyle/>
        <a:p>
          <a:pPr algn="ctr"/>
          <a:r>
            <a:rPr lang="en-US" dirty="0"/>
            <a:t>SQL Server 2016 SP1/2017</a:t>
          </a:r>
        </a:p>
      </dgm:t>
    </dgm:pt>
    <dgm:pt modelId="{667211BE-884C-4748-9590-BCA1EAA647FD}" type="parTrans" cxnId="{65520CBD-22DB-4683-909D-9F25C21B1F87}">
      <dgm:prSet/>
      <dgm:spPr/>
      <dgm:t>
        <a:bodyPr/>
        <a:lstStyle/>
        <a:p>
          <a:endParaRPr lang="en-US"/>
        </a:p>
      </dgm:t>
    </dgm:pt>
    <dgm:pt modelId="{1E2345BE-2458-4C6F-BC98-B5B3F86981E7}" type="sibTrans" cxnId="{65520CBD-22DB-4683-909D-9F25C21B1F87}">
      <dgm:prSet/>
      <dgm:spPr/>
      <dgm:t>
        <a:bodyPr/>
        <a:lstStyle/>
        <a:p>
          <a:endParaRPr lang="en-US"/>
        </a:p>
      </dgm:t>
    </dgm:pt>
    <dgm:pt modelId="{93965B70-4792-44F1-AEE8-C922889DD887}">
      <dgm:prSet phldrT="[Text]"/>
      <dgm:spPr/>
      <dgm:t>
        <a:bodyPr/>
        <a:lstStyle/>
        <a:p>
          <a:r>
            <a:rPr lang="en-US" dirty="0"/>
            <a:t>Trace flag 7412</a:t>
          </a:r>
        </a:p>
      </dgm:t>
    </dgm:pt>
    <dgm:pt modelId="{AF6CBFEB-FA1C-467C-9266-BD06C3082274}" type="parTrans" cxnId="{26143243-C902-4D2D-AAA4-0A1A960E0172}">
      <dgm:prSet/>
      <dgm:spPr/>
      <dgm:t>
        <a:bodyPr/>
        <a:lstStyle/>
        <a:p>
          <a:endParaRPr lang="en-US"/>
        </a:p>
      </dgm:t>
    </dgm:pt>
    <dgm:pt modelId="{70D492B5-E811-46F5-98A8-B615493C7C77}" type="sibTrans" cxnId="{26143243-C902-4D2D-AAA4-0A1A960E0172}">
      <dgm:prSet/>
      <dgm:spPr/>
      <dgm:t>
        <a:bodyPr/>
        <a:lstStyle/>
        <a:p>
          <a:endParaRPr lang="en-US"/>
        </a:p>
      </dgm:t>
    </dgm:pt>
    <dgm:pt modelId="{EA30451F-2E86-4CBA-B89B-16CEF8F265BD}">
      <dgm:prSet phldrT="[Text]"/>
      <dgm:spPr/>
      <dgm:t>
        <a:bodyPr/>
        <a:lstStyle/>
        <a:p>
          <a:r>
            <a:rPr lang="en-US" dirty="0"/>
            <a:t>XEvent query_thread_profile</a:t>
          </a:r>
        </a:p>
      </dgm:t>
    </dgm:pt>
    <dgm:pt modelId="{12CF15AE-1DB7-4C13-BB09-D721E593EF4D}" type="parTrans" cxnId="{6E792C79-D258-4435-AB62-8380657896AB}">
      <dgm:prSet/>
      <dgm:spPr/>
      <dgm:t>
        <a:bodyPr/>
        <a:lstStyle/>
        <a:p>
          <a:endParaRPr lang="en-US"/>
        </a:p>
      </dgm:t>
    </dgm:pt>
    <dgm:pt modelId="{D4260A18-1872-4FCA-90A1-486464E88BC2}" type="sibTrans" cxnId="{6E792C79-D258-4435-AB62-8380657896AB}">
      <dgm:prSet/>
      <dgm:spPr/>
      <dgm:t>
        <a:bodyPr/>
        <a:lstStyle/>
        <a:p>
          <a:endParaRPr lang="en-US"/>
        </a:p>
      </dgm:t>
    </dgm:pt>
    <dgm:pt modelId="{85156093-72B5-4363-B5F5-9C11AD7DEAB1}">
      <dgm:prSet phldrT="[Text]"/>
      <dgm:spPr/>
      <dgm:t>
        <a:bodyPr/>
        <a:lstStyle/>
        <a:p>
          <a:r>
            <a:rPr lang="en-US" dirty="0"/>
            <a:t>SQL Server 2019</a:t>
          </a:r>
        </a:p>
      </dgm:t>
    </dgm:pt>
    <dgm:pt modelId="{D7981A02-0BE7-4496-90E4-8357B0089380}" type="parTrans" cxnId="{0AF93085-A8C7-4C24-BA01-C3EBC7B44D59}">
      <dgm:prSet/>
      <dgm:spPr/>
      <dgm:t>
        <a:bodyPr/>
        <a:lstStyle/>
        <a:p>
          <a:endParaRPr lang="en-US"/>
        </a:p>
      </dgm:t>
    </dgm:pt>
    <dgm:pt modelId="{F502CCE8-A2AE-4D73-8881-2FA48CC14A21}" type="sibTrans" cxnId="{0AF93085-A8C7-4C24-BA01-C3EBC7B44D59}">
      <dgm:prSet/>
      <dgm:spPr/>
      <dgm:t>
        <a:bodyPr/>
        <a:lstStyle/>
        <a:p>
          <a:endParaRPr lang="en-US"/>
        </a:p>
      </dgm:t>
    </dgm:pt>
    <dgm:pt modelId="{A4D7A248-2BCF-46C0-9337-C76AE875CC88}">
      <dgm:prSet phldrT="[Text]"/>
      <dgm:spPr/>
      <dgm:t>
        <a:bodyPr/>
        <a:lstStyle/>
        <a:p>
          <a:r>
            <a:rPr lang="en-US" dirty="0"/>
            <a:t>On by default. No knobs required</a:t>
          </a:r>
        </a:p>
      </dgm:t>
    </dgm:pt>
    <dgm:pt modelId="{F8BD9CE0-35A8-47B2-9350-E2F5E9B5AAAE}" type="parTrans" cxnId="{41FA21CD-85F3-4FB4-98E8-C384FBFB0F3D}">
      <dgm:prSet/>
      <dgm:spPr/>
      <dgm:t>
        <a:bodyPr/>
        <a:lstStyle/>
        <a:p>
          <a:endParaRPr lang="en-US"/>
        </a:p>
      </dgm:t>
    </dgm:pt>
    <dgm:pt modelId="{38905E8B-E7A7-4B5E-AA16-A9E684D37EE5}" type="sibTrans" cxnId="{41FA21CD-85F3-4FB4-98E8-C384FBFB0F3D}">
      <dgm:prSet/>
      <dgm:spPr/>
      <dgm:t>
        <a:bodyPr/>
        <a:lstStyle/>
        <a:p>
          <a:endParaRPr lang="en-US"/>
        </a:p>
      </dgm:t>
    </dgm:pt>
    <dgm:pt modelId="{C70A7381-E7ED-45BE-9458-3C60AE6CCEC5}" type="pres">
      <dgm:prSet presAssocID="{2F32B127-5802-4115-98D9-1D04E4767F15}" presName="linear" presStyleCnt="0">
        <dgm:presLayoutVars>
          <dgm:animLvl val="lvl"/>
          <dgm:resizeHandles val="exact"/>
        </dgm:presLayoutVars>
      </dgm:prSet>
      <dgm:spPr/>
    </dgm:pt>
    <dgm:pt modelId="{C6E835C1-CAA7-4C71-892C-77159276F6BE}" type="pres">
      <dgm:prSet presAssocID="{53D7EFAD-9D69-4131-B665-D784611009F2}" presName="parentText" presStyleLbl="node1" presStyleIdx="0" presStyleCnt="2">
        <dgm:presLayoutVars>
          <dgm:chMax val="0"/>
          <dgm:bulletEnabled val="1"/>
        </dgm:presLayoutVars>
      </dgm:prSet>
      <dgm:spPr/>
    </dgm:pt>
    <dgm:pt modelId="{F4F491F2-8310-4EDC-83BE-3E4CB6BFF77F}" type="pres">
      <dgm:prSet presAssocID="{53D7EFAD-9D69-4131-B665-D784611009F2}" presName="childText" presStyleLbl="revTx" presStyleIdx="0" presStyleCnt="2">
        <dgm:presLayoutVars>
          <dgm:bulletEnabled val="1"/>
        </dgm:presLayoutVars>
      </dgm:prSet>
      <dgm:spPr/>
    </dgm:pt>
    <dgm:pt modelId="{DBA002F5-D519-4947-B33A-10D9DE2462FC}" type="pres">
      <dgm:prSet presAssocID="{85156093-72B5-4363-B5F5-9C11AD7DEAB1}" presName="parentText" presStyleLbl="node1" presStyleIdx="1" presStyleCnt="2">
        <dgm:presLayoutVars>
          <dgm:chMax val="0"/>
          <dgm:bulletEnabled val="1"/>
        </dgm:presLayoutVars>
      </dgm:prSet>
      <dgm:spPr/>
    </dgm:pt>
    <dgm:pt modelId="{C9D982FD-C3C7-4ABC-BA98-1B99ACA1F6D7}" type="pres">
      <dgm:prSet presAssocID="{85156093-72B5-4363-B5F5-9C11AD7DEAB1}" presName="childText" presStyleLbl="revTx" presStyleIdx="1" presStyleCnt="2">
        <dgm:presLayoutVars>
          <dgm:bulletEnabled val="1"/>
        </dgm:presLayoutVars>
      </dgm:prSet>
      <dgm:spPr/>
    </dgm:pt>
  </dgm:ptLst>
  <dgm:cxnLst>
    <dgm:cxn modelId="{BD6B9827-13EC-4B19-9D7E-4B8853ECDABA}" type="presOf" srcId="{EA30451F-2E86-4CBA-B89B-16CEF8F265BD}" destId="{F4F491F2-8310-4EDC-83BE-3E4CB6BFF77F}" srcOrd="0" destOrd="1" presId="urn:microsoft.com/office/officeart/2005/8/layout/vList2"/>
    <dgm:cxn modelId="{711D4C2F-D16D-4A73-A0AE-C758D0E21859}" type="presOf" srcId="{A4D7A248-2BCF-46C0-9337-C76AE875CC88}" destId="{C9D982FD-C3C7-4ABC-BA98-1B99ACA1F6D7}" srcOrd="0" destOrd="0" presId="urn:microsoft.com/office/officeart/2005/8/layout/vList2"/>
    <dgm:cxn modelId="{26143243-C902-4D2D-AAA4-0A1A960E0172}" srcId="{53D7EFAD-9D69-4131-B665-D784611009F2}" destId="{93965B70-4792-44F1-AEE8-C922889DD887}" srcOrd="0" destOrd="0" parTransId="{AF6CBFEB-FA1C-467C-9266-BD06C3082274}" sibTransId="{70D492B5-E811-46F5-98A8-B615493C7C77}"/>
    <dgm:cxn modelId="{AAA6444F-83C6-4AB2-8113-0FC8108A89D9}" type="presOf" srcId="{93965B70-4792-44F1-AEE8-C922889DD887}" destId="{F4F491F2-8310-4EDC-83BE-3E4CB6BFF77F}" srcOrd="0" destOrd="0" presId="urn:microsoft.com/office/officeart/2005/8/layout/vList2"/>
    <dgm:cxn modelId="{A2A49A72-78AC-4F30-A6F7-A2A55883F7E4}" type="presOf" srcId="{85156093-72B5-4363-B5F5-9C11AD7DEAB1}" destId="{DBA002F5-D519-4947-B33A-10D9DE2462FC}" srcOrd="0" destOrd="0" presId="urn:microsoft.com/office/officeart/2005/8/layout/vList2"/>
    <dgm:cxn modelId="{6E792C79-D258-4435-AB62-8380657896AB}" srcId="{53D7EFAD-9D69-4131-B665-D784611009F2}" destId="{EA30451F-2E86-4CBA-B89B-16CEF8F265BD}" srcOrd="1" destOrd="0" parTransId="{12CF15AE-1DB7-4C13-BB09-D721E593EF4D}" sibTransId="{D4260A18-1872-4FCA-90A1-486464E88BC2}"/>
    <dgm:cxn modelId="{CCE35880-8BA3-4B58-A370-A0E6B37B5366}" type="presOf" srcId="{2F32B127-5802-4115-98D9-1D04E4767F15}" destId="{C70A7381-E7ED-45BE-9458-3C60AE6CCEC5}" srcOrd="0" destOrd="0" presId="urn:microsoft.com/office/officeart/2005/8/layout/vList2"/>
    <dgm:cxn modelId="{0AF93085-A8C7-4C24-BA01-C3EBC7B44D59}" srcId="{2F32B127-5802-4115-98D9-1D04E4767F15}" destId="{85156093-72B5-4363-B5F5-9C11AD7DEAB1}" srcOrd="1" destOrd="0" parTransId="{D7981A02-0BE7-4496-90E4-8357B0089380}" sibTransId="{F502CCE8-A2AE-4D73-8881-2FA48CC14A21}"/>
    <dgm:cxn modelId="{68A8E696-460C-4316-A460-CCD7E4D22CCA}" type="presOf" srcId="{53D7EFAD-9D69-4131-B665-D784611009F2}" destId="{C6E835C1-CAA7-4C71-892C-77159276F6BE}" srcOrd="0" destOrd="0" presId="urn:microsoft.com/office/officeart/2005/8/layout/vList2"/>
    <dgm:cxn modelId="{65520CBD-22DB-4683-909D-9F25C21B1F87}" srcId="{2F32B127-5802-4115-98D9-1D04E4767F15}" destId="{53D7EFAD-9D69-4131-B665-D784611009F2}" srcOrd="0" destOrd="0" parTransId="{667211BE-884C-4748-9590-BCA1EAA647FD}" sibTransId="{1E2345BE-2458-4C6F-BC98-B5B3F86981E7}"/>
    <dgm:cxn modelId="{41FA21CD-85F3-4FB4-98E8-C384FBFB0F3D}" srcId="{85156093-72B5-4363-B5F5-9C11AD7DEAB1}" destId="{A4D7A248-2BCF-46C0-9337-C76AE875CC88}" srcOrd="0" destOrd="0" parTransId="{F8BD9CE0-35A8-47B2-9350-E2F5E9B5AAAE}" sibTransId="{38905E8B-E7A7-4B5E-AA16-A9E684D37EE5}"/>
    <dgm:cxn modelId="{2EABF8C7-8544-4D41-B0FB-8EE1EAB5CD2C}" type="presParOf" srcId="{C70A7381-E7ED-45BE-9458-3C60AE6CCEC5}" destId="{C6E835C1-CAA7-4C71-892C-77159276F6BE}" srcOrd="0" destOrd="0" presId="urn:microsoft.com/office/officeart/2005/8/layout/vList2"/>
    <dgm:cxn modelId="{3B35F175-09F8-4349-8876-C8D2852DDC51}" type="presParOf" srcId="{C70A7381-E7ED-45BE-9458-3C60AE6CCEC5}" destId="{F4F491F2-8310-4EDC-83BE-3E4CB6BFF77F}" srcOrd="1" destOrd="0" presId="urn:microsoft.com/office/officeart/2005/8/layout/vList2"/>
    <dgm:cxn modelId="{429619F1-F96D-48B8-9648-688C25D922FC}" type="presParOf" srcId="{C70A7381-E7ED-45BE-9458-3C60AE6CCEC5}" destId="{DBA002F5-D519-4947-B33A-10D9DE2462FC}" srcOrd="2" destOrd="0" presId="urn:microsoft.com/office/officeart/2005/8/layout/vList2"/>
    <dgm:cxn modelId="{51904D07-3036-4793-AECE-8DA6E3720B59}" type="presParOf" srcId="{C70A7381-E7ED-45BE-9458-3C60AE6CCEC5}" destId="{C9D982FD-C3C7-4ABC-BA98-1B99ACA1F6D7}" srcOrd="3"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F32B127-5802-4115-98D9-1D04E4767F1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53D7EFAD-9D69-4131-B665-D784611009F2}">
      <dgm:prSet phldrT="[Text]"/>
      <dgm:spPr/>
      <dgm:t>
        <a:bodyPr/>
        <a:lstStyle/>
        <a:p>
          <a:pPr algn="ctr"/>
          <a:r>
            <a:rPr lang="en-US" dirty="0"/>
            <a:t>Solution</a:t>
          </a:r>
        </a:p>
      </dgm:t>
    </dgm:pt>
    <dgm:pt modelId="{667211BE-884C-4748-9590-BCA1EAA647FD}" type="parTrans" cxnId="{65520CBD-22DB-4683-909D-9F25C21B1F87}">
      <dgm:prSet/>
      <dgm:spPr/>
      <dgm:t>
        <a:bodyPr/>
        <a:lstStyle/>
        <a:p>
          <a:endParaRPr lang="en-US"/>
        </a:p>
      </dgm:t>
    </dgm:pt>
    <dgm:pt modelId="{1E2345BE-2458-4C6F-BC98-B5B3F86981E7}" type="sibTrans" cxnId="{65520CBD-22DB-4683-909D-9F25C21B1F87}">
      <dgm:prSet/>
      <dgm:spPr/>
      <dgm:t>
        <a:bodyPr/>
        <a:lstStyle/>
        <a:p>
          <a:endParaRPr lang="en-US"/>
        </a:p>
      </dgm:t>
    </dgm:pt>
    <dgm:pt modelId="{93965B70-4792-44F1-AEE8-C922889DD887}">
      <dgm:prSet phldrT="[Text]"/>
      <dgm:spPr/>
      <dgm:t>
        <a:bodyPr/>
        <a:lstStyle/>
        <a:p>
          <a:r>
            <a:rPr lang="en-US" dirty="0"/>
            <a:t>Create multiple files to partition allocation pages</a:t>
          </a:r>
        </a:p>
      </dgm:t>
    </dgm:pt>
    <dgm:pt modelId="{AF6CBFEB-FA1C-467C-9266-BD06C3082274}" type="parTrans" cxnId="{26143243-C902-4D2D-AAA4-0A1A960E0172}">
      <dgm:prSet/>
      <dgm:spPr/>
      <dgm:t>
        <a:bodyPr/>
        <a:lstStyle/>
        <a:p>
          <a:endParaRPr lang="en-US"/>
        </a:p>
      </dgm:t>
    </dgm:pt>
    <dgm:pt modelId="{70D492B5-E811-46F5-98A8-B615493C7C77}" type="sibTrans" cxnId="{26143243-C902-4D2D-AAA4-0A1A960E0172}">
      <dgm:prSet/>
      <dgm:spPr/>
      <dgm:t>
        <a:bodyPr/>
        <a:lstStyle/>
        <a:p>
          <a:endParaRPr lang="en-US"/>
        </a:p>
      </dgm:t>
    </dgm:pt>
    <dgm:pt modelId="{6F7771A7-8DE3-4434-A4EB-93A4C5748996}">
      <dgm:prSet phldrT="[Text]"/>
      <dgm:spPr/>
      <dgm:t>
        <a:bodyPr/>
        <a:lstStyle/>
        <a:p>
          <a:r>
            <a:rPr lang="en-US" dirty="0"/>
            <a:t>SQL Server 2017+ creates multiple tempdb files during setup</a:t>
          </a:r>
        </a:p>
      </dgm:t>
    </dgm:pt>
    <dgm:pt modelId="{32D060B8-F64C-4318-9C0C-2B8771EF82F1}" type="parTrans" cxnId="{521ACD03-0434-45E4-BF8A-330A296ED380}">
      <dgm:prSet/>
      <dgm:spPr/>
      <dgm:t>
        <a:bodyPr/>
        <a:lstStyle/>
        <a:p>
          <a:endParaRPr lang="en-US"/>
        </a:p>
      </dgm:t>
    </dgm:pt>
    <dgm:pt modelId="{7E04BC6C-57E5-4E2F-BCBA-EFC112C7695F}" type="sibTrans" cxnId="{521ACD03-0434-45E4-BF8A-330A296ED380}">
      <dgm:prSet/>
      <dgm:spPr/>
      <dgm:t>
        <a:bodyPr/>
        <a:lstStyle/>
        <a:p>
          <a:endParaRPr lang="en-US"/>
        </a:p>
      </dgm:t>
    </dgm:pt>
    <dgm:pt modelId="{932117D4-D236-43A4-B5BD-C2FC81F70BE1}">
      <dgm:prSet phldrT="[Text]"/>
      <dgm:spPr/>
      <dgm:t>
        <a:bodyPr/>
        <a:lstStyle/>
        <a:p>
          <a:r>
            <a:rPr lang="en-US" dirty="0"/>
            <a:t>Start with 8 and add by 4 until concurrency alleviated</a:t>
          </a:r>
        </a:p>
      </dgm:t>
    </dgm:pt>
    <dgm:pt modelId="{B7B5521E-696E-4B88-9673-17EA5EEACB49}" type="parTrans" cxnId="{39133227-E904-4FCE-AA02-5C75E3D82A2C}">
      <dgm:prSet/>
      <dgm:spPr/>
      <dgm:t>
        <a:bodyPr/>
        <a:lstStyle/>
        <a:p>
          <a:endParaRPr lang="en-US"/>
        </a:p>
      </dgm:t>
    </dgm:pt>
    <dgm:pt modelId="{DE5D9BEE-6E34-4BB5-AB95-5FACE9C207B3}" type="sibTrans" cxnId="{39133227-E904-4FCE-AA02-5C75E3D82A2C}">
      <dgm:prSet/>
      <dgm:spPr/>
      <dgm:t>
        <a:bodyPr/>
        <a:lstStyle/>
        <a:p>
          <a:endParaRPr lang="en-US"/>
        </a:p>
      </dgm:t>
    </dgm:pt>
    <dgm:pt modelId="{55FE9D73-7AC9-4F52-AE45-14B7F0EE4962}">
      <dgm:prSet phldrT="[Text]"/>
      <dgm:spPr/>
      <dgm:t>
        <a:bodyPr/>
        <a:lstStyle/>
        <a:p>
          <a:r>
            <a:rPr lang="en-US" dirty="0"/>
            <a:t>But…what about system tables?</a:t>
          </a:r>
        </a:p>
      </dgm:t>
    </dgm:pt>
    <dgm:pt modelId="{C8EED717-4BD9-497B-AAED-70F7EBE4DA2A}" type="parTrans" cxnId="{8B6EED28-7D47-4DFD-A5F0-80CA50082E4C}">
      <dgm:prSet/>
      <dgm:spPr/>
      <dgm:t>
        <a:bodyPr/>
        <a:lstStyle/>
        <a:p>
          <a:endParaRPr lang="en-US"/>
        </a:p>
      </dgm:t>
    </dgm:pt>
    <dgm:pt modelId="{B1DBD821-8FEB-4AE3-A472-333AE6798CCE}" type="sibTrans" cxnId="{8B6EED28-7D47-4DFD-A5F0-80CA50082E4C}">
      <dgm:prSet/>
      <dgm:spPr/>
      <dgm:t>
        <a:bodyPr/>
        <a:lstStyle/>
        <a:p>
          <a:endParaRPr lang="en-US"/>
        </a:p>
      </dgm:t>
    </dgm:pt>
    <dgm:pt modelId="{C70A7381-E7ED-45BE-9458-3C60AE6CCEC5}" type="pres">
      <dgm:prSet presAssocID="{2F32B127-5802-4115-98D9-1D04E4767F15}" presName="linear" presStyleCnt="0">
        <dgm:presLayoutVars>
          <dgm:animLvl val="lvl"/>
          <dgm:resizeHandles val="exact"/>
        </dgm:presLayoutVars>
      </dgm:prSet>
      <dgm:spPr/>
    </dgm:pt>
    <dgm:pt modelId="{C6E835C1-CAA7-4C71-892C-77159276F6BE}" type="pres">
      <dgm:prSet presAssocID="{53D7EFAD-9D69-4131-B665-D784611009F2}" presName="parentText" presStyleLbl="node1" presStyleIdx="0" presStyleCnt="1">
        <dgm:presLayoutVars>
          <dgm:chMax val="0"/>
          <dgm:bulletEnabled val="1"/>
        </dgm:presLayoutVars>
      </dgm:prSet>
      <dgm:spPr/>
    </dgm:pt>
    <dgm:pt modelId="{F4F491F2-8310-4EDC-83BE-3E4CB6BFF77F}" type="pres">
      <dgm:prSet presAssocID="{53D7EFAD-9D69-4131-B665-D784611009F2}" presName="childText" presStyleLbl="revTx" presStyleIdx="0" presStyleCnt="1">
        <dgm:presLayoutVars>
          <dgm:bulletEnabled val="1"/>
        </dgm:presLayoutVars>
      </dgm:prSet>
      <dgm:spPr/>
    </dgm:pt>
  </dgm:ptLst>
  <dgm:cxnLst>
    <dgm:cxn modelId="{521ACD03-0434-45E4-BF8A-330A296ED380}" srcId="{53D7EFAD-9D69-4131-B665-D784611009F2}" destId="{6F7771A7-8DE3-4434-A4EB-93A4C5748996}" srcOrd="1" destOrd="0" parTransId="{32D060B8-F64C-4318-9C0C-2B8771EF82F1}" sibTransId="{7E04BC6C-57E5-4E2F-BCBA-EFC112C7695F}"/>
    <dgm:cxn modelId="{39133227-E904-4FCE-AA02-5C75E3D82A2C}" srcId="{53D7EFAD-9D69-4131-B665-D784611009F2}" destId="{932117D4-D236-43A4-B5BD-C2FC81F70BE1}" srcOrd="2" destOrd="0" parTransId="{B7B5521E-696E-4B88-9673-17EA5EEACB49}" sibTransId="{DE5D9BEE-6E34-4BB5-AB95-5FACE9C207B3}"/>
    <dgm:cxn modelId="{8B6EED28-7D47-4DFD-A5F0-80CA50082E4C}" srcId="{53D7EFAD-9D69-4131-B665-D784611009F2}" destId="{55FE9D73-7AC9-4F52-AE45-14B7F0EE4962}" srcOrd="3" destOrd="0" parTransId="{C8EED717-4BD9-497B-AAED-70F7EBE4DA2A}" sibTransId="{B1DBD821-8FEB-4AE3-A472-333AE6798CCE}"/>
    <dgm:cxn modelId="{26143243-C902-4D2D-AAA4-0A1A960E0172}" srcId="{53D7EFAD-9D69-4131-B665-D784611009F2}" destId="{93965B70-4792-44F1-AEE8-C922889DD887}" srcOrd="0" destOrd="0" parTransId="{AF6CBFEB-FA1C-467C-9266-BD06C3082274}" sibTransId="{70D492B5-E811-46F5-98A8-B615493C7C77}"/>
    <dgm:cxn modelId="{AAA6444F-83C6-4AB2-8113-0FC8108A89D9}" type="presOf" srcId="{93965B70-4792-44F1-AEE8-C922889DD887}" destId="{F4F491F2-8310-4EDC-83BE-3E4CB6BFF77F}" srcOrd="0" destOrd="0" presId="urn:microsoft.com/office/officeart/2005/8/layout/vList2"/>
    <dgm:cxn modelId="{EC496D78-7915-4AE0-93E9-44754F794815}" type="presOf" srcId="{6F7771A7-8DE3-4434-A4EB-93A4C5748996}" destId="{F4F491F2-8310-4EDC-83BE-3E4CB6BFF77F}" srcOrd="0" destOrd="1" presId="urn:microsoft.com/office/officeart/2005/8/layout/vList2"/>
    <dgm:cxn modelId="{CCE35880-8BA3-4B58-A370-A0E6B37B5366}" type="presOf" srcId="{2F32B127-5802-4115-98D9-1D04E4767F15}" destId="{C70A7381-E7ED-45BE-9458-3C60AE6CCEC5}" srcOrd="0" destOrd="0" presId="urn:microsoft.com/office/officeart/2005/8/layout/vList2"/>
    <dgm:cxn modelId="{68A8E696-460C-4316-A460-CCD7E4D22CCA}" type="presOf" srcId="{53D7EFAD-9D69-4131-B665-D784611009F2}" destId="{C6E835C1-CAA7-4C71-892C-77159276F6BE}" srcOrd="0" destOrd="0" presId="urn:microsoft.com/office/officeart/2005/8/layout/vList2"/>
    <dgm:cxn modelId="{65520CBD-22DB-4683-909D-9F25C21B1F87}" srcId="{2F32B127-5802-4115-98D9-1D04E4767F15}" destId="{53D7EFAD-9D69-4131-B665-D784611009F2}" srcOrd="0" destOrd="0" parTransId="{667211BE-884C-4748-9590-BCA1EAA647FD}" sibTransId="{1E2345BE-2458-4C6F-BC98-B5B3F86981E7}"/>
    <dgm:cxn modelId="{800E35DA-C66C-4CF2-906C-9F9106B3C205}" type="presOf" srcId="{55FE9D73-7AC9-4F52-AE45-14B7F0EE4962}" destId="{F4F491F2-8310-4EDC-83BE-3E4CB6BFF77F}" srcOrd="0" destOrd="3" presId="urn:microsoft.com/office/officeart/2005/8/layout/vList2"/>
    <dgm:cxn modelId="{4188A7DF-16F6-46A5-AB49-4DFE1A1E0022}" type="presOf" srcId="{932117D4-D236-43A4-B5BD-C2FC81F70BE1}" destId="{F4F491F2-8310-4EDC-83BE-3E4CB6BFF77F}" srcOrd="0" destOrd="2" presId="urn:microsoft.com/office/officeart/2005/8/layout/vList2"/>
    <dgm:cxn modelId="{2EABF8C7-8544-4D41-B0FB-8EE1EAB5CD2C}" type="presParOf" srcId="{C70A7381-E7ED-45BE-9458-3C60AE6CCEC5}" destId="{C6E835C1-CAA7-4C71-892C-77159276F6BE}" srcOrd="0" destOrd="0" presId="urn:microsoft.com/office/officeart/2005/8/layout/vList2"/>
    <dgm:cxn modelId="{3B35F175-09F8-4349-8876-C8D2852DDC51}" type="presParOf" srcId="{C70A7381-E7ED-45BE-9458-3C60AE6CCEC5}" destId="{F4F491F2-8310-4EDC-83BE-3E4CB6BFF77F}" srcOrd="1"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2F32B127-5802-4115-98D9-1D04E4767F15}"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en-US"/>
        </a:p>
      </dgm:t>
    </dgm:pt>
    <dgm:pt modelId="{53D7EFAD-9D69-4131-B665-D784611009F2}">
      <dgm:prSet phldrT="[Text]"/>
      <dgm:spPr/>
      <dgm:t>
        <a:bodyPr/>
        <a:lstStyle/>
        <a:p>
          <a:pPr algn="ctr"/>
          <a:r>
            <a:rPr lang="en-US" dirty="0"/>
            <a:t>The SQL 2019 Solution</a:t>
          </a:r>
        </a:p>
      </dgm:t>
    </dgm:pt>
    <dgm:pt modelId="{667211BE-884C-4748-9590-BCA1EAA647FD}" type="parTrans" cxnId="{65520CBD-22DB-4683-909D-9F25C21B1F87}">
      <dgm:prSet/>
      <dgm:spPr/>
      <dgm:t>
        <a:bodyPr/>
        <a:lstStyle/>
        <a:p>
          <a:endParaRPr lang="en-US"/>
        </a:p>
      </dgm:t>
    </dgm:pt>
    <dgm:pt modelId="{1E2345BE-2458-4C6F-BC98-B5B3F86981E7}" type="sibTrans" cxnId="{65520CBD-22DB-4683-909D-9F25C21B1F87}">
      <dgm:prSet/>
      <dgm:spPr/>
      <dgm:t>
        <a:bodyPr/>
        <a:lstStyle/>
        <a:p>
          <a:endParaRPr lang="en-US"/>
        </a:p>
      </dgm:t>
    </dgm:pt>
    <dgm:pt modelId="{93965B70-4792-44F1-AEE8-C922889DD887}">
      <dgm:prSet phldrT="[Text]"/>
      <dgm:spPr/>
      <dgm:t>
        <a:bodyPr/>
        <a:lstStyle/>
        <a:p>
          <a:r>
            <a:rPr lang="en-US" dirty="0"/>
            <a:t>Key tempdb system tables become SCHEMA_ONLY memory optimized tables</a:t>
          </a:r>
        </a:p>
      </dgm:t>
    </dgm:pt>
    <dgm:pt modelId="{AF6CBFEB-FA1C-467C-9266-BD06C3082274}" type="parTrans" cxnId="{26143243-C902-4D2D-AAA4-0A1A960E0172}">
      <dgm:prSet/>
      <dgm:spPr/>
      <dgm:t>
        <a:bodyPr/>
        <a:lstStyle/>
        <a:p>
          <a:endParaRPr lang="en-US"/>
        </a:p>
      </dgm:t>
    </dgm:pt>
    <dgm:pt modelId="{70D492B5-E811-46F5-98A8-B615493C7C77}" type="sibTrans" cxnId="{26143243-C902-4D2D-AAA4-0A1A960E0172}">
      <dgm:prSet/>
      <dgm:spPr/>
      <dgm:t>
        <a:bodyPr/>
        <a:lstStyle/>
        <a:p>
          <a:endParaRPr lang="en-US"/>
        </a:p>
      </dgm:t>
    </dgm:pt>
    <dgm:pt modelId="{B6106465-5966-4F90-9813-8FF8B4EA8BCF}">
      <dgm:prSet phldrT="[Text]"/>
      <dgm:spPr/>
      <dgm:t>
        <a:bodyPr/>
        <a:lstStyle/>
        <a:p>
          <a:r>
            <a:rPr lang="en-US" dirty="0"/>
            <a:t>Latch and lock free</a:t>
          </a:r>
        </a:p>
      </dgm:t>
    </dgm:pt>
    <dgm:pt modelId="{2FF9DAB1-49B6-4898-B8F1-AD8D12641217}" type="parTrans" cxnId="{68B2683E-2C60-4A37-88CD-40C3F28AB0AB}">
      <dgm:prSet/>
      <dgm:spPr/>
      <dgm:t>
        <a:bodyPr/>
        <a:lstStyle/>
        <a:p>
          <a:endParaRPr lang="en-US"/>
        </a:p>
      </dgm:t>
    </dgm:pt>
    <dgm:pt modelId="{31159908-A39C-40E3-8E71-AAF910A33ABA}" type="sibTrans" cxnId="{68B2683E-2C60-4A37-88CD-40C3F28AB0AB}">
      <dgm:prSet/>
      <dgm:spPr/>
      <dgm:t>
        <a:bodyPr/>
        <a:lstStyle/>
        <a:p>
          <a:endParaRPr lang="en-US"/>
        </a:p>
      </dgm:t>
    </dgm:pt>
    <dgm:pt modelId="{75CF7833-ECED-463B-8BF3-B45869A845E2}">
      <dgm:prSet phldrT="[Text]"/>
      <dgm:spPr/>
      <dgm:t>
        <a:bodyPr/>
        <a:lstStyle/>
        <a:p>
          <a:r>
            <a:rPr lang="en-US" dirty="0"/>
            <a:t>Turn on with ALTER SERVER CONFIGURATION</a:t>
          </a:r>
        </a:p>
      </dgm:t>
    </dgm:pt>
    <dgm:pt modelId="{592F51EB-1156-4022-906E-D14DF6A76DFF}" type="parTrans" cxnId="{4A11845D-5E75-44DA-814D-94F72A165321}">
      <dgm:prSet/>
      <dgm:spPr/>
      <dgm:t>
        <a:bodyPr/>
        <a:lstStyle/>
        <a:p>
          <a:endParaRPr lang="en-US"/>
        </a:p>
      </dgm:t>
    </dgm:pt>
    <dgm:pt modelId="{107431EF-D4F3-4817-9D5B-175DEAB6DD1A}" type="sibTrans" cxnId="{4A11845D-5E75-44DA-814D-94F72A165321}">
      <dgm:prSet/>
      <dgm:spPr/>
      <dgm:t>
        <a:bodyPr/>
        <a:lstStyle/>
        <a:p>
          <a:endParaRPr lang="en-US"/>
        </a:p>
      </dgm:t>
    </dgm:pt>
    <dgm:pt modelId="{9C1F7831-81FB-46BC-AC02-95AC5E5FA5C7}">
      <dgm:prSet phldrT="[Text]"/>
      <dgm:spPr/>
      <dgm:t>
        <a:bodyPr/>
        <a:lstStyle/>
        <a:p>
          <a:r>
            <a:rPr lang="en-US" dirty="0"/>
            <a:t>This is NOT user data just metadata so memory requirements small</a:t>
          </a:r>
        </a:p>
      </dgm:t>
    </dgm:pt>
    <dgm:pt modelId="{F85808CB-CB37-4661-846A-EBC424A3F77A}" type="parTrans" cxnId="{00A49946-A43A-425A-B4B3-02F8973B2753}">
      <dgm:prSet/>
      <dgm:spPr/>
      <dgm:t>
        <a:bodyPr/>
        <a:lstStyle/>
        <a:p>
          <a:endParaRPr lang="en-US"/>
        </a:p>
      </dgm:t>
    </dgm:pt>
    <dgm:pt modelId="{1C2B95D7-8FE3-440C-BBC2-CAC918D4C7FB}" type="sibTrans" cxnId="{00A49946-A43A-425A-B4B3-02F8973B2753}">
      <dgm:prSet/>
      <dgm:spPr/>
      <dgm:t>
        <a:bodyPr/>
        <a:lstStyle/>
        <a:p>
          <a:endParaRPr lang="en-US"/>
        </a:p>
      </dgm:t>
    </dgm:pt>
    <dgm:pt modelId="{C70A7381-E7ED-45BE-9458-3C60AE6CCEC5}" type="pres">
      <dgm:prSet presAssocID="{2F32B127-5802-4115-98D9-1D04E4767F15}" presName="linear" presStyleCnt="0">
        <dgm:presLayoutVars>
          <dgm:animLvl val="lvl"/>
          <dgm:resizeHandles val="exact"/>
        </dgm:presLayoutVars>
      </dgm:prSet>
      <dgm:spPr/>
    </dgm:pt>
    <dgm:pt modelId="{C6E835C1-CAA7-4C71-892C-77159276F6BE}" type="pres">
      <dgm:prSet presAssocID="{53D7EFAD-9D69-4131-B665-D784611009F2}" presName="parentText" presStyleLbl="node1" presStyleIdx="0" presStyleCnt="1">
        <dgm:presLayoutVars>
          <dgm:chMax val="0"/>
          <dgm:bulletEnabled val="1"/>
        </dgm:presLayoutVars>
      </dgm:prSet>
      <dgm:spPr/>
    </dgm:pt>
    <dgm:pt modelId="{F4F491F2-8310-4EDC-83BE-3E4CB6BFF77F}" type="pres">
      <dgm:prSet presAssocID="{53D7EFAD-9D69-4131-B665-D784611009F2}" presName="childText" presStyleLbl="revTx" presStyleIdx="0" presStyleCnt="1">
        <dgm:presLayoutVars>
          <dgm:bulletEnabled val="1"/>
        </dgm:presLayoutVars>
      </dgm:prSet>
      <dgm:spPr/>
    </dgm:pt>
  </dgm:ptLst>
  <dgm:cxnLst>
    <dgm:cxn modelId="{E1DAE408-C082-4E93-9A3E-C250E47398F8}" type="presOf" srcId="{9C1F7831-81FB-46BC-AC02-95AC5E5FA5C7}" destId="{F4F491F2-8310-4EDC-83BE-3E4CB6BFF77F}" srcOrd="0" destOrd="3" presId="urn:microsoft.com/office/officeart/2005/8/layout/vList2"/>
    <dgm:cxn modelId="{68B2683E-2C60-4A37-88CD-40C3F28AB0AB}" srcId="{53D7EFAD-9D69-4131-B665-D784611009F2}" destId="{B6106465-5966-4F90-9813-8FF8B4EA8BCF}" srcOrd="1" destOrd="0" parTransId="{2FF9DAB1-49B6-4898-B8F1-AD8D12641217}" sibTransId="{31159908-A39C-40E3-8E71-AAF910A33ABA}"/>
    <dgm:cxn modelId="{4A11845D-5E75-44DA-814D-94F72A165321}" srcId="{53D7EFAD-9D69-4131-B665-D784611009F2}" destId="{75CF7833-ECED-463B-8BF3-B45869A845E2}" srcOrd="2" destOrd="0" parTransId="{592F51EB-1156-4022-906E-D14DF6A76DFF}" sibTransId="{107431EF-D4F3-4817-9D5B-175DEAB6DD1A}"/>
    <dgm:cxn modelId="{1059A662-5253-4AA4-9512-3ED6B33D459C}" type="presOf" srcId="{B6106465-5966-4F90-9813-8FF8B4EA8BCF}" destId="{F4F491F2-8310-4EDC-83BE-3E4CB6BFF77F}" srcOrd="0" destOrd="1" presId="urn:microsoft.com/office/officeart/2005/8/layout/vList2"/>
    <dgm:cxn modelId="{26143243-C902-4D2D-AAA4-0A1A960E0172}" srcId="{53D7EFAD-9D69-4131-B665-D784611009F2}" destId="{93965B70-4792-44F1-AEE8-C922889DD887}" srcOrd="0" destOrd="0" parTransId="{AF6CBFEB-FA1C-467C-9266-BD06C3082274}" sibTransId="{70D492B5-E811-46F5-98A8-B615493C7C77}"/>
    <dgm:cxn modelId="{00A49946-A43A-425A-B4B3-02F8973B2753}" srcId="{53D7EFAD-9D69-4131-B665-D784611009F2}" destId="{9C1F7831-81FB-46BC-AC02-95AC5E5FA5C7}" srcOrd="3" destOrd="0" parTransId="{F85808CB-CB37-4661-846A-EBC424A3F77A}" sibTransId="{1C2B95D7-8FE3-440C-BBC2-CAC918D4C7FB}"/>
    <dgm:cxn modelId="{AAA6444F-83C6-4AB2-8113-0FC8108A89D9}" type="presOf" srcId="{93965B70-4792-44F1-AEE8-C922889DD887}" destId="{F4F491F2-8310-4EDC-83BE-3E4CB6BFF77F}" srcOrd="0" destOrd="0" presId="urn:microsoft.com/office/officeart/2005/8/layout/vList2"/>
    <dgm:cxn modelId="{CCE35880-8BA3-4B58-A370-A0E6B37B5366}" type="presOf" srcId="{2F32B127-5802-4115-98D9-1D04E4767F15}" destId="{C70A7381-E7ED-45BE-9458-3C60AE6CCEC5}" srcOrd="0" destOrd="0" presId="urn:microsoft.com/office/officeart/2005/8/layout/vList2"/>
    <dgm:cxn modelId="{68A8E696-460C-4316-A460-CCD7E4D22CCA}" type="presOf" srcId="{53D7EFAD-9D69-4131-B665-D784611009F2}" destId="{C6E835C1-CAA7-4C71-892C-77159276F6BE}" srcOrd="0" destOrd="0" presId="urn:microsoft.com/office/officeart/2005/8/layout/vList2"/>
    <dgm:cxn modelId="{65520CBD-22DB-4683-909D-9F25C21B1F87}" srcId="{2F32B127-5802-4115-98D9-1D04E4767F15}" destId="{53D7EFAD-9D69-4131-B665-D784611009F2}" srcOrd="0" destOrd="0" parTransId="{667211BE-884C-4748-9590-BCA1EAA647FD}" sibTransId="{1E2345BE-2458-4C6F-BC98-B5B3F86981E7}"/>
    <dgm:cxn modelId="{54B1D0F6-6A13-4967-982B-8BEFEBA7CDE5}" type="presOf" srcId="{75CF7833-ECED-463B-8BF3-B45869A845E2}" destId="{F4F491F2-8310-4EDC-83BE-3E4CB6BFF77F}" srcOrd="0" destOrd="2" presId="urn:microsoft.com/office/officeart/2005/8/layout/vList2"/>
    <dgm:cxn modelId="{2EABF8C7-8544-4D41-B0FB-8EE1EAB5CD2C}" type="presParOf" srcId="{C70A7381-E7ED-45BE-9458-3C60AE6CCEC5}" destId="{C6E835C1-CAA7-4C71-892C-77159276F6BE}" srcOrd="0" destOrd="0" presId="urn:microsoft.com/office/officeart/2005/8/layout/vList2"/>
    <dgm:cxn modelId="{3B35F175-09F8-4349-8876-C8D2852DDC51}" type="presParOf" srcId="{C70A7381-E7ED-45BE-9458-3C60AE6CCEC5}" destId="{F4F491F2-8310-4EDC-83BE-3E4CB6BFF77F}" srcOrd="1"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B250E2E8-A9AC-40BC-B54E-41CD0F866201}" type="doc">
      <dgm:prSet loTypeId="urn:microsoft.com/office/officeart/2005/8/layout/lProcess2" loCatId="list" qsTypeId="urn:microsoft.com/office/officeart/2005/8/quickstyle/simple1" qsCatId="simple" csTypeId="urn:microsoft.com/office/officeart/2005/8/colors/accent1_2" csCatId="accent1" phldr="1"/>
      <dgm:spPr/>
      <dgm:t>
        <a:bodyPr/>
        <a:lstStyle/>
        <a:p>
          <a:endParaRPr lang="en-US"/>
        </a:p>
      </dgm:t>
    </dgm:pt>
    <dgm:pt modelId="{F4A8724F-EDA7-4472-ABFA-7F647F0769AE}">
      <dgm:prSet phldrT="[Text]"/>
      <dgm:spPr/>
      <dgm:t>
        <a:bodyPr/>
        <a:lstStyle/>
        <a:p>
          <a:r>
            <a:rPr lang="en-US" dirty="0"/>
            <a:t>Online index create and rebuild</a:t>
          </a:r>
        </a:p>
      </dgm:t>
    </dgm:pt>
    <dgm:pt modelId="{118D7270-4086-44D9-AFAE-A8D05D899EEF}" type="parTrans" cxnId="{079E1DCB-6A93-40FC-9F47-456E765D704C}">
      <dgm:prSet/>
      <dgm:spPr/>
      <dgm:t>
        <a:bodyPr/>
        <a:lstStyle/>
        <a:p>
          <a:endParaRPr lang="en-US"/>
        </a:p>
      </dgm:t>
    </dgm:pt>
    <dgm:pt modelId="{1E143D44-74A9-42AA-BAC8-540F8EAB9948}" type="sibTrans" cxnId="{079E1DCB-6A93-40FC-9F47-456E765D704C}">
      <dgm:prSet/>
      <dgm:spPr/>
      <dgm:t>
        <a:bodyPr/>
        <a:lstStyle/>
        <a:p>
          <a:endParaRPr lang="en-US"/>
        </a:p>
      </dgm:t>
    </dgm:pt>
    <dgm:pt modelId="{D9459782-5A29-4197-A8CC-0FC9F5A0DB35}">
      <dgm:prSet phldrT="[Text]"/>
      <dgm:spPr/>
      <dgm:t>
        <a:bodyPr/>
        <a:lstStyle/>
        <a:p>
          <a:r>
            <a:rPr lang="en-US" dirty="0"/>
            <a:t>Resumable online rebuild</a:t>
          </a:r>
        </a:p>
      </dgm:t>
    </dgm:pt>
    <dgm:pt modelId="{57D0329F-BE61-4A94-A302-A849BEECD1F7}" type="parTrans" cxnId="{C4E70246-A6E6-4830-9ABD-2464DE5D3CCF}">
      <dgm:prSet/>
      <dgm:spPr/>
      <dgm:t>
        <a:bodyPr/>
        <a:lstStyle/>
        <a:p>
          <a:endParaRPr lang="en-US"/>
        </a:p>
      </dgm:t>
    </dgm:pt>
    <dgm:pt modelId="{BE5C154A-4E94-4366-9C5D-0B745F581958}" type="sibTrans" cxnId="{C4E70246-A6E6-4830-9ABD-2464DE5D3CCF}">
      <dgm:prSet/>
      <dgm:spPr/>
      <dgm:t>
        <a:bodyPr/>
        <a:lstStyle/>
        <a:p>
          <a:endParaRPr lang="en-US"/>
        </a:p>
      </dgm:t>
    </dgm:pt>
    <dgm:pt modelId="{D7B996E7-4AE9-4D68-A2C9-73F6FEF9F749}">
      <dgm:prSet phldrT="[Text]"/>
      <dgm:spPr/>
      <dgm:t>
        <a:bodyPr/>
        <a:lstStyle/>
        <a:p>
          <a:r>
            <a:rPr lang="en-US" dirty="0"/>
            <a:t>Resumable online index create</a:t>
          </a:r>
        </a:p>
      </dgm:t>
    </dgm:pt>
    <dgm:pt modelId="{0F58C572-EDEC-4727-A241-C381014DBBA5}" type="parTrans" cxnId="{A0D0D870-3DB0-4901-A301-87A512E94ADF}">
      <dgm:prSet/>
      <dgm:spPr/>
      <dgm:t>
        <a:bodyPr/>
        <a:lstStyle/>
        <a:p>
          <a:endParaRPr lang="en-US"/>
        </a:p>
      </dgm:t>
    </dgm:pt>
    <dgm:pt modelId="{BD77FFFD-A1A7-47BB-8118-A1FECF1EE016}" type="sibTrans" cxnId="{A0D0D870-3DB0-4901-A301-87A512E94ADF}">
      <dgm:prSet/>
      <dgm:spPr/>
      <dgm:t>
        <a:bodyPr/>
        <a:lstStyle/>
        <a:p>
          <a:endParaRPr lang="en-US"/>
        </a:p>
      </dgm:t>
    </dgm:pt>
    <dgm:pt modelId="{D8281198-08C8-4025-9281-001E7AE513A0}">
      <dgm:prSet phldrT="[Text]"/>
      <dgm:spPr/>
      <dgm:t>
        <a:bodyPr/>
        <a:lstStyle/>
        <a:p>
          <a:r>
            <a:rPr lang="en-US" dirty="0"/>
            <a:t>Online Clustered Columnstore create and rebuild</a:t>
          </a:r>
        </a:p>
      </dgm:t>
    </dgm:pt>
    <dgm:pt modelId="{28CFA9AF-3479-4B2C-AE8F-689174F54AEA}" type="parTrans" cxnId="{A3BA6EE5-7533-4F2B-BB7B-88475BC9787A}">
      <dgm:prSet/>
      <dgm:spPr/>
      <dgm:t>
        <a:bodyPr/>
        <a:lstStyle/>
        <a:p>
          <a:endParaRPr lang="en-US"/>
        </a:p>
      </dgm:t>
    </dgm:pt>
    <dgm:pt modelId="{06E709F1-B714-4C01-A8C2-C779B7184C3E}" type="sibTrans" cxnId="{A3BA6EE5-7533-4F2B-BB7B-88475BC9787A}">
      <dgm:prSet/>
      <dgm:spPr/>
      <dgm:t>
        <a:bodyPr/>
        <a:lstStyle/>
        <a:p>
          <a:endParaRPr lang="en-US"/>
        </a:p>
      </dgm:t>
    </dgm:pt>
    <dgm:pt modelId="{A80A0AA8-BBBF-462D-9913-FF1791D3D92D}">
      <dgm:prSet phldrT="[Text]"/>
      <dgm:spPr/>
      <dgm:t>
        <a:bodyPr/>
        <a:lstStyle/>
        <a:p>
          <a:r>
            <a:rPr lang="en-US" dirty="0"/>
            <a:t>SQL Server 2019</a:t>
          </a:r>
        </a:p>
      </dgm:t>
    </dgm:pt>
    <dgm:pt modelId="{D5ABDD6A-5E3C-4806-8AE7-77B994BB03F2}" type="parTrans" cxnId="{653181FB-07DC-4220-A31D-4F1C346ACB83}">
      <dgm:prSet/>
      <dgm:spPr/>
      <dgm:t>
        <a:bodyPr/>
        <a:lstStyle/>
        <a:p>
          <a:endParaRPr lang="en-US"/>
        </a:p>
      </dgm:t>
    </dgm:pt>
    <dgm:pt modelId="{55A66AF1-25B6-4BC2-8DBF-9E5D92AAEFBD}" type="sibTrans" cxnId="{653181FB-07DC-4220-A31D-4F1C346ACB83}">
      <dgm:prSet/>
      <dgm:spPr/>
      <dgm:t>
        <a:bodyPr/>
        <a:lstStyle/>
        <a:p>
          <a:endParaRPr lang="en-US"/>
        </a:p>
      </dgm:t>
    </dgm:pt>
    <dgm:pt modelId="{5DDE5ACE-E048-429A-8362-58C3512974CB}">
      <dgm:prSet phldrT="[Text]"/>
      <dgm:spPr/>
      <dgm:t>
        <a:bodyPr/>
        <a:lstStyle/>
        <a:p>
          <a:r>
            <a:rPr lang="en-US" dirty="0"/>
            <a:t>SQL Server 2017</a:t>
          </a:r>
        </a:p>
      </dgm:t>
    </dgm:pt>
    <dgm:pt modelId="{C1997BEC-0DE4-4816-AEB1-DC6118F219F0}" type="parTrans" cxnId="{8508C2D5-A81B-4D29-B42F-743C35D2F3AD}">
      <dgm:prSet/>
      <dgm:spPr/>
      <dgm:t>
        <a:bodyPr/>
        <a:lstStyle/>
        <a:p>
          <a:endParaRPr lang="en-US"/>
        </a:p>
      </dgm:t>
    </dgm:pt>
    <dgm:pt modelId="{FCFF5471-D734-46EA-A1CA-CB8297BF49F7}" type="sibTrans" cxnId="{8508C2D5-A81B-4D29-B42F-743C35D2F3AD}">
      <dgm:prSet/>
      <dgm:spPr/>
      <dgm:t>
        <a:bodyPr/>
        <a:lstStyle/>
        <a:p>
          <a:endParaRPr lang="en-US"/>
        </a:p>
      </dgm:t>
    </dgm:pt>
    <dgm:pt modelId="{A34E3D43-F5E4-47F5-92AB-9BF875C4595B}">
      <dgm:prSet phldrT="[Text]"/>
      <dgm:spPr/>
      <dgm:t>
        <a:bodyPr/>
        <a:lstStyle/>
        <a:p>
          <a:r>
            <a:rPr lang="en-US" dirty="0"/>
            <a:t>Pause and Resume</a:t>
          </a:r>
        </a:p>
      </dgm:t>
    </dgm:pt>
    <dgm:pt modelId="{E5C13B37-4227-4A48-B5C2-90BF802AB422}" type="parTrans" cxnId="{FDC38D7A-596E-415D-88DD-E3AFBC13D3C7}">
      <dgm:prSet/>
      <dgm:spPr/>
      <dgm:t>
        <a:bodyPr/>
        <a:lstStyle/>
        <a:p>
          <a:endParaRPr lang="en-US"/>
        </a:p>
      </dgm:t>
    </dgm:pt>
    <dgm:pt modelId="{4C1D070A-EAAE-4A27-9911-CB183E5E2182}" type="sibTrans" cxnId="{FDC38D7A-596E-415D-88DD-E3AFBC13D3C7}">
      <dgm:prSet/>
      <dgm:spPr/>
      <dgm:t>
        <a:bodyPr/>
        <a:lstStyle/>
        <a:p>
          <a:endParaRPr lang="en-US"/>
        </a:p>
      </dgm:t>
    </dgm:pt>
    <dgm:pt modelId="{D248DB17-C146-49BE-9257-6BCE15F8DB31}">
      <dgm:prSet phldrT="[Text]"/>
      <dgm:spPr/>
      <dgm:t>
        <a:bodyPr/>
        <a:lstStyle/>
        <a:p>
          <a:r>
            <a:rPr lang="en-US" dirty="0"/>
            <a:t>Incremental rebuild</a:t>
          </a:r>
        </a:p>
      </dgm:t>
    </dgm:pt>
    <dgm:pt modelId="{389F8B87-5A59-4BB4-A35A-D7D3E3DD5133}" type="parTrans" cxnId="{F81E4343-FD90-47D6-82FC-29D83698F550}">
      <dgm:prSet/>
      <dgm:spPr/>
      <dgm:t>
        <a:bodyPr/>
        <a:lstStyle/>
        <a:p>
          <a:endParaRPr lang="en-US"/>
        </a:p>
      </dgm:t>
    </dgm:pt>
    <dgm:pt modelId="{0E339D50-912F-42A8-BC68-A28AE146498A}" type="sibTrans" cxnId="{F81E4343-FD90-47D6-82FC-29D83698F550}">
      <dgm:prSet/>
      <dgm:spPr/>
      <dgm:t>
        <a:bodyPr/>
        <a:lstStyle/>
        <a:p>
          <a:endParaRPr lang="en-US"/>
        </a:p>
      </dgm:t>
    </dgm:pt>
    <dgm:pt modelId="{F9056107-5FA3-4BC3-96AF-80BB7791645B}">
      <dgm:prSet phldrT="[Text]"/>
      <dgm:spPr/>
      <dgm:t>
        <a:bodyPr/>
        <a:lstStyle/>
        <a:p>
          <a:r>
            <a:rPr lang="en-US" dirty="0"/>
            <a:t>This has been around for a while</a:t>
          </a:r>
        </a:p>
      </dgm:t>
    </dgm:pt>
    <dgm:pt modelId="{74E60D96-5DC3-4321-8A46-CA0D67C3EDB1}" type="parTrans" cxnId="{7A1C7DDA-2B09-46A7-8A53-99CA1D98D4FA}">
      <dgm:prSet/>
      <dgm:spPr/>
      <dgm:t>
        <a:bodyPr/>
        <a:lstStyle/>
        <a:p>
          <a:endParaRPr lang="en-US"/>
        </a:p>
      </dgm:t>
    </dgm:pt>
    <dgm:pt modelId="{5C66B34B-FD98-4645-B6E4-7B5AC5797CFF}" type="sibTrans" cxnId="{7A1C7DDA-2B09-46A7-8A53-99CA1D98D4FA}">
      <dgm:prSet/>
      <dgm:spPr/>
      <dgm:t>
        <a:bodyPr/>
        <a:lstStyle/>
        <a:p>
          <a:endParaRPr lang="en-US"/>
        </a:p>
      </dgm:t>
    </dgm:pt>
    <dgm:pt modelId="{5068A018-7EF2-4B82-9BE8-3FC339959544}">
      <dgm:prSet phldrT="[Text]"/>
      <dgm:spPr/>
      <dgm:t>
        <a:bodyPr/>
        <a:lstStyle/>
        <a:p>
          <a:r>
            <a:rPr lang="en-US" dirty="0"/>
            <a:t>SQL Server 2019</a:t>
          </a:r>
        </a:p>
      </dgm:t>
    </dgm:pt>
    <dgm:pt modelId="{8FC980E5-B7EA-4FCC-B8AB-718292196AAD}" type="parTrans" cxnId="{9B50E89D-33FE-4624-ABFC-5C5124B0BC9A}">
      <dgm:prSet/>
      <dgm:spPr/>
      <dgm:t>
        <a:bodyPr/>
        <a:lstStyle/>
        <a:p>
          <a:endParaRPr lang="en-US"/>
        </a:p>
      </dgm:t>
    </dgm:pt>
    <dgm:pt modelId="{7D72AC83-04F3-4172-BB5B-E029D9C95AFE}" type="sibTrans" cxnId="{9B50E89D-33FE-4624-ABFC-5C5124B0BC9A}">
      <dgm:prSet/>
      <dgm:spPr/>
      <dgm:t>
        <a:bodyPr/>
        <a:lstStyle/>
        <a:p>
          <a:endParaRPr lang="en-US"/>
        </a:p>
      </dgm:t>
    </dgm:pt>
    <dgm:pt modelId="{D384E879-6D24-43E8-B0EE-C38F3A0AB2DB}">
      <dgm:prSet phldrT="[Text]"/>
      <dgm:spPr/>
      <dgm:t>
        <a:bodyPr/>
        <a:lstStyle/>
        <a:p>
          <a:r>
            <a:rPr lang="en-US" dirty="0"/>
            <a:t>Online Non-clustered Columnstore create and rebuild</a:t>
          </a:r>
        </a:p>
      </dgm:t>
    </dgm:pt>
    <dgm:pt modelId="{A5B536F2-D32B-463C-B157-AF125E941ED3}" type="parTrans" cxnId="{A127170F-FEA3-4423-820C-F8A7A4DB8125}">
      <dgm:prSet/>
      <dgm:spPr/>
      <dgm:t>
        <a:bodyPr/>
        <a:lstStyle/>
        <a:p>
          <a:endParaRPr lang="en-US"/>
        </a:p>
      </dgm:t>
    </dgm:pt>
    <dgm:pt modelId="{9286D314-CBBD-41B2-807B-47B84762D6DA}" type="sibTrans" cxnId="{A127170F-FEA3-4423-820C-F8A7A4DB8125}">
      <dgm:prSet/>
      <dgm:spPr/>
      <dgm:t>
        <a:bodyPr/>
        <a:lstStyle/>
        <a:p>
          <a:endParaRPr lang="en-US"/>
        </a:p>
      </dgm:t>
    </dgm:pt>
    <dgm:pt modelId="{58937628-C350-4BDA-B24A-729ED0626FE4}">
      <dgm:prSet phldrT="[Text]"/>
      <dgm:spPr/>
      <dgm:t>
        <a:bodyPr/>
        <a:lstStyle/>
        <a:p>
          <a:r>
            <a:rPr lang="en-US" dirty="0"/>
            <a:t>SQL Server 2017</a:t>
          </a:r>
        </a:p>
      </dgm:t>
    </dgm:pt>
    <dgm:pt modelId="{77B80EA5-0395-4E66-91BE-1B078749629B}" type="parTrans" cxnId="{F9D002B2-FF5C-4305-B048-0D3A476E7D8E}">
      <dgm:prSet/>
      <dgm:spPr/>
      <dgm:t>
        <a:bodyPr/>
        <a:lstStyle/>
        <a:p>
          <a:endParaRPr lang="en-US"/>
        </a:p>
      </dgm:t>
    </dgm:pt>
    <dgm:pt modelId="{0AFE73F8-8FB8-4658-9063-90BFC3899BE6}" type="sibTrans" cxnId="{F9D002B2-FF5C-4305-B048-0D3A476E7D8E}">
      <dgm:prSet/>
      <dgm:spPr/>
      <dgm:t>
        <a:bodyPr/>
        <a:lstStyle/>
        <a:p>
          <a:endParaRPr lang="en-US"/>
        </a:p>
      </dgm:t>
    </dgm:pt>
    <dgm:pt modelId="{53ABD22A-8AB2-4EA0-AA13-B6AE8D1D0D95}" type="pres">
      <dgm:prSet presAssocID="{B250E2E8-A9AC-40BC-B54E-41CD0F866201}" presName="theList" presStyleCnt="0">
        <dgm:presLayoutVars>
          <dgm:dir/>
          <dgm:animLvl val="lvl"/>
          <dgm:resizeHandles val="exact"/>
        </dgm:presLayoutVars>
      </dgm:prSet>
      <dgm:spPr/>
    </dgm:pt>
    <dgm:pt modelId="{790B8A9D-9BD0-44A3-AE20-430630502152}" type="pres">
      <dgm:prSet presAssocID="{F4A8724F-EDA7-4472-ABFA-7F647F0769AE}" presName="compNode" presStyleCnt="0"/>
      <dgm:spPr/>
    </dgm:pt>
    <dgm:pt modelId="{F30F9D58-9067-4581-B8C9-C587C3B9FE1F}" type="pres">
      <dgm:prSet presAssocID="{F4A8724F-EDA7-4472-ABFA-7F647F0769AE}" presName="aNode" presStyleLbl="bgShp" presStyleIdx="0" presStyleCnt="5"/>
      <dgm:spPr/>
    </dgm:pt>
    <dgm:pt modelId="{9C3B7929-8C13-48D3-BA5A-24E7B06F6167}" type="pres">
      <dgm:prSet presAssocID="{F4A8724F-EDA7-4472-ABFA-7F647F0769AE}" presName="textNode" presStyleLbl="bgShp" presStyleIdx="0" presStyleCnt="5"/>
      <dgm:spPr/>
    </dgm:pt>
    <dgm:pt modelId="{E68A6D00-94BA-4BE7-8CAA-3E5AE20FDDBB}" type="pres">
      <dgm:prSet presAssocID="{F4A8724F-EDA7-4472-ABFA-7F647F0769AE}" presName="compChildNode" presStyleCnt="0"/>
      <dgm:spPr/>
    </dgm:pt>
    <dgm:pt modelId="{7ECB9F98-68D6-4F81-B68C-D4C5A6B9EBBD}" type="pres">
      <dgm:prSet presAssocID="{F4A8724F-EDA7-4472-ABFA-7F647F0769AE}" presName="theInnerList" presStyleCnt="0"/>
      <dgm:spPr/>
    </dgm:pt>
    <dgm:pt modelId="{573518BA-E4CB-4E5B-BB19-4A2E74BAA0FB}" type="pres">
      <dgm:prSet presAssocID="{F9056107-5FA3-4BC3-96AF-80BB7791645B}" presName="childNode" presStyleLbl="node1" presStyleIdx="0" presStyleCnt="7">
        <dgm:presLayoutVars>
          <dgm:bulletEnabled val="1"/>
        </dgm:presLayoutVars>
      </dgm:prSet>
      <dgm:spPr/>
    </dgm:pt>
    <dgm:pt modelId="{29905C7F-790B-41DA-9B57-CE0B601B2C21}" type="pres">
      <dgm:prSet presAssocID="{F4A8724F-EDA7-4472-ABFA-7F647F0769AE}" presName="aSpace" presStyleCnt="0"/>
      <dgm:spPr/>
    </dgm:pt>
    <dgm:pt modelId="{4181701F-DD73-4CD7-B33D-C990A21A7F3E}" type="pres">
      <dgm:prSet presAssocID="{D9459782-5A29-4197-A8CC-0FC9F5A0DB35}" presName="compNode" presStyleCnt="0"/>
      <dgm:spPr/>
    </dgm:pt>
    <dgm:pt modelId="{1E38B38C-7757-4AFC-A4A5-B7AD295E65B6}" type="pres">
      <dgm:prSet presAssocID="{D9459782-5A29-4197-A8CC-0FC9F5A0DB35}" presName="aNode" presStyleLbl="bgShp" presStyleIdx="1" presStyleCnt="5"/>
      <dgm:spPr/>
    </dgm:pt>
    <dgm:pt modelId="{22D59A5A-A3B0-4E13-BA8A-E0CA87761986}" type="pres">
      <dgm:prSet presAssocID="{D9459782-5A29-4197-A8CC-0FC9F5A0DB35}" presName="textNode" presStyleLbl="bgShp" presStyleIdx="1" presStyleCnt="5"/>
      <dgm:spPr/>
    </dgm:pt>
    <dgm:pt modelId="{08FB25CB-ED29-4557-8147-FDE85B90D32D}" type="pres">
      <dgm:prSet presAssocID="{D9459782-5A29-4197-A8CC-0FC9F5A0DB35}" presName="compChildNode" presStyleCnt="0"/>
      <dgm:spPr/>
    </dgm:pt>
    <dgm:pt modelId="{5919383B-3DF0-4CAB-8AEF-358DC99BEBA2}" type="pres">
      <dgm:prSet presAssocID="{D9459782-5A29-4197-A8CC-0FC9F5A0DB35}" presName="theInnerList" presStyleCnt="0"/>
      <dgm:spPr/>
    </dgm:pt>
    <dgm:pt modelId="{0B1EB628-A91F-4A03-B0BB-BDAFAC944E32}" type="pres">
      <dgm:prSet presAssocID="{5DDE5ACE-E048-429A-8362-58C3512974CB}" presName="childNode" presStyleLbl="node1" presStyleIdx="1" presStyleCnt="7">
        <dgm:presLayoutVars>
          <dgm:bulletEnabled val="1"/>
        </dgm:presLayoutVars>
      </dgm:prSet>
      <dgm:spPr/>
    </dgm:pt>
    <dgm:pt modelId="{22D324A2-907F-474B-8925-BC63DF620263}" type="pres">
      <dgm:prSet presAssocID="{5DDE5ACE-E048-429A-8362-58C3512974CB}" presName="aSpace2" presStyleCnt="0"/>
      <dgm:spPr/>
    </dgm:pt>
    <dgm:pt modelId="{B0E7295E-6666-4ACB-80EA-DE855883143F}" type="pres">
      <dgm:prSet presAssocID="{A34E3D43-F5E4-47F5-92AB-9BF875C4595B}" presName="childNode" presStyleLbl="node1" presStyleIdx="2" presStyleCnt="7">
        <dgm:presLayoutVars>
          <dgm:bulletEnabled val="1"/>
        </dgm:presLayoutVars>
      </dgm:prSet>
      <dgm:spPr/>
    </dgm:pt>
    <dgm:pt modelId="{EE0DBFC5-B3A9-46AB-8B97-37671AF296E5}" type="pres">
      <dgm:prSet presAssocID="{A34E3D43-F5E4-47F5-92AB-9BF875C4595B}" presName="aSpace2" presStyleCnt="0"/>
      <dgm:spPr/>
    </dgm:pt>
    <dgm:pt modelId="{064E88C3-E887-4D2A-A7D8-DD9B3800DE62}" type="pres">
      <dgm:prSet presAssocID="{D248DB17-C146-49BE-9257-6BCE15F8DB31}" presName="childNode" presStyleLbl="node1" presStyleIdx="3" presStyleCnt="7">
        <dgm:presLayoutVars>
          <dgm:bulletEnabled val="1"/>
        </dgm:presLayoutVars>
      </dgm:prSet>
      <dgm:spPr/>
    </dgm:pt>
    <dgm:pt modelId="{94A8A13A-0AEC-4788-809A-A7FF2890E2E1}" type="pres">
      <dgm:prSet presAssocID="{D9459782-5A29-4197-A8CC-0FC9F5A0DB35}" presName="aSpace" presStyleCnt="0"/>
      <dgm:spPr/>
    </dgm:pt>
    <dgm:pt modelId="{88CFFD24-2A1F-4D8B-BA8F-E1D32DDA6D18}" type="pres">
      <dgm:prSet presAssocID="{D7B996E7-4AE9-4D68-A2C9-73F6FEF9F749}" presName="compNode" presStyleCnt="0"/>
      <dgm:spPr/>
    </dgm:pt>
    <dgm:pt modelId="{D174599E-222E-457A-BFD6-2620322894C0}" type="pres">
      <dgm:prSet presAssocID="{D7B996E7-4AE9-4D68-A2C9-73F6FEF9F749}" presName="aNode" presStyleLbl="bgShp" presStyleIdx="2" presStyleCnt="5"/>
      <dgm:spPr/>
    </dgm:pt>
    <dgm:pt modelId="{2AF97D24-4962-40DC-B3F8-227063657348}" type="pres">
      <dgm:prSet presAssocID="{D7B996E7-4AE9-4D68-A2C9-73F6FEF9F749}" presName="textNode" presStyleLbl="bgShp" presStyleIdx="2" presStyleCnt="5"/>
      <dgm:spPr/>
    </dgm:pt>
    <dgm:pt modelId="{BB3F12E5-9ED4-46B9-BE83-7833756D4794}" type="pres">
      <dgm:prSet presAssocID="{D7B996E7-4AE9-4D68-A2C9-73F6FEF9F749}" presName="compChildNode" presStyleCnt="0"/>
      <dgm:spPr/>
    </dgm:pt>
    <dgm:pt modelId="{1DAC08EC-BDA1-47BE-9456-1EE3595CFE53}" type="pres">
      <dgm:prSet presAssocID="{D7B996E7-4AE9-4D68-A2C9-73F6FEF9F749}" presName="theInnerList" presStyleCnt="0"/>
      <dgm:spPr/>
    </dgm:pt>
    <dgm:pt modelId="{40F3804C-1CF2-4856-8949-48F6627C44B5}" type="pres">
      <dgm:prSet presAssocID="{A80A0AA8-BBBF-462D-9913-FF1791D3D92D}" presName="childNode" presStyleLbl="node1" presStyleIdx="4" presStyleCnt="7">
        <dgm:presLayoutVars>
          <dgm:bulletEnabled val="1"/>
        </dgm:presLayoutVars>
      </dgm:prSet>
      <dgm:spPr/>
    </dgm:pt>
    <dgm:pt modelId="{B6C785C4-C6D4-413A-9ABA-3543FFB8D3BC}" type="pres">
      <dgm:prSet presAssocID="{D7B996E7-4AE9-4D68-A2C9-73F6FEF9F749}" presName="aSpace" presStyleCnt="0"/>
      <dgm:spPr/>
    </dgm:pt>
    <dgm:pt modelId="{BB02F8D8-5E88-456B-9032-F13312EF9A38}" type="pres">
      <dgm:prSet presAssocID="{D384E879-6D24-43E8-B0EE-C38F3A0AB2DB}" presName="compNode" presStyleCnt="0"/>
      <dgm:spPr/>
    </dgm:pt>
    <dgm:pt modelId="{7D45AECE-F8B5-4053-86DF-5E204DA1AABA}" type="pres">
      <dgm:prSet presAssocID="{D384E879-6D24-43E8-B0EE-C38F3A0AB2DB}" presName="aNode" presStyleLbl="bgShp" presStyleIdx="3" presStyleCnt="5"/>
      <dgm:spPr/>
    </dgm:pt>
    <dgm:pt modelId="{005F1AE2-4C6A-4939-8ADE-E128F7EF5B51}" type="pres">
      <dgm:prSet presAssocID="{D384E879-6D24-43E8-B0EE-C38F3A0AB2DB}" presName="textNode" presStyleLbl="bgShp" presStyleIdx="3" presStyleCnt="5"/>
      <dgm:spPr/>
    </dgm:pt>
    <dgm:pt modelId="{77A51793-56B4-4FCC-9DD5-6E97A99D9A45}" type="pres">
      <dgm:prSet presAssocID="{D384E879-6D24-43E8-B0EE-C38F3A0AB2DB}" presName="compChildNode" presStyleCnt="0"/>
      <dgm:spPr/>
    </dgm:pt>
    <dgm:pt modelId="{E28261DB-F241-4B92-AB7F-2F8D7370FDB0}" type="pres">
      <dgm:prSet presAssocID="{D384E879-6D24-43E8-B0EE-C38F3A0AB2DB}" presName="theInnerList" presStyleCnt="0"/>
      <dgm:spPr/>
    </dgm:pt>
    <dgm:pt modelId="{11E2E5ED-2C16-425D-9DAF-1F80DFBA6D7C}" type="pres">
      <dgm:prSet presAssocID="{58937628-C350-4BDA-B24A-729ED0626FE4}" presName="childNode" presStyleLbl="node1" presStyleIdx="5" presStyleCnt="7">
        <dgm:presLayoutVars>
          <dgm:bulletEnabled val="1"/>
        </dgm:presLayoutVars>
      </dgm:prSet>
      <dgm:spPr/>
    </dgm:pt>
    <dgm:pt modelId="{DB0F2F08-7FE7-4EB5-8479-87F343EB3640}" type="pres">
      <dgm:prSet presAssocID="{D384E879-6D24-43E8-B0EE-C38F3A0AB2DB}" presName="aSpace" presStyleCnt="0"/>
      <dgm:spPr/>
    </dgm:pt>
    <dgm:pt modelId="{C7771065-4068-46B9-88FD-461C5360ABF1}" type="pres">
      <dgm:prSet presAssocID="{D8281198-08C8-4025-9281-001E7AE513A0}" presName="compNode" presStyleCnt="0"/>
      <dgm:spPr/>
    </dgm:pt>
    <dgm:pt modelId="{12CE0E28-AFA6-4EC6-9E45-E0FE3F2BE3AE}" type="pres">
      <dgm:prSet presAssocID="{D8281198-08C8-4025-9281-001E7AE513A0}" presName="aNode" presStyleLbl="bgShp" presStyleIdx="4" presStyleCnt="5"/>
      <dgm:spPr/>
    </dgm:pt>
    <dgm:pt modelId="{7BDA2030-7165-44B4-9A3E-3240290D6205}" type="pres">
      <dgm:prSet presAssocID="{D8281198-08C8-4025-9281-001E7AE513A0}" presName="textNode" presStyleLbl="bgShp" presStyleIdx="4" presStyleCnt="5"/>
      <dgm:spPr/>
    </dgm:pt>
    <dgm:pt modelId="{7B74CA4A-687B-4ADC-AC39-C0C2E5CF75A7}" type="pres">
      <dgm:prSet presAssocID="{D8281198-08C8-4025-9281-001E7AE513A0}" presName="compChildNode" presStyleCnt="0"/>
      <dgm:spPr/>
    </dgm:pt>
    <dgm:pt modelId="{4FFFB7C9-C0AD-497F-9898-E85D38F50335}" type="pres">
      <dgm:prSet presAssocID="{D8281198-08C8-4025-9281-001E7AE513A0}" presName="theInnerList" presStyleCnt="0"/>
      <dgm:spPr/>
    </dgm:pt>
    <dgm:pt modelId="{2B4E2960-875A-4C12-9498-2D9822073D9F}" type="pres">
      <dgm:prSet presAssocID="{5068A018-7EF2-4B82-9BE8-3FC339959544}" presName="childNode" presStyleLbl="node1" presStyleIdx="6" presStyleCnt="7">
        <dgm:presLayoutVars>
          <dgm:bulletEnabled val="1"/>
        </dgm:presLayoutVars>
      </dgm:prSet>
      <dgm:spPr/>
    </dgm:pt>
  </dgm:ptLst>
  <dgm:cxnLst>
    <dgm:cxn modelId="{A127170F-FEA3-4423-820C-F8A7A4DB8125}" srcId="{B250E2E8-A9AC-40BC-B54E-41CD0F866201}" destId="{D384E879-6D24-43E8-B0EE-C38F3A0AB2DB}" srcOrd="3" destOrd="0" parTransId="{A5B536F2-D32B-463C-B157-AF125E941ED3}" sibTransId="{9286D314-CBBD-41B2-807B-47B84762D6DA}"/>
    <dgm:cxn modelId="{B91E0015-A3DD-40E5-88A2-EE5546339F6D}" type="presOf" srcId="{A80A0AA8-BBBF-462D-9913-FF1791D3D92D}" destId="{40F3804C-1CF2-4856-8949-48F6627C44B5}" srcOrd="0" destOrd="0" presId="urn:microsoft.com/office/officeart/2005/8/layout/lProcess2"/>
    <dgm:cxn modelId="{43BA4D1B-BE69-475A-96A6-B8706611456F}" type="presOf" srcId="{D8281198-08C8-4025-9281-001E7AE513A0}" destId="{7BDA2030-7165-44B4-9A3E-3240290D6205}" srcOrd="1" destOrd="0" presId="urn:microsoft.com/office/officeart/2005/8/layout/lProcess2"/>
    <dgm:cxn modelId="{03C58024-94CE-4D53-8FDE-21CB08D4575E}" type="presOf" srcId="{5068A018-7EF2-4B82-9BE8-3FC339959544}" destId="{2B4E2960-875A-4C12-9498-2D9822073D9F}" srcOrd="0" destOrd="0" presId="urn:microsoft.com/office/officeart/2005/8/layout/lProcess2"/>
    <dgm:cxn modelId="{0C9E6C5D-C629-4B78-B253-385A028FBE70}" type="presOf" srcId="{D384E879-6D24-43E8-B0EE-C38F3A0AB2DB}" destId="{7D45AECE-F8B5-4053-86DF-5E204DA1AABA}" srcOrd="0" destOrd="0" presId="urn:microsoft.com/office/officeart/2005/8/layout/lProcess2"/>
    <dgm:cxn modelId="{046C485E-74B4-4574-A97A-361E0A3A2C22}" type="presOf" srcId="{D9459782-5A29-4197-A8CC-0FC9F5A0DB35}" destId="{1E38B38C-7757-4AFC-A4A5-B7AD295E65B6}" srcOrd="0" destOrd="0" presId="urn:microsoft.com/office/officeart/2005/8/layout/lProcess2"/>
    <dgm:cxn modelId="{F81E4343-FD90-47D6-82FC-29D83698F550}" srcId="{D9459782-5A29-4197-A8CC-0FC9F5A0DB35}" destId="{D248DB17-C146-49BE-9257-6BCE15F8DB31}" srcOrd="2" destOrd="0" parTransId="{389F8B87-5A59-4BB4-A35A-D7D3E3DD5133}" sibTransId="{0E339D50-912F-42A8-BC68-A28AE146498A}"/>
    <dgm:cxn modelId="{CB201364-D16F-4CC8-8658-8BB68AF8C579}" type="presOf" srcId="{F4A8724F-EDA7-4472-ABFA-7F647F0769AE}" destId="{9C3B7929-8C13-48D3-BA5A-24E7B06F6167}" srcOrd="1" destOrd="0" presId="urn:microsoft.com/office/officeart/2005/8/layout/lProcess2"/>
    <dgm:cxn modelId="{14A07E44-D01C-4347-8C94-9C4B45557B0D}" type="presOf" srcId="{5DDE5ACE-E048-429A-8362-58C3512974CB}" destId="{0B1EB628-A91F-4A03-B0BB-BDAFAC944E32}" srcOrd="0" destOrd="0" presId="urn:microsoft.com/office/officeart/2005/8/layout/lProcess2"/>
    <dgm:cxn modelId="{0791DC65-56FA-4D79-AA73-46F522741C4E}" type="presOf" srcId="{D7B996E7-4AE9-4D68-A2C9-73F6FEF9F749}" destId="{2AF97D24-4962-40DC-B3F8-227063657348}" srcOrd="1" destOrd="0" presId="urn:microsoft.com/office/officeart/2005/8/layout/lProcess2"/>
    <dgm:cxn modelId="{C4E70246-A6E6-4830-9ABD-2464DE5D3CCF}" srcId="{B250E2E8-A9AC-40BC-B54E-41CD0F866201}" destId="{D9459782-5A29-4197-A8CC-0FC9F5A0DB35}" srcOrd="1" destOrd="0" parTransId="{57D0329F-BE61-4A94-A302-A849BEECD1F7}" sibTransId="{BE5C154A-4E94-4366-9C5D-0B745F581958}"/>
    <dgm:cxn modelId="{3048A76A-AB3B-4E42-B793-94325AA3DD41}" type="presOf" srcId="{D8281198-08C8-4025-9281-001E7AE513A0}" destId="{12CE0E28-AFA6-4EC6-9E45-E0FE3F2BE3AE}" srcOrd="0" destOrd="0" presId="urn:microsoft.com/office/officeart/2005/8/layout/lProcess2"/>
    <dgm:cxn modelId="{885BEC6E-EE88-4BCD-9588-62F7D26B36DA}" type="presOf" srcId="{D9459782-5A29-4197-A8CC-0FC9F5A0DB35}" destId="{22D59A5A-A3B0-4E13-BA8A-E0CA87761986}" srcOrd="1" destOrd="0" presId="urn:microsoft.com/office/officeart/2005/8/layout/lProcess2"/>
    <dgm:cxn modelId="{A0D0D870-3DB0-4901-A301-87A512E94ADF}" srcId="{B250E2E8-A9AC-40BC-B54E-41CD0F866201}" destId="{D7B996E7-4AE9-4D68-A2C9-73F6FEF9F749}" srcOrd="2" destOrd="0" parTransId="{0F58C572-EDEC-4727-A241-C381014DBBA5}" sibTransId="{BD77FFFD-A1A7-47BB-8118-A1FECF1EE016}"/>
    <dgm:cxn modelId="{FDC38D7A-596E-415D-88DD-E3AFBC13D3C7}" srcId="{D9459782-5A29-4197-A8CC-0FC9F5A0DB35}" destId="{A34E3D43-F5E4-47F5-92AB-9BF875C4595B}" srcOrd="1" destOrd="0" parTransId="{E5C13B37-4227-4A48-B5C2-90BF802AB422}" sibTransId="{4C1D070A-EAAE-4A27-9911-CB183E5E2182}"/>
    <dgm:cxn modelId="{0C332283-CA97-4405-8768-0E8BB68FC97D}" type="presOf" srcId="{D384E879-6D24-43E8-B0EE-C38F3A0AB2DB}" destId="{005F1AE2-4C6A-4939-8ADE-E128F7EF5B51}" srcOrd="1" destOrd="0" presId="urn:microsoft.com/office/officeart/2005/8/layout/lProcess2"/>
    <dgm:cxn modelId="{D800048A-7ACE-4AD1-A66C-5733D43C6507}" type="presOf" srcId="{F4A8724F-EDA7-4472-ABFA-7F647F0769AE}" destId="{F30F9D58-9067-4581-B8C9-C587C3B9FE1F}" srcOrd="0" destOrd="0" presId="urn:microsoft.com/office/officeart/2005/8/layout/lProcess2"/>
    <dgm:cxn modelId="{D6141794-F766-4A93-B4D2-F9796B7134B5}" type="presOf" srcId="{A34E3D43-F5E4-47F5-92AB-9BF875C4595B}" destId="{B0E7295E-6666-4ACB-80EA-DE855883143F}" srcOrd="0" destOrd="0" presId="urn:microsoft.com/office/officeart/2005/8/layout/lProcess2"/>
    <dgm:cxn modelId="{9B50E89D-33FE-4624-ABFC-5C5124B0BC9A}" srcId="{D8281198-08C8-4025-9281-001E7AE513A0}" destId="{5068A018-7EF2-4B82-9BE8-3FC339959544}" srcOrd="0" destOrd="0" parTransId="{8FC980E5-B7EA-4FCC-B8AB-718292196AAD}" sibTransId="{7D72AC83-04F3-4172-BB5B-E029D9C95AFE}"/>
    <dgm:cxn modelId="{F9D002B2-FF5C-4305-B048-0D3A476E7D8E}" srcId="{D384E879-6D24-43E8-B0EE-C38F3A0AB2DB}" destId="{58937628-C350-4BDA-B24A-729ED0626FE4}" srcOrd="0" destOrd="0" parTransId="{77B80EA5-0395-4E66-91BE-1B078749629B}" sibTransId="{0AFE73F8-8FB8-4658-9063-90BFC3899BE6}"/>
    <dgm:cxn modelId="{079E1DCB-6A93-40FC-9F47-456E765D704C}" srcId="{B250E2E8-A9AC-40BC-B54E-41CD0F866201}" destId="{F4A8724F-EDA7-4472-ABFA-7F647F0769AE}" srcOrd="0" destOrd="0" parTransId="{118D7270-4086-44D9-AFAE-A8D05D899EEF}" sibTransId="{1E143D44-74A9-42AA-BAC8-540F8EAB9948}"/>
    <dgm:cxn modelId="{222D42CB-5CAA-4169-A566-1751E8C1F2C3}" type="presOf" srcId="{D248DB17-C146-49BE-9257-6BCE15F8DB31}" destId="{064E88C3-E887-4D2A-A7D8-DD9B3800DE62}" srcOrd="0" destOrd="0" presId="urn:microsoft.com/office/officeart/2005/8/layout/lProcess2"/>
    <dgm:cxn modelId="{EA6F57CB-B9C5-4538-848E-48B80927664C}" type="presOf" srcId="{B250E2E8-A9AC-40BC-B54E-41CD0F866201}" destId="{53ABD22A-8AB2-4EA0-AA13-B6AE8D1D0D95}" srcOrd="0" destOrd="0" presId="urn:microsoft.com/office/officeart/2005/8/layout/lProcess2"/>
    <dgm:cxn modelId="{8508C2D5-A81B-4D29-B42F-743C35D2F3AD}" srcId="{D9459782-5A29-4197-A8CC-0FC9F5A0DB35}" destId="{5DDE5ACE-E048-429A-8362-58C3512974CB}" srcOrd="0" destOrd="0" parTransId="{C1997BEC-0DE4-4816-AEB1-DC6118F219F0}" sibTransId="{FCFF5471-D734-46EA-A1CA-CB8297BF49F7}"/>
    <dgm:cxn modelId="{7A1C7DDA-2B09-46A7-8A53-99CA1D98D4FA}" srcId="{F4A8724F-EDA7-4472-ABFA-7F647F0769AE}" destId="{F9056107-5FA3-4BC3-96AF-80BB7791645B}" srcOrd="0" destOrd="0" parTransId="{74E60D96-5DC3-4321-8A46-CA0D67C3EDB1}" sibTransId="{5C66B34B-FD98-4645-B6E4-7B5AC5797CFF}"/>
    <dgm:cxn modelId="{D33F3CDE-AADB-46C4-9D09-75DDDFA7F4C3}" type="presOf" srcId="{F9056107-5FA3-4BC3-96AF-80BB7791645B}" destId="{573518BA-E4CB-4E5B-BB19-4A2E74BAA0FB}" srcOrd="0" destOrd="0" presId="urn:microsoft.com/office/officeart/2005/8/layout/lProcess2"/>
    <dgm:cxn modelId="{5B70B6E3-4FB3-4688-8BDB-40C2407BDE3D}" type="presOf" srcId="{58937628-C350-4BDA-B24A-729ED0626FE4}" destId="{11E2E5ED-2C16-425D-9DAF-1F80DFBA6D7C}" srcOrd="0" destOrd="0" presId="urn:microsoft.com/office/officeart/2005/8/layout/lProcess2"/>
    <dgm:cxn modelId="{A3BA6EE5-7533-4F2B-BB7B-88475BC9787A}" srcId="{B250E2E8-A9AC-40BC-B54E-41CD0F866201}" destId="{D8281198-08C8-4025-9281-001E7AE513A0}" srcOrd="4" destOrd="0" parTransId="{28CFA9AF-3479-4B2C-AE8F-689174F54AEA}" sibTransId="{06E709F1-B714-4C01-A8C2-C779B7184C3E}"/>
    <dgm:cxn modelId="{653181FB-07DC-4220-A31D-4F1C346ACB83}" srcId="{D7B996E7-4AE9-4D68-A2C9-73F6FEF9F749}" destId="{A80A0AA8-BBBF-462D-9913-FF1791D3D92D}" srcOrd="0" destOrd="0" parTransId="{D5ABDD6A-5E3C-4806-8AE7-77B994BB03F2}" sibTransId="{55A66AF1-25B6-4BC2-8DBF-9E5D92AAEFBD}"/>
    <dgm:cxn modelId="{E22FF6FB-FEE1-43BD-8480-3BBA9602ACAE}" type="presOf" srcId="{D7B996E7-4AE9-4D68-A2C9-73F6FEF9F749}" destId="{D174599E-222E-457A-BFD6-2620322894C0}" srcOrd="0" destOrd="0" presId="urn:microsoft.com/office/officeart/2005/8/layout/lProcess2"/>
    <dgm:cxn modelId="{0D25AB84-48C7-48EC-9409-28E5135B6481}" type="presParOf" srcId="{53ABD22A-8AB2-4EA0-AA13-B6AE8D1D0D95}" destId="{790B8A9D-9BD0-44A3-AE20-430630502152}" srcOrd="0" destOrd="0" presId="urn:microsoft.com/office/officeart/2005/8/layout/lProcess2"/>
    <dgm:cxn modelId="{3E1454F1-60A3-4AA9-A7B8-76A034ED3C7B}" type="presParOf" srcId="{790B8A9D-9BD0-44A3-AE20-430630502152}" destId="{F30F9D58-9067-4581-B8C9-C587C3B9FE1F}" srcOrd="0" destOrd="0" presId="urn:microsoft.com/office/officeart/2005/8/layout/lProcess2"/>
    <dgm:cxn modelId="{50119DED-2A92-40DC-8C20-9C1F4E8ED0B6}" type="presParOf" srcId="{790B8A9D-9BD0-44A3-AE20-430630502152}" destId="{9C3B7929-8C13-48D3-BA5A-24E7B06F6167}" srcOrd="1" destOrd="0" presId="urn:microsoft.com/office/officeart/2005/8/layout/lProcess2"/>
    <dgm:cxn modelId="{581FD319-1F9B-4F62-8A0B-8DB6A0BD030A}" type="presParOf" srcId="{790B8A9D-9BD0-44A3-AE20-430630502152}" destId="{E68A6D00-94BA-4BE7-8CAA-3E5AE20FDDBB}" srcOrd="2" destOrd="0" presId="urn:microsoft.com/office/officeart/2005/8/layout/lProcess2"/>
    <dgm:cxn modelId="{6B0A03DC-C2A2-48EC-BB92-CA3FBF208B8C}" type="presParOf" srcId="{E68A6D00-94BA-4BE7-8CAA-3E5AE20FDDBB}" destId="{7ECB9F98-68D6-4F81-B68C-D4C5A6B9EBBD}" srcOrd="0" destOrd="0" presId="urn:microsoft.com/office/officeart/2005/8/layout/lProcess2"/>
    <dgm:cxn modelId="{21E61670-1DCF-48C1-A1FE-C5C9AE31F7DC}" type="presParOf" srcId="{7ECB9F98-68D6-4F81-B68C-D4C5A6B9EBBD}" destId="{573518BA-E4CB-4E5B-BB19-4A2E74BAA0FB}" srcOrd="0" destOrd="0" presId="urn:microsoft.com/office/officeart/2005/8/layout/lProcess2"/>
    <dgm:cxn modelId="{193346C8-35EC-45A5-885B-3A24E2BE5CDF}" type="presParOf" srcId="{53ABD22A-8AB2-4EA0-AA13-B6AE8D1D0D95}" destId="{29905C7F-790B-41DA-9B57-CE0B601B2C21}" srcOrd="1" destOrd="0" presId="urn:microsoft.com/office/officeart/2005/8/layout/lProcess2"/>
    <dgm:cxn modelId="{9A955C7A-ADF8-467B-B86C-ABE82CF9AACA}" type="presParOf" srcId="{53ABD22A-8AB2-4EA0-AA13-B6AE8D1D0D95}" destId="{4181701F-DD73-4CD7-B33D-C990A21A7F3E}" srcOrd="2" destOrd="0" presId="urn:microsoft.com/office/officeart/2005/8/layout/lProcess2"/>
    <dgm:cxn modelId="{82F54FA0-D1F0-4A42-893E-41C1534DDB6D}" type="presParOf" srcId="{4181701F-DD73-4CD7-B33D-C990A21A7F3E}" destId="{1E38B38C-7757-4AFC-A4A5-B7AD295E65B6}" srcOrd="0" destOrd="0" presId="urn:microsoft.com/office/officeart/2005/8/layout/lProcess2"/>
    <dgm:cxn modelId="{2CCB62C7-56DF-4BF2-B408-26DF29F5DB9C}" type="presParOf" srcId="{4181701F-DD73-4CD7-B33D-C990A21A7F3E}" destId="{22D59A5A-A3B0-4E13-BA8A-E0CA87761986}" srcOrd="1" destOrd="0" presId="urn:microsoft.com/office/officeart/2005/8/layout/lProcess2"/>
    <dgm:cxn modelId="{F1FEB916-B7CB-4F48-840B-C6E18166774A}" type="presParOf" srcId="{4181701F-DD73-4CD7-B33D-C990A21A7F3E}" destId="{08FB25CB-ED29-4557-8147-FDE85B90D32D}" srcOrd="2" destOrd="0" presId="urn:microsoft.com/office/officeart/2005/8/layout/lProcess2"/>
    <dgm:cxn modelId="{789B732C-39F2-4795-B361-033F6A6D46FD}" type="presParOf" srcId="{08FB25CB-ED29-4557-8147-FDE85B90D32D}" destId="{5919383B-3DF0-4CAB-8AEF-358DC99BEBA2}" srcOrd="0" destOrd="0" presId="urn:microsoft.com/office/officeart/2005/8/layout/lProcess2"/>
    <dgm:cxn modelId="{1F6E7FA8-9317-4E5B-82FF-2E06877B39CD}" type="presParOf" srcId="{5919383B-3DF0-4CAB-8AEF-358DC99BEBA2}" destId="{0B1EB628-A91F-4A03-B0BB-BDAFAC944E32}" srcOrd="0" destOrd="0" presId="urn:microsoft.com/office/officeart/2005/8/layout/lProcess2"/>
    <dgm:cxn modelId="{287C3F7B-AFA3-4198-9C59-D5E6D58A63DD}" type="presParOf" srcId="{5919383B-3DF0-4CAB-8AEF-358DC99BEBA2}" destId="{22D324A2-907F-474B-8925-BC63DF620263}" srcOrd="1" destOrd="0" presId="urn:microsoft.com/office/officeart/2005/8/layout/lProcess2"/>
    <dgm:cxn modelId="{113ABB28-B5E1-42C7-A947-FBEF21C632C8}" type="presParOf" srcId="{5919383B-3DF0-4CAB-8AEF-358DC99BEBA2}" destId="{B0E7295E-6666-4ACB-80EA-DE855883143F}" srcOrd="2" destOrd="0" presId="urn:microsoft.com/office/officeart/2005/8/layout/lProcess2"/>
    <dgm:cxn modelId="{939D91EB-AB50-477B-AF3D-791C7C673AB6}" type="presParOf" srcId="{5919383B-3DF0-4CAB-8AEF-358DC99BEBA2}" destId="{EE0DBFC5-B3A9-46AB-8B97-37671AF296E5}" srcOrd="3" destOrd="0" presId="urn:microsoft.com/office/officeart/2005/8/layout/lProcess2"/>
    <dgm:cxn modelId="{168F17C9-6FEE-46D8-9627-5B27C0C4F88D}" type="presParOf" srcId="{5919383B-3DF0-4CAB-8AEF-358DC99BEBA2}" destId="{064E88C3-E887-4D2A-A7D8-DD9B3800DE62}" srcOrd="4" destOrd="0" presId="urn:microsoft.com/office/officeart/2005/8/layout/lProcess2"/>
    <dgm:cxn modelId="{40A3436F-3F44-4648-B12D-D2F95AE02122}" type="presParOf" srcId="{53ABD22A-8AB2-4EA0-AA13-B6AE8D1D0D95}" destId="{94A8A13A-0AEC-4788-809A-A7FF2890E2E1}" srcOrd="3" destOrd="0" presId="urn:microsoft.com/office/officeart/2005/8/layout/lProcess2"/>
    <dgm:cxn modelId="{F6C4593C-1FB6-443A-A8FA-6E8A44D8BA27}" type="presParOf" srcId="{53ABD22A-8AB2-4EA0-AA13-B6AE8D1D0D95}" destId="{88CFFD24-2A1F-4D8B-BA8F-E1D32DDA6D18}" srcOrd="4" destOrd="0" presId="urn:microsoft.com/office/officeart/2005/8/layout/lProcess2"/>
    <dgm:cxn modelId="{7BBCACF0-C585-4BB7-B762-1B2C2DD0068C}" type="presParOf" srcId="{88CFFD24-2A1F-4D8B-BA8F-E1D32DDA6D18}" destId="{D174599E-222E-457A-BFD6-2620322894C0}" srcOrd="0" destOrd="0" presId="urn:microsoft.com/office/officeart/2005/8/layout/lProcess2"/>
    <dgm:cxn modelId="{10611E5A-B9FF-4024-A20E-2057FAE80CD0}" type="presParOf" srcId="{88CFFD24-2A1F-4D8B-BA8F-E1D32DDA6D18}" destId="{2AF97D24-4962-40DC-B3F8-227063657348}" srcOrd="1" destOrd="0" presId="urn:microsoft.com/office/officeart/2005/8/layout/lProcess2"/>
    <dgm:cxn modelId="{3C57476E-E889-449E-813E-1CCE0AA3ABBA}" type="presParOf" srcId="{88CFFD24-2A1F-4D8B-BA8F-E1D32DDA6D18}" destId="{BB3F12E5-9ED4-46B9-BE83-7833756D4794}" srcOrd="2" destOrd="0" presId="urn:microsoft.com/office/officeart/2005/8/layout/lProcess2"/>
    <dgm:cxn modelId="{87DD2AA9-90E2-4C4A-8FE1-D8897ED74E7C}" type="presParOf" srcId="{BB3F12E5-9ED4-46B9-BE83-7833756D4794}" destId="{1DAC08EC-BDA1-47BE-9456-1EE3595CFE53}" srcOrd="0" destOrd="0" presId="urn:microsoft.com/office/officeart/2005/8/layout/lProcess2"/>
    <dgm:cxn modelId="{38F660CC-6854-4BC8-9D04-02953FFEEF5F}" type="presParOf" srcId="{1DAC08EC-BDA1-47BE-9456-1EE3595CFE53}" destId="{40F3804C-1CF2-4856-8949-48F6627C44B5}" srcOrd="0" destOrd="0" presId="urn:microsoft.com/office/officeart/2005/8/layout/lProcess2"/>
    <dgm:cxn modelId="{A264B9CD-9177-47B3-B3D0-5D9C6CFD091B}" type="presParOf" srcId="{53ABD22A-8AB2-4EA0-AA13-B6AE8D1D0D95}" destId="{B6C785C4-C6D4-413A-9ABA-3543FFB8D3BC}" srcOrd="5" destOrd="0" presId="urn:microsoft.com/office/officeart/2005/8/layout/lProcess2"/>
    <dgm:cxn modelId="{94D6E274-C544-4025-A1B7-D1EE0C4A4376}" type="presParOf" srcId="{53ABD22A-8AB2-4EA0-AA13-B6AE8D1D0D95}" destId="{BB02F8D8-5E88-456B-9032-F13312EF9A38}" srcOrd="6" destOrd="0" presId="urn:microsoft.com/office/officeart/2005/8/layout/lProcess2"/>
    <dgm:cxn modelId="{CFAAB49C-C2DD-42DB-A311-FAF8B6AAB2C4}" type="presParOf" srcId="{BB02F8D8-5E88-456B-9032-F13312EF9A38}" destId="{7D45AECE-F8B5-4053-86DF-5E204DA1AABA}" srcOrd="0" destOrd="0" presId="urn:microsoft.com/office/officeart/2005/8/layout/lProcess2"/>
    <dgm:cxn modelId="{9FE75BFC-EF42-4DC1-AE6C-B9FC74BD5B97}" type="presParOf" srcId="{BB02F8D8-5E88-456B-9032-F13312EF9A38}" destId="{005F1AE2-4C6A-4939-8ADE-E128F7EF5B51}" srcOrd="1" destOrd="0" presId="urn:microsoft.com/office/officeart/2005/8/layout/lProcess2"/>
    <dgm:cxn modelId="{AC3CB9D9-77B5-482B-A143-FFAA7CEED4EF}" type="presParOf" srcId="{BB02F8D8-5E88-456B-9032-F13312EF9A38}" destId="{77A51793-56B4-4FCC-9DD5-6E97A99D9A45}" srcOrd="2" destOrd="0" presId="urn:microsoft.com/office/officeart/2005/8/layout/lProcess2"/>
    <dgm:cxn modelId="{F4FA81E6-F204-4AA2-B8DF-5738BD5474F8}" type="presParOf" srcId="{77A51793-56B4-4FCC-9DD5-6E97A99D9A45}" destId="{E28261DB-F241-4B92-AB7F-2F8D7370FDB0}" srcOrd="0" destOrd="0" presId="urn:microsoft.com/office/officeart/2005/8/layout/lProcess2"/>
    <dgm:cxn modelId="{D248945F-D525-4BB3-9F1E-7F0A88F00E15}" type="presParOf" srcId="{E28261DB-F241-4B92-AB7F-2F8D7370FDB0}" destId="{11E2E5ED-2C16-425D-9DAF-1F80DFBA6D7C}" srcOrd="0" destOrd="0" presId="urn:microsoft.com/office/officeart/2005/8/layout/lProcess2"/>
    <dgm:cxn modelId="{27AAC4B3-2175-41CB-83A3-48BE70424381}" type="presParOf" srcId="{53ABD22A-8AB2-4EA0-AA13-B6AE8D1D0D95}" destId="{DB0F2F08-7FE7-4EB5-8479-87F343EB3640}" srcOrd="7" destOrd="0" presId="urn:microsoft.com/office/officeart/2005/8/layout/lProcess2"/>
    <dgm:cxn modelId="{72469167-97C6-4CD8-8B99-E51BEC246D90}" type="presParOf" srcId="{53ABD22A-8AB2-4EA0-AA13-B6AE8D1D0D95}" destId="{C7771065-4068-46B9-88FD-461C5360ABF1}" srcOrd="8" destOrd="0" presId="urn:microsoft.com/office/officeart/2005/8/layout/lProcess2"/>
    <dgm:cxn modelId="{D87AC78C-AA70-4287-A27D-7FFA3162CFBE}" type="presParOf" srcId="{C7771065-4068-46B9-88FD-461C5360ABF1}" destId="{12CE0E28-AFA6-4EC6-9E45-E0FE3F2BE3AE}" srcOrd="0" destOrd="0" presId="urn:microsoft.com/office/officeart/2005/8/layout/lProcess2"/>
    <dgm:cxn modelId="{913ED616-5AB9-4E21-96E1-125A7255253E}" type="presParOf" srcId="{C7771065-4068-46B9-88FD-461C5360ABF1}" destId="{7BDA2030-7165-44B4-9A3E-3240290D6205}" srcOrd="1" destOrd="0" presId="urn:microsoft.com/office/officeart/2005/8/layout/lProcess2"/>
    <dgm:cxn modelId="{2A0AEA26-FE0C-40FC-B454-D4221B6DFB8B}" type="presParOf" srcId="{C7771065-4068-46B9-88FD-461C5360ABF1}" destId="{7B74CA4A-687B-4ADC-AC39-C0C2E5CF75A7}" srcOrd="2" destOrd="0" presId="urn:microsoft.com/office/officeart/2005/8/layout/lProcess2"/>
    <dgm:cxn modelId="{E3FA9FA4-E463-431A-9F4D-FD5B96FEF81E}" type="presParOf" srcId="{7B74CA4A-687B-4ADC-AC39-C0C2E5CF75A7}" destId="{4FFFB7C9-C0AD-497F-9898-E85D38F50335}" srcOrd="0" destOrd="0" presId="urn:microsoft.com/office/officeart/2005/8/layout/lProcess2"/>
    <dgm:cxn modelId="{B76DDB27-1C86-4A60-80CC-822DD3D3A708}" type="presParOf" srcId="{4FFFB7C9-C0AD-497F-9898-E85D38F50335}" destId="{2B4E2960-875A-4C12-9498-2D9822073D9F}" srcOrd="0" destOrd="0" presId="urn:microsoft.com/office/officeart/2005/8/layout/l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D3E8C01B-ABD0-4694-B154-4EC5E73877C6}"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4908F522-CCAE-4187-AC75-F2976AED433C}">
      <dgm:prSet phldrT="[Text]"/>
      <dgm:spPr/>
      <dgm:t>
        <a:bodyPr/>
        <a:lstStyle/>
        <a:p>
          <a:r>
            <a:rPr lang="en-US" dirty="0"/>
            <a:t>Parallel redo and indirect checkpoint help</a:t>
          </a:r>
        </a:p>
      </dgm:t>
    </dgm:pt>
    <dgm:pt modelId="{A3602A98-3B1A-4FD1-AD4B-F7B36CB2C29C}" type="parTrans" cxnId="{2FC22689-A734-45EA-9887-E23FED5EBE99}">
      <dgm:prSet/>
      <dgm:spPr/>
      <dgm:t>
        <a:bodyPr/>
        <a:lstStyle/>
        <a:p>
          <a:endParaRPr lang="en-US"/>
        </a:p>
      </dgm:t>
    </dgm:pt>
    <dgm:pt modelId="{2158ED31-8163-4509-A3A6-D65E29F44661}" type="sibTrans" cxnId="{2FC22689-A734-45EA-9887-E23FED5EBE99}">
      <dgm:prSet/>
      <dgm:spPr/>
      <dgm:t>
        <a:bodyPr/>
        <a:lstStyle/>
        <a:p>
          <a:endParaRPr lang="en-US"/>
        </a:p>
      </dgm:t>
    </dgm:pt>
    <dgm:pt modelId="{87A1D241-BE96-404E-B8F1-667707C47BB3}">
      <dgm:prSet phldrT="[Text]"/>
      <dgm:spPr/>
      <dgm:t>
        <a:bodyPr/>
        <a:lstStyle/>
        <a:p>
          <a:r>
            <a:rPr lang="en-US" dirty="0"/>
            <a:t>“Long” recovery usually due to long undo</a:t>
          </a:r>
        </a:p>
      </dgm:t>
    </dgm:pt>
    <dgm:pt modelId="{C6502312-4373-4F54-8795-5CF2FCFAFC75}" type="parTrans" cxnId="{864EEBB6-3387-43AD-B8DE-DA428E588CF7}">
      <dgm:prSet/>
      <dgm:spPr/>
      <dgm:t>
        <a:bodyPr/>
        <a:lstStyle/>
        <a:p>
          <a:endParaRPr lang="en-US"/>
        </a:p>
      </dgm:t>
    </dgm:pt>
    <dgm:pt modelId="{46C28CE6-F1FB-490C-83F4-FCC1764B2686}" type="sibTrans" cxnId="{864EEBB6-3387-43AD-B8DE-DA428E588CF7}">
      <dgm:prSet/>
      <dgm:spPr/>
      <dgm:t>
        <a:bodyPr/>
        <a:lstStyle/>
        <a:p>
          <a:endParaRPr lang="en-US"/>
        </a:p>
      </dgm:t>
    </dgm:pt>
    <dgm:pt modelId="{148636D0-F758-4F84-82B8-D991A4A461C1}">
      <dgm:prSet phldrT="[Text]"/>
      <dgm:spPr/>
      <dgm:t>
        <a:bodyPr/>
        <a:lstStyle/>
        <a:p>
          <a:r>
            <a:rPr lang="en-US" dirty="0"/>
            <a:t>Undo dependent on oldest active transaction</a:t>
          </a:r>
        </a:p>
      </dgm:t>
    </dgm:pt>
    <dgm:pt modelId="{A45574D5-A9A8-4E72-A4D3-690E733DCE60}" type="parTrans" cxnId="{89FDCE87-270A-46A5-BC85-AADA59D61F87}">
      <dgm:prSet/>
      <dgm:spPr/>
      <dgm:t>
        <a:bodyPr/>
        <a:lstStyle/>
        <a:p>
          <a:endParaRPr lang="en-US"/>
        </a:p>
      </dgm:t>
    </dgm:pt>
    <dgm:pt modelId="{683EE71D-2D24-41E7-96DC-9456C3FBEDB8}" type="sibTrans" cxnId="{89FDCE87-270A-46A5-BC85-AADA59D61F87}">
      <dgm:prSet/>
      <dgm:spPr/>
      <dgm:t>
        <a:bodyPr/>
        <a:lstStyle/>
        <a:p>
          <a:endParaRPr lang="en-US"/>
        </a:p>
      </dgm:t>
    </dgm:pt>
    <dgm:pt modelId="{DB6298D5-4D01-422B-8DE2-D85F5AF7B5D1}" type="pres">
      <dgm:prSet presAssocID="{D3E8C01B-ABD0-4694-B154-4EC5E73877C6}" presName="diagram" presStyleCnt="0">
        <dgm:presLayoutVars>
          <dgm:dir/>
          <dgm:resizeHandles val="exact"/>
        </dgm:presLayoutVars>
      </dgm:prSet>
      <dgm:spPr/>
    </dgm:pt>
    <dgm:pt modelId="{142C0297-7972-44A3-91D9-677BBE6965B8}" type="pres">
      <dgm:prSet presAssocID="{4908F522-CCAE-4187-AC75-F2976AED433C}" presName="node" presStyleLbl="node1" presStyleIdx="0" presStyleCnt="3">
        <dgm:presLayoutVars>
          <dgm:bulletEnabled val="1"/>
        </dgm:presLayoutVars>
      </dgm:prSet>
      <dgm:spPr/>
    </dgm:pt>
    <dgm:pt modelId="{5DEFB087-CA9E-4709-AF64-D7EF181B29BD}" type="pres">
      <dgm:prSet presAssocID="{2158ED31-8163-4509-A3A6-D65E29F44661}" presName="sibTrans" presStyleCnt="0"/>
      <dgm:spPr/>
    </dgm:pt>
    <dgm:pt modelId="{3F567382-DF82-401B-BD2B-3094BE6E1D3E}" type="pres">
      <dgm:prSet presAssocID="{148636D0-F758-4F84-82B8-D991A4A461C1}" presName="node" presStyleLbl="node1" presStyleIdx="1" presStyleCnt="3">
        <dgm:presLayoutVars>
          <dgm:bulletEnabled val="1"/>
        </dgm:presLayoutVars>
      </dgm:prSet>
      <dgm:spPr/>
    </dgm:pt>
    <dgm:pt modelId="{2148E235-CE7F-4B53-A7CE-C475DE3F1260}" type="pres">
      <dgm:prSet presAssocID="{683EE71D-2D24-41E7-96DC-9456C3FBEDB8}" presName="sibTrans" presStyleCnt="0"/>
      <dgm:spPr/>
    </dgm:pt>
    <dgm:pt modelId="{4144D6A6-656B-4191-84EC-795DAAC0A419}" type="pres">
      <dgm:prSet presAssocID="{87A1D241-BE96-404E-B8F1-667707C47BB3}" presName="node" presStyleLbl="node1" presStyleIdx="2" presStyleCnt="3">
        <dgm:presLayoutVars>
          <dgm:bulletEnabled val="1"/>
        </dgm:presLayoutVars>
      </dgm:prSet>
      <dgm:spPr/>
    </dgm:pt>
  </dgm:ptLst>
  <dgm:cxnLst>
    <dgm:cxn modelId="{0B7BC740-D3B2-447F-BFAD-A979099CF222}" type="presOf" srcId="{4908F522-CCAE-4187-AC75-F2976AED433C}" destId="{142C0297-7972-44A3-91D9-677BBE6965B8}" srcOrd="0" destOrd="0" presId="urn:microsoft.com/office/officeart/2005/8/layout/default"/>
    <dgm:cxn modelId="{52D3186E-5D63-41FE-A38D-894BA6C12905}" type="presOf" srcId="{87A1D241-BE96-404E-B8F1-667707C47BB3}" destId="{4144D6A6-656B-4191-84EC-795DAAC0A419}" srcOrd="0" destOrd="0" presId="urn:microsoft.com/office/officeart/2005/8/layout/default"/>
    <dgm:cxn modelId="{658E1173-733D-44DD-B435-2C3666B73C10}" type="presOf" srcId="{148636D0-F758-4F84-82B8-D991A4A461C1}" destId="{3F567382-DF82-401B-BD2B-3094BE6E1D3E}" srcOrd="0" destOrd="0" presId="urn:microsoft.com/office/officeart/2005/8/layout/default"/>
    <dgm:cxn modelId="{89FDCE87-270A-46A5-BC85-AADA59D61F87}" srcId="{D3E8C01B-ABD0-4694-B154-4EC5E73877C6}" destId="{148636D0-F758-4F84-82B8-D991A4A461C1}" srcOrd="1" destOrd="0" parTransId="{A45574D5-A9A8-4E72-A4D3-690E733DCE60}" sibTransId="{683EE71D-2D24-41E7-96DC-9456C3FBEDB8}"/>
    <dgm:cxn modelId="{2FC22689-A734-45EA-9887-E23FED5EBE99}" srcId="{D3E8C01B-ABD0-4694-B154-4EC5E73877C6}" destId="{4908F522-CCAE-4187-AC75-F2976AED433C}" srcOrd="0" destOrd="0" parTransId="{A3602A98-3B1A-4FD1-AD4B-F7B36CB2C29C}" sibTransId="{2158ED31-8163-4509-A3A6-D65E29F44661}"/>
    <dgm:cxn modelId="{864EEBB6-3387-43AD-B8DE-DA428E588CF7}" srcId="{D3E8C01B-ABD0-4694-B154-4EC5E73877C6}" destId="{87A1D241-BE96-404E-B8F1-667707C47BB3}" srcOrd="2" destOrd="0" parTransId="{C6502312-4373-4F54-8795-5CF2FCFAFC75}" sibTransId="{46C28CE6-F1FB-490C-83F4-FCC1764B2686}"/>
    <dgm:cxn modelId="{72DC57CD-0F9A-4F51-88DD-272872A2591B}" type="presOf" srcId="{D3E8C01B-ABD0-4694-B154-4EC5E73877C6}" destId="{DB6298D5-4D01-422B-8DE2-D85F5AF7B5D1}" srcOrd="0" destOrd="0" presId="urn:microsoft.com/office/officeart/2005/8/layout/default"/>
    <dgm:cxn modelId="{BAE90153-57C3-4632-8995-161BF014ED03}" type="presParOf" srcId="{DB6298D5-4D01-422B-8DE2-D85F5AF7B5D1}" destId="{142C0297-7972-44A3-91D9-677BBE6965B8}" srcOrd="0" destOrd="0" presId="urn:microsoft.com/office/officeart/2005/8/layout/default"/>
    <dgm:cxn modelId="{FA8AD1EC-393A-4405-9532-456C383ABA03}" type="presParOf" srcId="{DB6298D5-4D01-422B-8DE2-D85F5AF7B5D1}" destId="{5DEFB087-CA9E-4709-AF64-D7EF181B29BD}" srcOrd="1" destOrd="0" presId="urn:microsoft.com/office/officeart/2005/8/layout/default"/>
    <dgm:cxn modelId="{1C759737-91DA-49BC-A4BF-31548F79646B}" type="presParOf" srcId="{DB6298D5-4D01-422B-8DE2-D85F5AF7B5D1}" destId="{3F567382-DF82-401B-BD2B-3094BE6E1D3E}" srcOrd="2" destOrd="0" presId="urn:microsoft.com/office/officeart/2005/8/layout/default"/>
    <dgm:cxn modelId="{CE64B358-2021-41B5-9A3C-01F4C5062CC2}" type="presParOf" srcId="{DB6298D5-4D01-422B-8DE2-D85F5AF7B5D1}" destId="{2148E235-CE7F-4B53-A7CE-C475DE3F1260}" srcOrd="3" destOrd="0" presId="urn:microsoft.com/office/officeart/2005/8/layout/default"/>
    <dgm:cxn modelId="{1289248F-B7D2-45EA-B058-D4DD028EB1E0}" type="presParOf" srcId="{DB6298D5-4D01-422B-8DE2-D85F5AF7B5D1}" destId="{4144D6A6-656B-4191-84EC-795DAAC0A419}" srcOrd="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206B5FFB-87A7-4D9F-9116-C3DE480B066E}"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AA593518-6782-4C7D-B252-62FE32B03F53}">
      <dgm:prSet phldrT="[Text]"/>
      <dgm:spPr/>
      <dgm:t>
        <a:bodyPr/>
        <a:lstStyle/>
        <a:p>
          <a:r>
            <a:rPr lang="en-US" dirty="0"/>
            <a:t>Persisted Version Store</a:t>
          </a:r>
        </a:p>
      </dgm:t>
    </dgm:pt>
    <dgm:pt modelId="{D1973079-C904-4B91-BA22-DCCABD512544}" type="parTrans" cxnId="{CE13E07E-ACBB-4C4D-8148-4D4FF7ABE22B}">
      <dgm:prSet/>
      <dgm:spPr/>
      <dgm:t>
        <a:bodyPr/>
        <a:lstStyle/>
        <a:p>
          <a:endParaRPr lang="en-US"/>
        </a:p>
      </dgm:t>
    </dgm:pt>
    <dgm:pt modelId="{A827483E-5110-450E-8992-3035724DF066}" type="sibTrans" cxnId="{CE13E07E-ACBB-4C4D-8148-4D4FF7ABE22B}">
      <dgm:prSet/>
      <dgm:spPr/>
      <dgm:t>
        <a:bodyPr/>
        <a:lstStyle/>
        <a:p>
          <a:endParaRPr lang="en-US"/>
        </a:p>
      </dgm:t>
    </dgm:pt>
    <dgm:pt modelId="{83235B57-F53F-4B44-8BB9-E3F449B922EA}">
      <dgm:prSet phldrT="[Text]"/>
      <dgm:spPr/>
      <dgm:t>
        <a:bodyPr/>
        <a:lstStyle/>
        <a:p>
          <a:r>
            <a:rPr lang="en-US" dirty="0"/>
            <a:t>Logical Revert</a:t>
          </a:r>
        </a:p>
      </dgm:t>
    </dgm:pt>
    <dgm:pt modelId="{D4EF6A3C-406E-4BBC-9DCB-8D3BECCDC860}" type="parTrans" cxnId="{621DFFF5-4D52-49A4-8B72-56F79043E437}">
      <dgm:prSet/>
      <dgm:spPr/>
      <dgm:t>
        <a:bodyPr/>
        <a:lstStyle/>
        <a:p>
          <a:endParaRPr lang="en-US"/>
        </a:p>
      </dgm:t>
    </dgm:pt>
    <dgm:pt modelId="{BF01D031-5375-4BEE-8FE7-A6D167752664}" type="sibTrans" cxnId="{621DFFF5-4D52-49A4-8B72-56F79043E437}">
      <dgm:prSet/>
      <dgm:spPr/>
      <dgm:t>
        <a:bodyPr/>
        <a:lstStyle/>
        <a:p>
          <a:endParaRPr lang="en-US"/>
        </a:p>
      </dgm:t>
    </dgm:pt>
    <dgm:pt modelId="{38613528-42BC-4973-9E02-82690165D0F0}">
      <dgm:prSet phldrT="[Text]"/>
      <dgm:spPr/>
      <dgm:t>
        <a:bodyPr/>
        <a:lstStyle/>
        <a:p>
          <a:r>
            <a:rPr lang="en-US" dirty="0"/>
            <a:t>sLog</a:t>
          </a:r>
        </a:p>
      </dgm:t>
    </dgm:pt>
    <dgm:pt modelId="{442217BB-76EE-4693-A3E6-0807CD9404DD}" type="parTrans" cxnId="{5BB90658-BF68-45F0-986A-11732F5A8B1E}">
      <dgm:prSet/>
      <dgm:spPr/>
      <dgm:t>
        <a:bodyPr/>
        <a:lstStyle/>
        <a:p>
          <a:endParaRPr lang="en-US"/>
        </a:p>
      </dgm:t>
    </dgm:pt>
    <dgm:pt modelId="{5B25A2CF-4F5D-4769-8F47-F08B70166D0E}" type="sibTrans" cxnId="{5BB90658-BF68-45F0-986A-11732F5A8B1E}">
      <dgm:prSet/>
      <dgm:spPr/>
      <dgm:t>
        <a:bodyPr/>
        <a:lstStyle/>
        <a:p>
          <a:endParaRPr lang="en-US"/>
        </a:p>
      </dgm:t>
    </dgm:pt>
    <dgm:pt modelId="{C9EDB6E8-8E1D-417A-A930-95F655966FF6}">
      <dgm:prSet phldrT="[Text]"/>
      <dgm:spPr/>
      <dgm:t>
        <a:bodyPr/>
        <a:lstStyle/>
        <a:p>
          <a:r>
            <a:rPr lang="en-US" dirty="0"/>
            <a:t>Cleaner</a:t>
          </a:r>
        </a:p>
      </dgm:t>
    </dgm:pt>
    <dgm:pt modelId="{6BE77B2F-4C49-42DB-A8E4-139C602CCFB5}" type="parTrans" cxnId="{4910D3F3-10C1-4290-9F61-E3341CF4939D}">
      <dgm:prSet/>
      <dgm:spPr/>
      <dgm:t>
        <a:bodyPr/>
        <a:lstStyle/>
        <a:p>
          <a:endParaRPr lang="en-US"/>
        </a:p>
      </dgm:t>
    </dgm:pt>
    <dgm:pt modelId="{0A1BE392-B18A-4856-9F82-4436E31A4B06}" type="sibTrans" cxnId="{4910D3F3-10C1-4290-9F61-E3341CF4939D}">
      <dgm:prSet/>
      <dgm:spPr/>
      <dgm:t>
        <a:bodyPr/>
        <a:lstStyle/>
        <a:p>
          <a:endParaRPr lang="en-US"/>
        </a:p>
      </dgm:t>
    </dgm:pt>
    <dgm:pt modelId="{84C581CE-261D-4027-A534-33D2AA03CB6A}" type="pres">
      <dgm:prSet presAssocID="{206B5FFB-87A7-4D9F-9116-C3DE480B066E}" presName="diagram" presStyleCnt="0">
        <dgm:presLayoutVars>
          <dgm:dir/>
          <dgm:resizeHandles val="exact"/>
        </dgm:presLayoutVars>
      </dgm:prSet>
      <dgm:spPr/>
    </dgm:pt>
    <dgm:pt modelId="{9DB184BF-9D04-49B0-89F1-E7B252FF6E2B}" type="pres">
      <dgm:prSet presAssocID="{AA593518-6782-4C7D-B252-62FE32B03F53}" presName="node" presStyleLbl="node1" presStyleIdx="0" presStyleCnt="4">
        <dgm:presLayoutVars>
          <dgm:bulletEnabled val="1"/>
        </dgm:presLayoutVars>
      </dgm:prSet>
      <dgm:spPr/>
    </dgm:pt>
    <dgm:pt modelId="{BF8AE313-5ECB-4F55-9892-428B0A911678}" type="pres">
      <dgm:prSet presAssocID="{A827483E-5110-450E-8992-3035724DF066}" presName="sibTrans" presStyleCnt="0"/>
      <dgm:spPr/>
    </dgm:pt>
    <dgm:pt modelId="{9ED8D298-C79D-4AF2-9347-1CD084771BD1}" type="pres">
      <dgm:prSet presAssocID="{83235B57-F53F-4B44-8BB9-E3F449B922EA}" presName="node" presStyleLbl="node1" presStyleIdx="1" presStyleCnt="4">
        <dgm:presLayoutVars>
          <dgm:bulletEnabled val="1"/>
        </dgm:presLayoutVars>
      </dgm:prSet>
      <dgm:spPr/>
    </dgm:pt>
    <dgm:pt modelId="{CB893C80-4F45-41CE-9D61-A90C4E7032E3}" type="pres">
      <dgm:prSet presAssocID="{BF01D031-5375-4BEE-8FE7-A6D167752664}" presName="sibTrans" presStyleCnt="0"/>
      <dgm:spPr/>
    </dgm:pt>
    <dgm:pt modelId="{B3AB1A72-1047-4A58-81A4-447D62BE6B7C}" type="pres">
      <dgm:prSet presAssocID="{38613528-42BC-4973-9E02-82690165D0F0}" presName="node" presStyleLbl="node1" presStyleIdx="2" presStyleCnt="4">
        <dgm:presLayoutVars>
          <dgm:bulletEnabled val="1"/>
        </dgm:presLayoutVars>
      </dgm:prSet>
      <dgm:spPr/>
    </dgm:pt>
    <dgm:pt modelId="{1AB3775E-7083-4875-BE44-5CC3E19AD9B9}" type="pres">
      <dgm:prSet presAssocID="{5B25A2CF-4F5D-4769-8F47-F08B70166D0E}" presName="sibTrans" presStyleCnt="0"/>
      <dgm:spPr/>
    </dgm:pt>
    <dgm:pt modelId="{5B04727B-952E-4F49-BA24-4E9249308685}" type="pres">
      <dgm:prSet presAssocID="{C9EDB6E8-8E1D-417A-A930-95F655966FF6}" presName="node" presStyleLbl="node1" presStyleIdx="3" presStyleCnt="4">
        <dgm:presLayoutVars>
          <dgm:bulletEnabled val="1"/>
        </dgm:presLayoutVars>
      </dgm:prSet>
      <dgm:spPr/>
    </dgm:pt>
  </dgm:ptLst>
  <dgm:cxnLst>
    <dgm:cxn modelId="{FF3EB724-51F7-4A76-B74E-592FED48630B}" type="presOf" srcId="{AA593518-6782-4C7D-B252-62FE32B03F53}" destId="{9DB184BF-9D04-49B0-89F1-E7B252FF6E2B}" srcOrd="0" destOrd="0" presId="urn:microsoft.com/office/officeart/2005/8/layout/default"/>
    <dgm:cxn modelId="{1032AA60-9719-4E68-A05F-F325BABE28C4}" type="presOf" srcId="{206B5FFB-87A7-4D9F-9116-C3DE480B066E}" destId="{84C581CE-261D-4027-A534-33D2AA03CB6A}" srcOrd="0" destOrd="0" presId="urn:microsoft.com/office/officeart/2005/8/layout/default"/>
    <dgm:cxn modelId="{5BB90658-BF68-45F0-986A-11732F5A8B1E}" srcId="{206B5FFB-87A7-4D9F-9116-C3DE480B066E}" destId="{38613528-42BC-4973-9E02-82690165D0F0}" srcOrd="2" destOrd="0" parTransId="{442217BB-76EE-4693-A3E6-0807CD9404DD}" sibTransId="{5B25A2CF-4F5D-4769-8F47-F08B70166D0E}"/>
    <dgm:cxn modelId="{CE13E07E-ACBB-4C4D-8148-4D4FF7ABE22B}" srcId="{206B5FFB-87A7-4D9F-9116-C3DE480B066E}" destId="{AA593518-6782-4C7D-B252-62FE32B03F53}" srcOrd="0" destOrd="0" parTransId="{D1973079-C904-4B91-BA22-DCCABD512544}" sibTransId="{A827483E-5110-450E-8992-3035724DF066}"/>
    <dgm:cxn modelId="{18DDB4A6-F2D2-4706-9835-3A4E88C5D2A7}" type="presOf" srcId="{38613528-42BC-4973-9E02-82690165D0F0}" destId="{B3AB1A72-1047-4A58-81A4-447D62BE6B7C}" srcOrd="0" destOrd="0" presId="urn:microsoft.com/office/officeart/2005/8/layout/default"/>
    <dgm:cxn modelId="{AD4720C4-2B7F-45B0-AE05-4F7FBCB1AE75}" type="presOf" srcId="{C9EDB6E8-8E1D-417A-A930-95F655966FF6}" destId="{5B04727B-952E-4F49-BA24-4E9249308685}" srcOrd="0" destOrd="0" presId="urn:microsoft.com/office/officeart/2005/8/layout/default"/>
    <dgm:cxn modelId="{D051B7E3-3C57-450B-BF83-5A5DC3483110}" type="presOf" srcId="{83235B57-F53F-4B44-8BB9-E3F449B922EA}" destId="{9ED8D298-C79D-4AF2-9347-1CD084771BD1}" srcOrd="0" destOrd="0" presId="urn:microsoft.com/office/officeart/2005/8/layout/default"/>
    <dgm:cxn modelId="{4910D3F3-10C1-4290-9F61-E3341CF4939D}" srcId="{206B5FFB-87A7-4D9F-9116-C3DE480B066E}" destId="{C9EDB6E8-8E1D-417A-A930-95F655966FF6}" srcOrd="3" destOrd="0" parTransId="{6BE77B2F-4C49-42DB-A8E4-139C602CCFB5}" sibTransId="{0A1BE392-B18A-4856-9F82-4436E31A4B06}"/>
    <dgm:cxn modelId="{621DFFF5-4D52-49A4-8B72-56F79043E437}" srcId="{206B5FFB-87A7-4D9F-9116-C3DE480B066E}" destId="{83235B57-F53F-4B44-8BB9-E3F449B922EA}" srcOrd="1" destOrd="0" parTransId="{D4EF6A3C-406E-4BBC-9DCB-8D3BECCDC860}" sibTransId="{BF01D031-5375-4BEE-8FE7-A6D167752664}"/>
    <dgm:cxn modelId="{A5C8AF96-B859-43DB-9030-DAE554C87F13}" type="presParOf" srcId="{84C581CE-261D-4027-A534-33D2AA03CB6A}" destId="{9DB184BF-9D04-49B0-89F1-E7B252FF6E2B}" srcOrd="0" destOrd="0" presId="urn:microsoft.com/office/officeart/2005/8/layout/default"/>
    <dgm:cxn modelId="{6E163EC0-F315-482B-906D-6B3BC8E01F3E}" type="presParOf" srcId="{84C581CE-261D-4027-A534-33D2AA03CB6A}" destId="{BF8AE313-5ECB-4F55-9892-428B0A911678}" srcOrd="1" destOrd="0" presId="urn:microsoft.com/office/officeart/2005/8/layout/default"/>
    <dgm:cxn modelId="{F0AEF3EF-CA4D-47A9-A7AF-B705BCAF6406}" type="presParOf" srcId="{84C581CE-261D-4027-A534-33D2AA03CB6A}" destId="{9ED8D298-C79D-4AF2-9347-1CD084771BD1}" srcOrd="2" destOrd="0" presId="urn:microsoft.com/office/officeart/2005/8/layout/default"/>
    <dgm:cxn modelId="{E291418B-90EB-44EB-9724-36DF60AE2EEB}" type="presParOf" srcId="{84C581CE-261D-4027-A534-33D2AA03CB6A}" destId="{CB893C80-4F45-41CE-9D61-A90C4E7032E3}" srcOrd="3" destOrd="0" presId="urn:microsoft.com/office/officeart/2005/8/layout/default"/>
    <dgm:cxn modelId="{C2A8C9C3-8B38-49A9-975D-9DE3C3BC0BF8}" type="presParOf" srcId="{84C581CE-261D-4027-A534-33D2AA03CB6A}" destId="{B3AB1A72-1047-4A58-81A4-447D62BE6B7C}" srcOrd="4" destOrd="0" presId="urn:microsoft.com/office/officeart/2005/8/layout/default"/>
    <dgm:cxn modelId="{398EE6C7-7F6D-4F71-8F25-63A43EE75A16}" type="presParOf" srcId="{84C581CE-261D-4027-A534-33D2AA03CB6A}" destId="{1AB3775E-7083-4875-BE44-5CC3E19AD9B9}" srcOrd="5" destOrd="0" presId="urn:microsoft.com/office/officeart/2005/8/layout/default"/>
    <dgm:cxn modelId="{67319E41-D81D-42C8-904E-D19DBCC78665}" type="presParOf" srcId="{84C581CE-261D-4027-A534-33D2AA03CB6A}" destId="{5B04727B-952E-4F49-BA24-4E9249308685}" srcOrd="6"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970FDB5B-0843-4686-B2F1-F7991B2447C1}"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AB150C80-9725-47EB-AB59-9D1357133B38}">
      <dgm:prSet phldrT="[Text]"/>
      <dgm:spPr/>
      <dgm:t>
        <a:bodyPr/>
        <a:lstStyle/>
        <a:p>
          <a:r>
            <a:rPr lang="en-US" dirty="0"/>
            <a:t>R, Python, or Java on the same computer but not in SQL process</a:t>
          </a:r>
        </a:p>
      </dgm:t>
    </dgm:pt>
    <dgm:pt modelId="{F38FBAB8-3C2F-44F6-AC7A-BD77E0B42BEB}" type="parTrans" cxnId="{72DF7360-7E99-4B9B-B9B7-F75AEE408AD7}">
      <dgm:prSet/>
      <dgm:spPr/>
      <dgm:t>
        <a:bodyPr/>
        <a:lstStyle/>
        <a:p>
          <a:endParaRPr lang="en-US"/>
        </a:p>
      </dgm:t>
    </dgm:pt>
    <dgm:pt modelId="{4229DD21-4605-4FC2-AFE9-C7C53DD7C995}" type="sibTrans" cxnId="{72DF7360-7E99-4B9B-B9B7-F75AEE408AD7}">
      <dgm:prSet/>
      <dgm:spPr/>
      <dgm:t>
        <a:bodyPr/>
        <a:lstStyle/>
        <a:p>
          <a:endParaRPr lang="en-US"/>
        </a:p>
      </dgm:t>
    </dgm:pt>
    <dgm:pt modelId="{BF3233FA-3496-4497-A04F-E861BD9A7648}">
      <dgm:prSet phldrT="[Text]"/>
      <dgm:spPr/>
      <dgm:t>
        <a:bodyPr/>
        <a:lstStyle/>
        <a:p>
          <a:r>
            <a:rPr lang="en-US" dirty="0"/>
            <a:t>Compat across Windows and Linux</a:t>
          </a:r>
        </a:p>
      </dgm:t>
    </dgm:pt>
    <dgm:pt modelId="{9BDF8241-35BF-4DF0-A98E-4E3431B82254}" type="parTrans" cxnId="{ADD9736D-0CED-445F-BC92-FB736354AB1A}">
      <dgm:prSet/>
      <dgm:spPr/>
      <dgm:t>
        <a:bodyPr/>
        <a:lstStyle/>
        <a:p>
          <a:endParaRPr lang="en-US"/>
        </a:p>
      </dgm:t>
    </dgm:pt>
    <dgm:pt modelId="{1F140F44-3E66-458A-9288-58D18F8B8182}" type="sibTrans" cxnId="{ADD9736D-0CED-445F-BC92-FB736354AB1A}">
      <dgm:prSet/>
      <dgm:spPr/>
      <dgm:t>
        <a:bodyPr/>
        <a:lstStyle/>
        <a:p>
          <a:endParaRPr lang="en-US"/>
        </a:p>
      </dgm:t>
    </dgm:pt>
    <dgm:pt modelId="{6DA21F7C-C1D1-4D00-A2AD-2A0B70E289B3}">
      <dgm:prSet phldrT="[Text]"/>
      <dgm:spPr/>
      <dgm:t>
        <a:bodyPr/>
        <a:lstStyle/>
        <a:p>
          <a:r>
            <a:rPr lang="en-US" dirty="0"/>
            <a:t>Resource governor enabled</a:t>
          </a:r>
        </a:p>
      </dgm:t>
    </dgm:pt>
    <dgm:pt modelId="{CFF2001E-97F6-4458-AD58-CDD28AF5E718}" type="parTrans" cxnId="{69A2A591-4167-4F38-8B7A-783723C5468F}">
      <dgm:prSet/>
      <dgm:spPr/>
      <dgm:t>
        <a:bodyPr/>
        <a:lstStyle/>
        <a:p>
          <a:endParaRPr lang="en-US"/>
        </a:p>
      </dgm:t>
    </dgm:pt>
    <dgm:pt modelId="{9776DEDA-1C6E-4947-ADAA-75EBA3B4539D}" type="sibTrans" cxnId="{69A2A591-4167-4F38-8B7A-783723C5468F}">
      <dgm:prSet/>
      <dgm:spPr/>
      <dgm:t>
        <a:bodyPr/>
        <a:lstStyle/>
        <a:p>
          <a:endParaRPr lang="en-US"/>
        </a:p>
      </dgm:t>
    </dgm:pt>
    <dgm:pt modelId="{50EC864D-AE64-4E2B-B82F-7A884DBCCBF8}">
      <dgm:prSet phldrT="[Text]"/>
      <dgm:spPr/>
      <dgm:t>
        <a:bodyPr/>
        <a:lstStyle/>
        <a:p>
          <a:r>
            <a:rPr lang="en-US" dirty="0"/>
            <a:t>Extend the T-SQL language</a:t>
          </a:r>
        </a:p>
      </dgm:t>
    </dgm:pt>
    <dgm:pt modelId="{F2EEC04A-1AF3-4E59-A13F-A66A0CE35CE5}" type="parTrans" cxnId="{D8F0BCF9-39F1-4EA3-8AFD-3F048BF18A69}">
      <dgm:prSet/>
      <dgm:spPr/>
      <dgm:t>
        <a:bodyPr/>
        <a:lstStyle/>
        <a:p>
          <a:endParaRPr lang="en-US"/>
        </a:p>
      </dgm:t>
    </dgm:pt>
    <dgm:pt modelId="{1BAE82AA-6C7F-4603-A024-D105E096BA45}" type="sibTrans" cxnId="{D8F0BCF9-39F1-4EA3-8AFD-3F048BF18A69}">
      <dgm:prSet/>
      <dgm:spPr/>
      <dgm:t>
        <a:bodyPr/>
        <a:lstStyle/>
        <a:p>
          <a:endParaRPr lang="en-US"/>
        </a:p>
      </dgm:t>
    </dgm:pt>
    <dgm:pt modelId="{90022685-EECD-4C08-BEFA-EA2F1CDEA93B}">
      <dgm:prSet phldrT="[Text]"/>
      <dgm:spPr/>
      <dgm:t>
        <a:bodyPr/>
        <a:lstStyle/>
        <a:p>
          <a:r>
            <a:rPr lang="en-US" dirty="0"/>
            <a:t>Secure and isolated</a:t>
          </a:r>
        </a:p>
      </dgm:t>
    </dgm:pt>
    <dgm:pt modelId="{44C679FA-B258-4620-BB12-0B2D7655B976}" type="parTrans" cxnId="{3772A655-0FC9-43F9-991B-CD557B04F71A}">
      <dgm:prSet/>
      <dgm:spPr/>
      <dgm:t>
        <a:bodyPr/>
        <a:lstStyle/>
        <a:p>
          <a:endParaRPr lang="en-US"/>
        </a:p>
      </dgm:t>
    </dgm:pt>
    <dgm:pt modelId="{791AFF30-9717-4125-A2A4-FB99124E554E}" type="sibTrans" cxnId="{3772A655-0FC9-43F9-991B-CD557B04F71A}">
      <dgm:prSet/>
      <dgm:spPr/>
      <dgm:t>
        <a:bodyPr/>
        <a:lstStyle/>
        <a:p>
          <a:endParaRPr lang="en-US"/>
        </a:p>
      </dgm:t>
    </dgm:pt>
    <dgm:pt modelId="{5D62B1E0-C25A-44B7-AA13-26C31EBC47E6}">
      <dgm:prSet phldrT="[Text]"/>
      <dgm:spPr/>
      <dgm:t>
        <a:bodyPr/>
        <a:lstStyle/>
        <a:p>
          <a:r>
            <a:rPr lang="en-US" dirty="0"/>
            <a:t>Machine Learning</a:t>
          </a:r>
        </a:p>
      </dgm:t>
    </dgm:pt>
    <dgm:pt modelId="{4DFD104D-8AEC-4E19-8572-E2BEF7B9E809}" type="parTrans" cxnId="{DC100FBE-79E6-4243-9649-828F8D8A0B8E}">
      <dgm:prSet/>
      <dgm:spPr/>
      <dgm:t>
        <a:bodyPr/>
        <a:lstStyle/>
        <a:p>
          <a:endParaRPr lang="en-US"/>
        </a:p>
      </dgm:t>
    </dgm:pt>
    <dgm:pt modelId="{621490BA-5528-4161-B1FD-5C3CCBF849BB}" type="sibTrans" cxnId="{DC100FBE-79E6-4243-9649-828F8D8A0B8E}">
      <dgm:prSet/>
      <dgm:spPr/>
      <dgm:t>
        <a:bodyPr/>
        <a:lstStyle/>
        <a:p>
          <a:endParaRPr lang="en-US"/>
        </a:p>
      </dgm:t>
    </dgm:pt>
    <dgm:pt modelId="{149F2335-6CCB-4C43-BB82-A4257947A965}" type="pres">
      <dgm:prSet presAssocID="{970FDB5B-0843-4686-B2F1-F7991B2447C1}" presName="diagram" presStyleCnt="0">
        <dgm:presLayoutVars>
          <dgm:dir/>
          <dgm:resizeHandles val="exact"/>
        </dgm:presLayoutVars>
      </dgm:prSet>
      <dgm:spPr/>
    </dgm:pt>
    <dgm:pt modelId="{6EC20FFF-23F7-42C3-8D81-883B955D1F83}" type="pres">
      <dgm:prSet presAssocID="{AB150C80-9725-47EB-AB59-9D1357133B38}" presName="node" presStyleLbl="node1" presStyleIdx="0" presStyleCnt="6">
        <dgm:presLayoutVars>
          <dgm:bulletEnabled val="1"/>
        </dgm:presLayoutVars>
      </dgm:prSet>
      <dgm:spPr/>
    </dgm:pt>
    <dgm:pt modelId="{BB81864E-4F9D-456E-AE43-1D1B5240AD36}" type="pres">
      <dgm:prSet presAssocID="{4229DD21-4605-4FC2-AFE9-C7C53DD7C995}" presName="sibTrans" presStyleCnt="0"/>
      <dgm:spPr/>
    </dgm:pt>
    <dgm:pt modelId="{910A122A-2929-44C4-853D-706CDE98E43F}" type="pres">
      <dgm:prSet presAssocID="{50EC864D-AE64-4E2B-B82F-7A884DBCCBF8}" presName="node" presStyleLbl="node1" presStyleIdx="1" presStyleCnt="6">
        <dgm:presLayoutVars>
          <dgm:bulletEnabled val="1"/>
        </dgm:presLayoutVars>
      </dgm:prSet>
      <dgm:spPr/>
    </dgm:pt>
    <dgm:pt modelId="{7C269FF0-0AA5-4638-9F50-55400E37D473}" type="pres">
      <dgm:prSet presAssocID="{1BAE82AA-6C7F-4603-A024-D105E096BA45}" presName="sibTrans" presStyleCnt="0"/>
      <dgm:spPr/>
    </dgm:pt>
    <dgm:pt modelId="{6B9D86E9-EA09-48A2-9E14-A3A8914269F9}" type="pres">
      <dgm:prSet presAssocID="{5D62B1E0-C25A-44B7-AA13-26C31EBC47E6}" presName="node" presStyleLbl="node1" presStyleIdx="2" presStyleCnt="6">
        <dgm:presLayoutVars>
          <dgm:bulletEnabled val="1"/>
        </dgm:presLayoutVars>
      </dgm:prSet>
      <dgm:spPr/>
    </dgm:pt>
    <dgm:pt modelId="{F1E16D96-C311-45BB-844C-D0DB56113651}" type="pres">
      <dgm:prSet presAssocID="{621490BA-5528-4161-B1FD-5C3CCBF849BB}" presName="sibTrans" presStyleCnt="0"/>
      <dgm:spPr/>
    </dgm:pt>
    <dgm:pt modelId="{AFE9D508-A6C4-4E19-B94A-3FC7366EEEA8}" type="pres">
      <dgm:prSet presAssocID="{BF3233FA-3496-4497-A04F-E861BD9A7648}" presName="node" presStyleLbl="node1" presStyleIdx="3" presStyleCnt="6">
        <dgm:presLayoutVars>
          <dgm:bulletEnabled val="1"/>
        </dgm:presLayoutVars>
      </dgm:prSet>
      <dgm:spPr/>
    </dgm:pt>
    <dgm:pt modelId="{7C9CF341-3E95-45C5-AC0F-E42AB60ABF8D}" type="pres">
      <dgm:prSet presAssocID="{1F140F44-3E66-458A-9288-58D18F8B8182}" presName="sibTrans" presStyleCnt="0"/>
      <dgm:spPr/>
    </dgm:pt>
    <dgm:pt modelId="{509E2887-E6A7-40B6-9D56-4583D773DD4B}" type="pres">
      <dgm:prSet presAssocID="{90022685-EECD-4C08-BEFA-EA2F1CDEA93B}" presName="node" presStyleLbl="node1" presStyleIdx="4" presStyleCnt="6">
        <dgm:presLayoutVars>
          <dgm:bulletEnabled val="1"/>
        </dgm:presLayoutVars>
      </dgm:prSet>
      <dgm:spPr/>
    </dgm:pt>
    <dgm:pt modelId="{24C2CD66-4F50-4F6B-B8A1-FD1059312B7E}" type="pres">
      <dgm:prSet presAssocID="{791AFF30-9717-4125-A2A4-FB99124E554E}" presName="sibTrans" presStyleCnt="0"/>
      <dgm:spPr/>
    </dgm:pt>
    <dgm:pt modelId="{33B7DBE7-AE26-4AAD-85AE-0A1CF4D05DE2}" type="pres">
      <dgm:prSet presAssocID="{6DA21F7C-C1D1-4D00-A2AD-2A0B70E289B3}" presName="node" presStyleLbl="node1" presStyleIdx="5" presStyleCnt="6">
        <dgm:presLayoutVars>
          <dgm:bulletEnabled val="1"/>
        </dgm:presLayoutVars>
      </dgm:prSet>
      <dgm:spPr/>
    </dgm:pt>
  </dgm:ptLst>
  <dgm:cxnLst>
    <dgm:cxn modelId="{A18AF70B-7471-4E59-8B6B-A5247990DBE2}" type="presOf" srcId="{6DA21F7C-C1D1-4D00-A2AD-2A0B70E289B3}" destId="{33B7DBE7-AE26-4AAD-85AE-0A1CF4D05DE2}" srcOrd="0" destOrd="0" presId="urn:microsoft.com/office/officeart/2005/8/layout/default"/>
    <dgm:cxn modelId="{72DF7360-7E99-4B9B-B9B7-F75AEE408AD7}" srcId="{970FDB5B-0843-4686-B2F1-F7991B2447C1}" destId="{AB150C80-9725-47EB-AB59-9D1357133B38}" srcOrd="0" destOrd="0" parTransId="{F38FBAB8-3C2F-44F6-AC7A-BD77E0B42BEB}" sibTransId="{4229DD21-4605-4FC2-AFE9-C7C53DD7C995}"/>
    <dgm:cxn modelId="{ADD9736D-0CED-445F-BC92-FB736354AB1A}" srcId="{970FDB5B-0843-4686-B2F1-F7991B2447C1}" destId="{BF3233FA-3496-4497-A04F-E861BD9A7648}" srcOrd="3" destOrd="0" parTransId="{9BDF8241-35BF-4DF0-A98E-4E3431B82254}" sibTransId="{1F140F44-3E66-458A-9288-58D18F8B8182}"/>
    <dgm:cxn modelId="{3772A655-0FC9-43F9-991B-CD557B04F71A}" srcId="{970FDB5B-0843-4686-B2F1-F7991B2447C1}" destId="{90022685-EECD-4C08-BEFA-EA2F1CDEA93B}" srcOrd="4" destOrd="0" parTransId="{44C679FA-B258-4620-BB12-0B2D7655B976}" sibTransId="{791AFF30-9717-4125-A2A4-FB99124E554E}"/>
    <dgm:cxn modelId="{B73A2B7D-A2E0-4A1C-95D6-A5163CEC2F7A}" type="presOf" srcId="{AB150C80-9725-47EB-AB59-9D1357133B38}" destId="{6EC20FFF-23F7-42C3-8D81-883B955D1F83}" srcOrd="0" destOrd="0" presId="urn:microsoft.com/office/officeart/2005/8/layout/default"/>
    <dgm:cxn modelId="{69A2A591-4167-4F38-8B7A-783723C5468F}" srcId="{970FDB5B-0843-4686-B2F1-F7991B2447C1}" destId="{6DA21F7C-C1D1-4D00-A2AD-2A0B70E289B3}" srcOrd="5" destOrd="0" parTransId="{CFF2001E-97F6-4458-AD58-CDD28AF5E718}" sibTransId="{9776DEDA-1C6E-4947-ADAA-75EBA3B4539D}"/>
    <dgm:cxn modelId="{DC100FBE-79E6-4243-9649-828F8D8A0B8E}" srcId="{970FDB5B-0843-4686-B2F1-F7991B2447C1}" destId="{5D62B1E0-C25A-44B7-AA13-26C31EBC47E6}" srcOrd="2" destOrd="0" parTransId="{4DFD104D-8AEC-4E19-8572-E2BEF7B9E809}" sibTransId="{621490BA-5528-4161-B1FD-5C3CCBF849BB}"/>
    <dgm:cxn modelId="{398949E3-CAE0-437B-BA6B-2C5363C81FC7}" type="presOf" srcId="{50EC864D-AE64-4E2B-B82F-7A884DBCCBF8}" destId="{910A122A-2929-44C4-853D-706CDE98E43F}" srcOrd="0" destOrd="0" presId="urn:microsoft.com/office/officeart/2005/8/layout/default"/>
    <dgm:cxn modelId="{E650C0E4-0C08-41D9-9103-019C8728E67A}" type="presOf" srcId="{970FDB5B-0843-4686-B2F1-F7991B2447C1}" destId="{149F2335-6CCB-4C43-BB82-A4257947A965}" srcOrd="0" destOrd="0" presId="urn:microsoft.com/office/officeart/2005/8/layout/default"/>
    <dgm:cxn modelId="{976928E6-A608-4899-B901-9D5E1E6B780D}" type="presOf" srcId="{BF3233FA-3496-4497-A04F-E861BD9A7648}" destId="{AFE9D508-A6C4-4E19-B94A-3FC7366EEEA8}" srcOrd="0" destOrd="0" presId="urn:microsoft.com/office/officeart/2005/8/layout/default"/>
    <dgm:cxn modelId="{3B2C17EC-5973-484A-AED1-54F277FB2479}" type="presOf" srcId="{5D62B1E0-C25A-44B7-AA13-26C31EBC47E6}" destId="{6B9D86E9-EA09-48A2-9E14-A3A8914269F9}" srcOrd="0" destOrd="0" presId="urn:microsoft.com/office/officeart/2005/8/layout/default"/>
    <dgm:cxn modelId="{D8F0BCF9-39F1-4EA3-8AFD-3F048BF18A69}" srcId="{970FDB5B-0843-4686-B2F1-F7991B2447C1}" destId="{50EC864D-AE64-4E2B-B82F-7A884DBCCBF8}" srcOrd="1" destOrd="0" parTransId="{F2EEC04A-1AF3-4E59-A13F-A66A0CE35CE5}" sibTransId="{1BAE82AA-6C7F-4603-A024-D105E096BA45}"/>
    <dgm:cxn modelId="{B03DDCFA-FF52-4413-95FE-C1C26AA5A950}" type="presOf" srcId="{90022685-EECD-4C08-BEFA-EA2F1CDEA93B}" destId="{509E2887-E6A7-40B6-9D56-4583D773DD4B}" srcOrd="0" destOrd="0" presId="urn:microsoft.com/office/officeart/2005/8/layout/default"/>
    <dgm:cxn modelId="{FB578720-9A45-4C97-9FC6-642242412869}" type="presParOf" srcId="{149F2335-6CCB-4C43-BB82-A4257947A965}" destId="{6EC20FFF-23F7-42C3-8D81-883B955D1F83}" srcOrd="0" destOrd="0" presId="urn:microsoft.com/office/officeart/2005/8/layout/default"/>
    <dgm:cxn modelId="{A206378C-36E6-4A04-A408-498C094E3950}" type="presParOf" srcId="{149F2335-6CCB-4C43-BB82-A4257947A965}" destId="{BB81864E-4F9D-456E-AE43-1D1B5240AD36}" srcOrd="1" destOrd="0" presId="urn:microsoft.com/office/officeart/2005/8/layout/default"/>
    <dgm:cxn modelId="{CFCA08B1-B677-4978-9BC1-0E6F273FE263}" type="presParOf" srcId="{149F2335-6CCB-4C43-BB82-A4257947A965}" destId="{910A122A-2929-44C4-853D-706CDE98E43F}" srcOrd="2" destOrd="0" presId="urn:microsoft.com/office/officeart/2005/8/layout/default"/>
    <dgm:cxn modelId="{EE6AB35A-C9C8-4884-8C84-67B6AF586889}" type="presParOf" srcId="{149F2335-6CCB-4C43-BB82-A4257947A965}" destId="{7C269FF0-0AA5-4638-9F50-55400E37D473}" srcOrd="3" destOrd="0" presId="urn:microsoft.com/office/officeart/2005/8/layout/default"/>
    <dgm:cxn modelId="{D537F6F2-92C1-46D9-9C1D-30475B32D7B3}" type="presParOf" srcId="{149F2335-6CCB-4C43-BB82-A4257947A965}" destId="{6B9D86E9-EA09-48A2-9E14-A3A8914269F9}" srcOrd="4" destOrd="0" presId="urn:microsoft.com/office/officeart/2005/8/layout/default"/>
    <dgm:cxn modelId="{103C9A65-16E8-4E48-95A2-79AE6A8D6CEE}" type="presParOf" srcId="{149F2335-6CCB-4C43-BB82-A4257947A965}" destId="{F1E16D96-C311-45BB-844C-D0DB56113651}" srcOrd="5" destOrd="0" presId="urn:microsoft.com/office/officeart/2005/8/layout/default"/>
    <dgm:cxn modelId="{B3EDBE8F-3342-49D0-8C40-1AED4E60FEBF}" type="presParOf" srcId="{149F2335-6CCB-4C43-BB82-A4257947A965}" destId="{AFE9D508-A6C4-4E19-B94A-3FC7366EEEA8}" srcOrd="6" destOrd="0" presId="urn:microsoft.com/office/officeart/2005/8/layout/default"/>
    <dgm:cxn modelId="{DF8DDBF4-D6D2-4387-B117-5642DF6B25A3}" type="presParOf" srcId="{149F2335-6CCB-4C43-BB82-A4257947A965}" destId="{7C9CF341-3E95-45C5-AC0F-E42AB60ABF8D}" srcOrd="7" destOrd="0" presId="urn:microsoft.com/office/officeart/2005/8/layout/default"/>
    <dgm:cxn modelId="{A759EB2C-7255-4A10-958C-440F1716CA71}" type="presParOf" srcId="{149F2335-6CCB-4C43-BB82-A4257947A965}" destId="{509E2887-E6A7-40B6-9D56-4583D773DD4B}" srcOrd="8" destOrd="0" presId="urn:microsoft.com/office/officeart/2005/8/layout/default"/>
    <dgm:cxn modelId="{73D499E8-2CDA-4F61-A6B3-AFE8A5D6904B}" type="presParOf" srcId="{149F2335-6CCB-4C43-BB82-A4257947A965}" destId="{24C2CD66-4F50-4F6B-B8A1-FD1059312B7E}" srcOrd="9" destOrd="0" presId="urn:microsoft.com/office/officeart/2005/8/layout/default"/>
    <dgm:cxn modelId="{E8100A25-3565-40E8-B638-164ACA704422}" type="presParOf" srcId="{149F2335-6CCB-4C43-BB82-A4257947A965}" destId="{33B7DBE7-AE26-4AAD-85AE-0A1CF4D05DE2}" srcOrd="10" destOrd="0" presId="urn:microsoft.com/office/officeart/2005/8/layout/defaul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A0678B-6C37-4397-A984-AA0E5ECE5678}">
      <dsp:nvSpPr>
        <dsp:cNvPr id="0" name=""/>
        <dsp:cNvSpPr/>
      </dsp:nvSpPr>
      <dsp:spPr>
        <a:xfrm>
          <a:off x="5514" y="0"/>
          <a:ext cx="5304814" cy="548639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201930" tIns="201930" rIns="201930" bIns="201930" numCol="1" spcCol="1270" anchor="ctr" anchorCtr="0">
          <a:noAutofit/>
        </a:bodyPr>
        <a:lstStyle/>
        <a:p>
          <a:pPr marL="0" lvl="0" indent="0" algn="ctr" defTabSz="2355850">
            <a:lnSpc>
              <a:spcPct val="90000"/>
            </a:lnSpc>
            <a:spcBef>
              <a:spcPct val="0"/>
            </a:spcBef>
            <a:spcAft>
              <a:spcPct val="35000"/>
            </a:spcAft>
            <a:buNone/>
          </a:pPr>
          <a:r>
            <a:rPr lang="en-US" sz="5300" kern="1200" dirty="0"/>
            <a:t>SQL Server 2016</a:t>
          </a:r>
        </a:p>
      </dsp:txBody>
      <dsp:txXfrm>
        <a:off x="5514" y="0"/>
        <a:ext cx="5304814" cy="1645919"/>
      </dsp:txXfrm>
    </dsp:sp>
    <dsp:sp modelId="{C558B9F0-3221-4C2C-9357-5311FBAD3127}">
      <dsp:nvSpPr>
        <dsp:cNvPr id="0" name=""/>
        <dsp:cNvSpPr/>
      </dsp:nvSpPr>
      <dsp:spPr>
        <a:xfrm>
          <a:off x="535996" y="1647527"/>
          <a:ext cx="4243851" cy="348257"/>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Query Store</a:t>
          </a:r>
        </a:p>
      </dsp:txBody>
      <dsp:txXfrm>
        <a:off x="546196" y="1657727"/>
        <a:ext cx="4223451" cy="327857"/>
      </dsp:txXfrm>
    </dsp:sp>
    <dsp:sp modelId="{DA2D2C97-9906-40C6-BF8F-965C6E93AAC7}">
      <dsp:nvSpPr>
        <dsp:cNvPr id="0" name=""/>
        <dsp:cNvSpPr/>
      </dsp:nvSpPr>
      <dsp:spPr>
        <a:xfrm>
          <a:off x="535996" y="2049362"/>
          <a:ext cx="4243851" cy="348257"/>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Polybase</a:t>
          </a:r>
        </a:p>
      </dsp:txBody>
      <dsp:txXfrm>
        <a:off x="546196" y="2059562"/>
        <a:ext cx="4223451" cy="327857"/>
      </dsp:txXfrm>
    </dsp:sp>
    <dsp:sp modelId="{14955BB3-7454-4B7C-857E-D4B3A808FBEA}">
      <dsp:nvSpPr>
        <dsp:cNvPr id="0" name=""/>
        <dsp:cNvSpPr/>
      </dsp:nvSpPr>
      <dsp:spPr>
        <a:xfrm>
          <a:off x="535996" y="2451198"/>
          <a:ext cx="4243851" cy="348257"/>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Temporal Tables</a:t>
          </a:r>
        </a:p>
      </dsp:txBody>
      <dsp:txXfrm>
        <a:off x="546196" y="2461398"/>
        <a:ext cx="4223451" cy="327857"/>
      </dsp:txXfrm>
    </dsp:sp>
    <dsp:sp modelId="{9DAB298F-C7D7-40C3-AEAF-B3A9C1BE4F3E}">
      <dsp:nvSpPr>
        <dsp:cNvPr id="0" name=""/>
        <dsp:cNvSpPr/>
      </dsp:nvSpPr>
      <dsp:spPr>
        <a:xfrm>
          <a:off x="535996" y="2853034"/>
          <a:ext cx="4243851" cy="348257"/>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JSON</a:t>
          </a:r>
        </a:p>
      </dsp:txBody>
      <dsp:txXfrm>
        <a:off x="546196" y="2863234"/>
        <a:ext cx="4223451" cy="327857"/>
      </dsp:txXfrm>
    </dsp:sp>
    <dsp:sp modelId="{6625B9DB-080B-407C-A753-4A21C2B032D8}">
      <dsp:nvSpPr>
        <dsp:cNvPr id="0" name=""/>
        <dsp:cNvSpPr/>
      </dsp:nvSpPr>
      <dsp:spPr>
        <a:xfrm>
          <a:off x="535996" y="3254870"/>
          <a:ext cx="4243851" cy="348257"/>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Always Encrypted</a:t>
          </a:r>
        </a:p>
      </dsp:txBody>
      <dsp:txXfrm>
        <a:off x="546196" y="3265070"/>
        <a:ext cx="4223451" cy="327857"/>
      </dsp:txXfrm>
    </dsp:sp>
    <dsp:sp modelId="{F03BA2C8-0EA8-4027-9427-FC921CA28BFF}">
      <dsp:nvSpPr>
        <dsp:cNvPr id="0" name=""/>
        <dsp:cNvSpPr/>
      </dsp:nvSpPr>
      <dsp:spPr>
        <a:xfrm>
          <a:off x="535996" y="3656706"/>
          <a:ext cx="4243851" cy="348257"/>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Dynamic Data Masking</a:t>
          </a:r>
        </a:p>
      </dsp:txBody>
      <dsp:txXfrm>
        <a:off x="546196" y="3666906"/>
        <a:ext cx="4223451" cy="327857"/>
      </dsp:txXfrm>
    </dsp:sp>
    <dsp:sp modelId="{CBCFF23A-7FA0-4F60-9358-40C4DE08C619}">
      <dsp:nvSpPr>
        <dsp:cNvPr id="0" name=""/>
        <dsp:cNvSpPr/>
      </dsp:nvSpPr>
      <dsp:spPr>
        <a:xfrm>
          <a:off x="535996" y="4058542"/>
          <a:ext cx="4243851" cy="348257"/>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Row Level Security</a:t>
          </a:r>
        </a:p>
      </dsp:txBody>
      <dsp:txXfrm>
        <a:off x="546196" y="4068742"/>
        <a:ext cx="4223451" cy="327857"/>
      </dsp:txXfrm>
    </dsp:sp>
    <dsp:sp modelId="{BAF2D761-C3A4-4FC9-9E66-C10498E393CA}">
      <dsp:nvSpPr>
        <dsp:cNvPr id="0" name=""/>
        <dsp:cNvSpPr/>
      </dsp:nvSpPr>
      <dsp:spPr>
        <a:xfrm>
          <a:off x="535996" y="4460378"/>
          <a:ext cx="4243851" cy="348257"/>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R and Machine Learning</a:t>
          </a:r>
        </a:p>
      </dsp:txBody>
      <dsp:txXfrm>
        <a:off x="546196" y="4470578"/>
        <a:ext cx="4223451" cy="327857"/>
      </dsp:txXfrm>
    </dsp:sp>
    <dsp:sp modelId="{52436426-258F-43C8-BBCF-6E0C021BD3A2}">
      <dsp:nvSpPr>
        <dsp:cNvPr id="0" name=""/>
        <dsp:cNvSpPr/>
      </dsp:nvSpPr>
      <dsp:spPr>
        <a:xfrm>
          <a:off x="535996" y="4862213"/>
          <a:ext cx="4243851" cy="348257"/>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It Just Runs Faster</a:t>
          </a:r>
        </a:p>
      </dsp:txBody>
      <dsp:txXfrm>
        <a:off x="546196" y="4872413"/>
        <a:ext cx="4223451" cy="327857"/>
      </dsp:txXfrm>
    </dsp:sp>
    <dsp:sp modelId="{8177A520-5A0C-4244-ADC2-822920B3603A}">
      <dsp:nvSpPr>
        <dsp:cNvPr id="0" name=""/>
        <dsp:cNvSpPr/>
      </dsp:nvSpPr>
      <dsp:spPr>
        <a:xfrm>
          <a:off x="5708190" y="0"/>
          <a:ext cx="5304814" cy="548639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201930" tIns="201930" rIns="201930" bIns="201930" numCol="1" spcCol="1270" anchor="ctr" anchorCtr="0">
          <a:noAutofit/>
        </a:bodyPr>
        <a:lstStyle/>
        <a:p>
          <a:pPr marL="0" lvl="0" indent="0" algn="ctr" defTabSz="2355850">
            <a:lnSpc>
              <a:spcPct val="90000"/>
            </a:lnSpc>
            <a:spcBef>
              <a:spcPct val="0"/>
            </a:spcBef>
            <a:spcAft>
              <a:spcPct val="35000"/>
            </a:spcAft>
            <a:buNone/>
          </a:pPr>
          <a:r>
            <a:rPr lang="en-US" sz="5300" kern="1200" dirty="0"/>
            <a:t>SQL Server 2017</a:t>
          </a:r>
        </a:p>
      </dsp:txBody>
      <dsp:txXfrm>
        <a:off x="5708190" y="0"/>
        <a:ext cx="5304814" cy="1645919"/>
      </dsp:txXfrm>
    </dsp:sp>
    <dsp:sp modelId="{D9EA7C31-6A85-4C11-AF1A-E2FAB6E4C479}">
      <dsp:nvSpPr>
        <dsp:cNvPr id="0" name=""/>
        <dsp:cNvSpPr/>
      </dsp:nvSpPr>
      <dsp:spPr>
        <a:xfrm>
          <a:off x="6238672" y="1646187"/>
          <a:ext cx="4243851" cy="526739"/>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Linux and Containers</a:t>
          </a:r>
        </a:p>
      </dsp:txBody>
      <dsp:txXfrm>
        <a:off x="6254100" y="1661615"/>
        <a:ext cx="4212995" cy="495883"/>
      </dsp:txXfrm>
    </dsp:sp>
    <dsp:sp modelId="{3BA22687-9C03-4BE3-B1D8-3AB7FB5EA104}">
      <dsp:nvSpPr>
        <dsp:cNvPr id="0" name=""/>
        <dsp:cNvSpPr/>
      </dsp:nvSpPr>
      <dsp:spPr>
        <a:xfrm>
          <a:off x="6238672" y="2253964"/>
          <a:ext cx="4243851" cy="526739"/>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Adaptive Query Processing</a:t>
          </a:r>
        </a:p>
      </dsp:txBody>
      <dsp:txXfrm>
        <a:off x="6254100" y="2269392"/>
        <a:ext cx="4212995" cy="495883"/>
      </dsp:txXfrm>
    </dsp:sp>
    <dsp:sp modelId="{43EFC17D-4366-4EEF-A4EC-C09CFDE6CFA1}">
      <dsp:nvSpPr>
        <dsp:cNvPr id="0" name=""/>
        <dsp:cNvSpPr/>
      </dsp:nvSpPr>
      <dsp:spPr>
        <a:xfrm>
          <a:off x="6238672" y="2861741"/>
          <a:ext cx="4243851" cy="526739"/>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Automatic Tuning</a:t>
          </a:r>
        </a:p>
      </dsp:txBody>
      <dsp:txXfrm>
        <a:off x="6254100" y="2877169"/>
        <a:ext cx="4212995" cy="495883"/>
      </dsp:txXfrm>
    </dsp:sp>
    <dsp:sp modelId="{0517F963-117B-4680-9A6B-E0356D8B1455}">
      <dsp:nvSpPr>
        <dsp:cNvPr id="0" name=""/>
        <dsp:cNvSpPr/>
      </dsp:nvSpPr>
      <dsp:spPr>
        <a:xfrm>
          <a:off x="6238672" y="3469517"/>
          <a:ext cx="4243851" cy="526739"/>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i="1" kern="1200" dirty="0"/>
            <a:t>Clusterless</a:t>
          </a:r>
          <a:r>
            <a:rPr lang="en-US" sz="1700" kern="1200" dirty="0"/>
            <a:t> Availability Groups</a:t>
          </a:r>
        </a:p>
      </dsp:txBody>
      <dsp:txXfrm>
        <a:off x="6254100" y="3484945"/>
        <a:ext cx="4212995" cy="495883"/>
      </dsp:txXfrm>
    </dsp:sp>
    <dsp:sp modelId="{BAECC03D-F0C0-406C-9F35-25FF06F8EB49}">
      <dsp:nvSpPr>
        <dsp:cNvPr id="0" name=""/>
        <dsp:cNvSpPr/>
      </dsp:nvSpPr>
      <dsp:spPr>
        <a:xfrm>
          <a:off x="6238672" y="4077294"/>
          <a:ext cx="4243851" cy="526739"/>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Graph database</a:t>
          </a:r>
        </a:p>
      </dsp:txBody>
      <dsp:txXfrm>
        <a:off x="6254100" y="4092722"/>
        <a:ext cx="4212995" cy="495883"/>
      </dsp:txXfrm>
    </dsp:sp>
    <dsp:sp modelId="{5D4E2A2F-3FEC-4A6B-A629-266559C51F3C}">
      <dsp:nvSpPr>
        <dsp:cNvPr id="0" name=""/>
        <dsp:cNvSpPr/>
      </dsp:nvSpPr>
      <dsp:spPr>
        <a:xfrm>
          <a:off x="6238672" y="4685071"/>
          <a:ext cx="4243851" cy="526739"/>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Python</a:t>
          </a:r>
        </a:p>
      </dsp:txBody>
      <dsp:txXfrm>
        <a:off x="6254100" y="4700499"/>
        <a:ext cx="4212995" cy="495883"/>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15B289-DAEE-446B-A637-A4D6355BA418}">
      <dsp:nvSpPr>
        <dsp:cNvPr id="0" name=""/>
        <dsp:cNvSpPr/>
      </dsp:nvSpPr>
      <dsp:spPr>
        <a:xfrm>
          <a:off x="2159698" y="16"/>
          <a:ext cx="1925221" cy="1155132"/>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baseline="0" dirty="0"/>
            <a:t>11M+ Docker Pulls</a:t>
          </a:r>
          <a:endParaRPr lang="en-US" sz="1600" kern="1200" dirty="0"/>
        </a:p>
      </dsp:txBody>
      <dsp:txXfrm>
        <a:off x="2159698" y="16"/>
        <a:ext cx="1925221" cy="1155132"/>
      </dsp:txXfrm>
    </dsp:sp>
    <dsp:sp modelId="{8624D9B7-1B60-421A-A038-6AA038836560}">
      <dsp:nvSpPr>
        <dsp:cNvPr id="0" name=""/>
        <dsp:cNvSpPr/>
      </dsp:nvSpPr>
      <dsp:spPr>
        <a:xfrm>
          <a:off x="4277441" y="16"/>
          <a:ext cx="1925221" cy="1155132"/>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Thousands of instances and CPUs using SQL Server on Linux</a:t>
          </a:r>
        </a:p>
      </dsp:txBody>
      <dsp:txXfrm>
        <a:off x="4277441" y="16"/>
        <a:ext cx="1925221" cy="1155132"/>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ECDE6F6-E719-45CB-8223-453D552928EE}">
      <dsp:nvSpPr>
        <dsp:cNvPr id="0" name=""/>
        <dsp:cNvSpPr/>
      </dsp:nvSpPr>
      <dsp:spPr>
        <a:xfrm>
          <a:off x="0" y="25167"/>
          <a:ext cx="8239602" cy="36036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t>Is it the same as Windows?</a:t>
          </a:r>
        </a:p>
      </dsp:txBody>
      <dsp:txXfrm>
        <a:off x="17591" y="42758"/>
        <a:ext cx="8204420" cy="325178"/>
      </dsp:txXfrm>
    </dsp:sp>
    <dsp:sp modelId="{3ABBD336-40E8-4549-9A99-20E97504E217}">
      <dsp:nvSpPr>
        <dsp:cNvPr id="0" name=""/>
        <dsp:cNvSpPr/>
      </dsp:nvSpPr>
      <dsp:spPr>
        <a:xfrm>
          <a:off x="0" y="425847"/>
          <a:ext cx="8239602" cy="36036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t>Is the performance the same as on Windows?</a:t>
          </a:r>
        </a:p>
      </dsp:txBody>
      <dsp:txXfrm>
        <a:off x="17591" y="443438"/>
        <a:ext cx="8204420" cy="325178"/>
      </dsp:txXfrm>
    </dsp:sp>
    <dsp:sp modelId="{CA4A3630-1C2E-4A1F-BE87-D2F87469B0AE}">
      <dsp:nvSpPr>
        <dsp:cNvPr id="0" name=""/>
        <dsp:cNvSpPr/>
      </dsp:nvSpPr>
      <dsp:spPr>
        <a:xfrm>
          <a:off x="0" y="826527"/>
          <a:ext cx="8239602" cy="36036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t>Is the licensing the same as on Windows?</a:t>
          </a:r>
        </a:p>
      </dsp:txBody>
      <dsp:txXfrm>
        <a:off x="17591" y="844118"/>
        <a:ext cx="8204420" cy="325178"/>
      </dsp:txXfrm>
    </dsp:sp>
    <dsp:sp modelId="{E64BC9FD-807C-409A-9805-720EA7503BF4}">
      <dsp:nvSpPr>
        <dsp:cNvPr id="0" name=""/>
        <dsp:cNvSpPr/>
      </dsp:nvSpPr>
      <dsp:spPr>
        <a:xfrm>
          <a:off x="0" y="1227207"/>
          <a:ext cx="8239602" cy="36036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t>Do I need to know Linux?</a:t>
          </a:r>
        </a:p>
      </dsp:txBody>
      <dsp:txXfrm>
        <a:off x="17591" y="1244798"/>
        <a:ext cx="8204420" cy="325178"/>
      </dsp:txXfrm>
    </dsp:sp>
    <dsp:sp modelId="{CCAEB940-CC1B-48F2-95A4-8902D8908AB9}">
      <dsp:nvSpPr>
        <dsp:cNvPr id="0" name=""/>
        <dsp:cNvSpPr/>
      </dsp:nvSpPr>
      <dsp:spPr>
        <a:xfrm>
          <a:off x="0" y="1627887"/>
          <a:ext cx="8239602" cy="36036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t>Is SQL Server different in a container?</a:t>
          </a:r>
        </a:p>
      </dsp:txBody>
      <dsp:txXfrm>
        <a:off x="17591" y="1645478"/>
        <a:ext cx="8204420" cy="325178"/>
      </dsp:txXfrm>
    </dsp:sp>
    <dsp:sp modelId="{C40AE0EB-D8AA-451C-BEE8-21CE03FDFD29}">
      <dsp:nvSpPr>
        <dsp:cNvPr id="0" name=""/>
        <dsp:cNvSpPr/>
      </dsp:nvSpPr>
      <dsp:spPr>
        <a:xfrm>
          <a:off x="0" y="2028567"/>
          <a:ext cx="8239602" cy="36036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t>Need multi-instance? Use containers</a:t>
          </a:r>
        </a:p>
      </dsp:txBody>
      <dsp:txXfrm>
        <a:off x="17591" y="2046158"/>
        <a:ext cx="8204420" cy="325178"/>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E57659E-DBBA-4CD4-867F-27361D1003B4}">
      <dsp:nvSpPr>
        <dsp:cNvPr id="0" name=""/>
        <dsp:cNvSpPr/>
      </dsp:nvSpPr>
      <dsp:spPr>
        <a:xfrm>
          <a:off x="1031" y="83242"/>
          <a:ext cx="1299881" cy="779928"/>
        </a:xfrm>
        <a:prstGeom prst="rect">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mssql-server</a:t>
          </a:r>
        </a:p>
      </dsp:txBody>
      <dsp:txXfrm>
        <a:off x="1031" y="83242"/>
        <a:ext cx="1299881" cy="779928"/>
      </dsp:txXfrm>
    </dsp:sp>
    <dsp:sp modelId="{08BD63EA-CEE8-40D6-9CD7-E336968F521F}">
      <dsp:nvSpPr>
        <dsp:cNvPr id="0" name=""/>
        <dsp:cNvSpPr/>
      </dsp:nvSpPr>
      <dsp:spPr>
        <a:xfrm>
          <a:off x="1430900" y="83242"/>
          <a:ext cx="1299881" cy="779928"/>
        </a:xfrm>
        <a:prstGeom prst="rect">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mssql-tools</a:t>
          </a:r>
        </a:p>
      </dsp:txBody>
      <dsp:txXfrm>
        <a:off x="1430900" y="83242"/>
        <a:ext cx="1299881" cy="779928"/>
      </dsp:txXfrm>
    </dsp:sp>
    <dsp:sp modelId="{C9A64BF8-7013-4702-A8E8-11930FC18B2E}">
      <dsp:nvSpPr>
        <dsp:cNvPr id="0" name=""/>
        <dsp:cNvSpPr/>
      </dsp:nvSpPr>
      <dsp:spPr>
        <a:xfrm>
          <a:off x="2860770" y="83242"/>
          <a:ext cx="1299881" cy="779928"/>
        </a:xfrm>
        <a:prstGeom prst="rect">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mssql-server-fts</a:t>
          </a:r>
        </a:p>
      </dsp:txBody>
      <dsp:txXfrm>
        <a:off x="2860770" y="83242"/>
        <a:ext cx="1299881" cy="779928"/>
      </dsp:txXfrm>
    </dsp:sp>
    <dsp:sp modelId="{62A692D1-E9B0-4E60-B17C-FDA65098E03F}">
      <dsp:nvSpPr>
        <dsp:cNvPr id="0" name=""/>
        <dsp:cNvSpPr/>
      </dsp:nvSpPr>
      <dsp:spPr>
        <a:xfrm>
          <a:off x="4290639" y="83242"/>
          <a:ext cx="1299881" cy="779928"/>
        </a:xfrm>
        <a:prstGeom prst="rect">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mssql-server-ha</a:t>
          </a:r>
        </a:p>
      </dsp:txBody>
      <dsp:txXfrm>
        <a:off x="4290639" y="83242"/>
        <a:ext cx="1299881" cy="779928"/>
      </dsp:txXfrm>
    </dsp:sp>
    <dsp:sp modelId="{40EAA6A1-C5F3-48C0-A627-D89ECF4DE8EE}">
      <dsp:nvSpPr>
        <dsp:cNvPr id="0" name=""/>
        <dsp:cNvSpPr/>
      </dsp:nvSpPr>
      <dsp:spPr>
        <a:xfrm>
          <a:off x="5720508" y="83242"/>
          <a:ext cx="1299881" cy="779928"/>
        </a:xfrm>
        <a:prstGeom prst="rect">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mssql-server-is</a:t>
          </a:r>
        </a:p>
      </dsp:txBody>
      <dsp:txXfrm>
        <a:off x="5720508" y="83242"/>
        <a:ext cx="1299881" cy="779928"/>
      </dsp:txXfrm>
    </dsp:sp>
    <dsp:sp modelId="{4243F23D-D958-4B07-953A-95F00D0DF05D}">
      <dsp:nvSpPr>
        <dsp:cNvPr id="0" name=""/>
        <dsp:cNvSpPr/>
      </dsp:nvSpPr>
      <dsp:spPr>
        <a:xfrm>
          <a:off x="7150378" y="83242"/>
          <a:ext cx="1299881" cy="779928"/>
        </a:xfrm>
        <a:prstGeom prst="rect">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hlinkClick xmlns:r="http://schemas.openxmlformats.org/officeDocument/2006/relationships" r:id="rId1"/>
            </a:rPr>
            <a:t>“extensibility, Java, and ML Services”</a:t>
          </a:r>
          <a:endParaRPr lang="en-US" sz="1400" kern="1200" dirty="0"/>
        </a:p>
      </dsp:txBody>
      <dsp:txXfrm>
        <a:off x="7150378" y="83242"/>
        <a:ext cx="1299881" cy="779928"/>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485EC8-B888-4F47-9261-22B2CA46B927}">
      <dsp:nvSpPr>
        <dsp:cNvPr id="0" name=""/>
        <dsp:cNvSpPr/>
      </dsp:nvSpPr>
      <dsp:spPr>
        <a:xfrm>
          <a:off x="3143" y="0"/>
          <a:ext cx="3023465" cy="464614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US" sz="3600" kern="1200" dirty="0"/>
            <a:t>Inside the Engine</a:t>
          </a:r>
        </a:p>
      </dsp:txBody>
      <dsp:txXfrm>
        <a:off x="3143" y="0"/>
        <a:ext cx="3023465" cy="1393842"/>
      </dsp:txXfrm>
    </dsp:sp>
    <dsp:sp modelId="{DFB13D7C-8E28-4030-B7E0-54EE205E2CA0}">
      <dsp:nvSpPr>
        <dsp:cNvPr id="0" name=""/>
        <dsp:cNvSpPr/>
      </dsp:nvSpPr>
      <dsp:spPr>
        <a:xfrm>
          <a:off x="305489" y="1395203"/>
          <a:ext cx="2418772" cy="1400875"/>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880" tIns="41910" rIns="55880" bIns="41910" numCol="1" spcCol="1270" anchor="ctr" anchorCtr="0">
          <a:noAutofit/>
        </a:bodyPr>
        <a:lstStyle/>
        <a:p>
          <a:pPr marL="0" lvl="0" indent="0" algn="ctr" defTabSz="977900">
            <a:lnSpc>
              <a:spcPct val="90000"/>
            </a:lnSpc>
            <a:spcBef>
              <a:spcPct val="0"/>
            </a:spcBef>
            <a:spcAft>
              <a:spcPct val="35000"/>
            </a:spcAft>
            <a:buNone/>
          </a:pPr>
          <a:r>
            <a:rPr lang="en-US" sz="2200" kern="1200" dirty="0"/>
            <a:t>ALTER SERVER CONFIGURATION</a:t>
          </a:r>
        </a:p>
      </dsp:txBody>
      <dsp:txXfrm>
        <a:off x="346519" y="1436233"/>
        <a:ext cx="2336712" cy="1318815"/>
      </dsp:txXfrm>
    </dsp:sp>
    <dsp:sp modelId="{F6885A86-2B33-4AA0-97E9-F29ED73946E1}">
      <dsp:nvSpPr>
        <dsp:cNvPr id="0" name=""/>
        <dsp:cNvSpPr/>
      </dsp:nvSpPr>
      <dsp:spPr>
        <a:xfrm>
          <a:off x="305489" y="3011597"/>
          <a:ext cx="2418772" cy="1400875"/>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880" tIns="41910" rIns="55880" bIns="41910" numCol="1" spcCol="1270" anchor="ctr" anchorCtr="0">
          <a:noAutofit/>
        </a:bodyPr>
        <a:lstStyle/>
        <a:p>
          <a:pPr marL="0" lvl="0" indent="0" algn="ctr" defTabSz="977900">
            <a:lnSpc>
              <a:spcPct val="90000"/>
            </a:lnSpc>
            <a:spcBef>
              <a:spcPct val="0"/>
            </a:spcBef>
            <a:spcAft>
              <a:spcPct val="35000"/>
            </a:spcAft>
            <a:buNone/>
          </a:pPr>
          <a:r>
            <a:rPr lang="en-US" sz="2200" kern="1200" dirty="0"/>
            <a:t>sp_configure</a:t>
          </a:r>
        </a:p>
      </dsp:txBody>
      <dsp:txXfrm>
        <a:off x="346519" y="3052627"/>
        <a:ext cx="2336712" cy="1318815"/>
      </dsp:txXfrm>
    </dsp:sp>
    <dsp:sp modelId="{D4A1A83A-EB8F-4629-8EA6-48A17EB0E121}">
      <dsp:nvSpPr>
        <dsp:cNvPr id="0" name=""/>
        <dsp:cNvSpPr/>
      </dsp:nvSpPr>
      <dsp:spPr>
        <a:xfrm>
          <a:off x="3256512" y="0"/>
          <a:ext cx="3023465" cy="464614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US" sz="3600" kern="1200" dirty="0"/>
            <a:t>Outside the Engine</a:t>
          </a:r>
        </a:p>
      </dsp:txBody>
      <dsp:txXfrm>
        <a:off x="3256512" y="0"/>
        <a:ext cx="3023465" cy="1393842"/>
      </dsp:txXfrm>
    </dsp:sp>
    <dsp:sp modelId="{7B1490E8-0459-4602-B48F-8121443A17E7}">
      <dsp:nvSpPr>
        <dsp:cNvPr id="0" name=""/>
        <dsp:cNvSpPr/>
      </dsp:nvSpPr>
      <dsp:spPr>
        <a:xfrm>
          <a:off x="3555715" y="1395203"/>
          <a:ext cx="2418772" cy="1400875"/>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880" tIns="41910" rIns="55880" bIns="41910" numCol="1" spcCol="1270" anchor="ctr" anchorCtr="0">
          <a:noAutofit/>
        </a:bodyPr>
        <a:lstStyle/>
        <a:p>
          <a:pPr marL="0" lvl="0" indent="0" algn="ctr" defTabSz="977900">
            <a:lnSpc>
              <a:spcPct val="90000"/>
            </a:lnSpc>
            <a:spcBef>
              <a:spcPct val="0"/>
            </a:spcBef>
            <a:spcAft>
              <a:spcPct val="35000"/>
            </a:spcAft>
            <a:buNone/>
          </a:pPr>
          <a:r>
            <a:rPr lang="en-US" sz="2200" kern="1200" dirty="0"/>
            <a:t>Environment variables during setup</a:t>
          </a:r>
        </a:p>
      </dsp:txBody>
      <dsp:txXfrm>
        <a:off x="3596745" y="1436233"/>
        <a:ext cx="2336712" cy="1318815"/>
      </dsp:txXfrm>
    </dsp:sp>
    <dsp:sp modelId="{CC7F087E-F092-4A8E-AAEA-A010D55FCBDD}">
      <dsp:nvSpPr>
        <dsp:cNvPr id="0" name=""/>
        <dsp:cNvSpPr/>
      </dsp:nvSpPr>
      <dsp:spPr>
        <a:xfrm>
          <a:off x="3555715" y="3011597"/>
          <a:ext cx="2418772" cy="1400875"/>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880" tIns="41910" rIns="55880" bIns="41910" numCol="1" spcCol="1270" anchor="ctr" anchorCtr="0">
          <a:noAutofit/>
        </a:bodyPr>
        <a:lstStyle/>
        <a:p>
          <a:pPr marL="0" lvl="0" indent="0" algn="ctr" defTabSz="977900">
            <a:lnSpc>
              <a:spcPct val="90000"/>
            </a:lnSpc>
            <a:spcBef>
              <a:spcPct val="0"/>
            </a:spcBef>
            <a:spcAft>
              <a:spcPct val="35000"/>
            </a:spcAft>
            <a:buNone/>
          </a:pPr>
          <a:r>
            <a:rPr lang="en-US" sz="2200" kern="1200" dirty="0"/>
            <a:t>mssql-conf script after setup</a:t>
          </a:r>
        </a:p>
      </dsp:txBody>
      <dsp:txXfrm>
        <a:off x="3596745" y="3052627"/>
        <a:ext cx="2336712" cy="1318815"/>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CC1513C-8B4B-43EC-B63E-9329ED625168}">
      <dsp:nvSpPr>
        <dsp:cNvPr id="0" name=""/>
        <dsp:cNvSpPr/>
      </dsp:nvSpPr>
      <dsp:spPr>
        <a:xfrm>
          <a:off x="235900" y="2244"/>
          <a:ext cx="2320825" cy="1392495"/>
        </a:xfrm>
        <a:prstGeom prst="rect">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Package for each CU and GDR</a:t>
          </a:r>
        </a:p>
      </dsp:txBody>
      <dsp:txXfrm>
        <a:off x="235900" y="2244"/>
        <a:ext cx="2320825" cy="1392495"/>
      </dsp:txXfrm>
    </dsp:sp>
    <dsp:sp modelId="{A307D924-6CF2-41D4-8612-EE27D2DD2270}">
      <dsp:nvSpPr>
        <dsp:cNvPr id="0" name=""/>
        <dsp:cNvSpPr/>
      </dsp:nvSpPr>
      <dsp:spPr>
        <a:xfrm>
          <a:off x="235900" y="1626822"/>
          <a:ext cx="2320825" cy="1392495"/>
        </a:xfrm>
        <a:prstGeom prst="rect">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Packager managers support update and rollback</a:t>
          </a:r>
        </a:p>
      </dsp:txBody>
      <dsp:txXfrm>
        <a:off x="235900" y="1626822"/>
        <a:ext cx="2320825" cy="1392495"/>
      </dsp:txXfrm>
    </dsp:sp>
    <dsp:sp modelId="{2D44F5FB-0D87-4F92-A2CF-08F985E319B1}">
      <dsp:nvSpPr>
        <dsp:cNvPr id="0" name=""/>
        <dsp:cNvSpPr/>
      </dsp:nvSpPr>
      <dsp:spPr>
        <a:xfrm>
          <a:off x="235900" y="3251400"/>
          <a:ext cx="2320825" cy="1392495"/>
        </a:xfrm>
        <a:prstGeom prst="rect">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No more service packs</a:t>
          </a:r>
        </a:p>
      </dsp:txBody>
      <dsp:txXfrm>
        <a:off x="235900" y="3251400"/>
        <a:ext cx="2320825" cy="1392495"/>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8E0E3DC-DE7B-4306-B6DE-99EFD7E06822}">
      <dsp:nvSpPr>
        <dsp:cNvPr id="0" name=""/>
        <dsp:cNvSpPr/>
      </dsp:nvSpPr>
      <dsp:spPr>
        <a:xfrm>
          <a:off x="2147" y="0"/>
          <a:ext cx="5470571" cy="4683511"/>
        </a:xfrm>
        <a:prstGeom prst="roundRect">
          <a:avLst>
            <a:gd name="adj" fmla="val 5000"/>
          </a:avLst>
        </a:prstGeom>
        <a:solidFill>
          <a:schemeClr val="accent2">
            <a:shade val="8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98882" rIns="257810" bIns="0" numCol="1" spcCol="1270" anchor="t" anchorCtr="0">
          <a:noAutofit/>
        </a:bodyPr>
        <a:lstStyle/>
        <a:p>
          <a:pPr marL="0" lvl="0" indent="0" algn="r" defTabSz="2578100">
            <a:lnSpc>
              <a:spcPct val="90000"/>
            </a:lnSpc>
            <a:spcBef>
              <a:spcPct val="0"/>
            </a:spcBef>
            <a:spcAft>
              <a:spcPct val="35000"/>
            </a:spcAft>
            <a:buNone/>
          </a:pPr>
          <a:r>
            <a:rPr lang="en-US" sz="5800" kern="1200" baseline="0" dirty="0"/>
            <a:t>Image</a:t>
          </a:r>
          <a:endParaRPr lang="en-US" sz="5800" kern="1200" dirty="0"/>
        </a:p>
      </dsp:txBody>
      <dsp:txXfrm rot="16200000">
        <a:off x="-1371034" y="1373182"/>
        <a:ext cx="3840479" cy="1094114"/>
      </dsp:txXfrm>
    </dsp:sp>
    <dsp:sp modelId="{CB54E232-A062-433F-8704-9A51A4E20B78}">
      <dsp:nvSpPr>
        <dsp:cNvPr id="0" name=""/>
        <dsp:cNvSpPr/>
      </dsp:nvSpPr>
      <dsp:spPr>
        <a:xfrm>
          <a:off x="1096262" y="0"/>
          <a:ext cx="4075575" cy="4683511"/>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61722" rIns="0" bIns="0" numCol="1" spcCol="1270" anchor="t" anchorCtr="0">
          <a:noAutofit/>
        </a:bodyPr>
        <a:lstStyle/>
        <a:p>
          <a:pPr marL="0" lvl="0" indent="0" algn="l" defTabSz="800100">
            <a:lnSpc>
              <a:spcPct val="90000"/>
            </a:lnSpc>
            <a:spcBef>
              <a:spcPct val="0"/>
            </a:spcBef>
            <a:spcAft>
              <a:spcPct val="35000"/>
            </a:spcAft>
            <a:buNone/>
          </a:pPr>
          <a:r>
            <a:rPr lang="en-US" sz="1800" b="1" kern="1200" baseline="0" dirty="0"/>
            <a:t>Layered snapshot </a:t>
          </a:r>
          <a:r>
            <a:rPr lang="en-US" sz="1800" kern="1200" baseline="0" dirty="0"/>
            <a:t>of a set of files structured in a filesystem</a:t>
          </a:r>
          <a:endParaRPr lang="en-US" sz="1800" kern="1200" dirty="0"/>
        </a:p>
        <a:p>
          <a:pPr marL="0" lvl="0" indent="0" algn="l" defTabSz="800100">
            <a:lnSpc>
              <a:spcPct val="90000"/>
            </a:lnSpc>
            <a:spcBef>
              <a:spcPct val="0"/>
            </a:spcBef>
            <a:spcAft>
              <a:spcPct val="35000"/>
            </a:spcAft>
            <a:buNone/>
          </a:pPr>
          <a:r>
            <a:rPr lang="en-US" sz="1800" kern="1200" baseline="0" dirty="0"/>
            <a:t>Built with a </a:t>
          </a:r>
          <a:r>
            <a:rPr lang="en-US" sz="1800" b="1" kern="1200" baseline="0" dirty="0"/>
            <a:t>Dockerfile</a:t>
          </a:r>
          <a:r>
            <a:rPr lang="en-US" sz="1800" kern="1200" baseline="0" dirty="0"/>
            <a:t> using docker build or APIs</a:t>
          </a:r>
          <a:endParaRPr lang="en-US" sz="1800" kern="1200" dirty="0"/>
        </a:p>
        <a:p>
          <a:pPr marL="0" lvl="0" indent="0" algn="l" defTabSz="800100">
            <a:lnSpc>
              <a:spcPct val="90000"/>
            </a:lnSpc>
            <a:spcBef>
              <a:spcPct val="0"/>
            </a:spcBef>
            <a:spcAft>
              <a:spcPct val="35000"/>
            </a:spcAft>
            <a:buNone/>
          </a:pPr>
          <a:r>
            <a:rPr lang="en-US" sz="1800" kern="1200" baseline="0" dirty="0"/>
            <a:t>Most built with a </a:t>
          </a:r>
          <a:r>
            <a:rPr lang="en-US" sz="1800" b="1" kern="1200" baseline="0" dirty="0"/>
            <a:t>base image </a:t>
          </a:r>
          <a:r>
            <a:rPr lang="en-US" sz="1800" kern="1200" baseline="0" dirty="0"/>
            <a:t>of an OS</a:t>
          </a:r>
          <a:endParaRPr lang="en-US" sz="1800" kern="1200" dirty="0"/>
        </a:p>
        <a:p>
          <a:pPr marL="0" lvl="0" indent="0" algn="l" defTabSz="800100">
            <a:lnSpc>
              <a:spcPct val="90000"/>
            </a:lnSpc>
            <a:spcBef>
              <a:spcPct val="0"/>
            </a:spcBef>
            <a:spcAft>
              <a:spcPct val="35000"/>
            </a:spcAft>
            <a:buNone/>
          </a:pPr>
          <a:r>
            <a:rPr lang="en-US" sz="1800" kern="1200" baseline="0" dirty="0"/>
            <a:t>The base image OS must be the </a:t>
          </a:r>
          <a:r>
            <a:rPr lang="en-US" sz="1800" b="1" kern="1200" baseline="0" dirty="0"/>
            <a:t>same kernel as host</a:t>
          </a:r>
          <a:endParaRPr lang="en-US" sz="1800" kern="1200" dirty="0"/>
        </a:p>
      </dsp:txBody>
      <dsp:txXfrm>
        <a:off x="1096262" y="0"/>
        <a:ext cx="4075575" cy="4683511"/>
      </dsp:txXfrm>
    </dsp:sp>
    <dsp:sp modelId="{00F54136-19DD-4DE9-949D-37C7111CF126}">
      <dsp:nvSpPr>
        <dsp:cNvPr id="0" name=""/>
        <dsp:cNvSpPr/>
      </dsp:nvSpPr>
      <dsp:spPr>
        <a:xfrm>
          <a:off x="5664189" y="0"/>
          <a:ext cx="5470571" cy="4683511"/>
        </a:xfrm>
        <a:prstGeom prst="roundRect">
          <a:avLst>
            <a:gd name="adj" fmla="val 5000"/>
          </a:avLst>
        </a:prstGeom>
        <a:solidFill>
          <a:schemeClr val="accent2">
            <a:shade val="80000"/>
            <a:hueOff val="726476"/>
            <a:satOff val="-93969"/>
            <a:lumOff val="4670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98882" rIns="257810" bIns="0" numCol="1" spcCol="1270" anchor="t" anchorCtr="0">
          <a:noAutofit/>
        </a:bodyPr>
        <a:lstStyle/>
        <a:p>
          <a:pPr marL="0" lvl="0" indent="0" algn="r" defTabSz="2578100">
            <a:lnSpc>
              <a:spcPct val="90000"/>
            </a:lnSpc>
            <a:spcBef>
              <a:spcPct val="0"/>
            </a:spcBef>
            <a:spcAft>
              <a:spcPct val="35000"/>
            </a:spcAft>
            <a:buNone/>
          </a:pPr>
          <a:r>
            <a:rPr lang="en-US" sz="5800" kern="1200" baseline="0" dirty="0"/>
            <a:t>Container</a:t>
          </a:r>
          <a:endParaRPr lang="en-US" sz="5800" kern="1200" dirty="0"/>
        </a:p>
      </dsp:txBody>
      <dsp:txXfrm rot="16200000">
        <a:off x="4291006" y="1373182"/>
        <a:ext cx="3840479" cy="1094114"/>
      </dsp:txXfrm>
    </dsp:sp>
    <dsp:sp modelId="{1D8D2521-0363-4DBB-BE31-514C0BE79BBD}">
      <dsp:nvSpPr>
        <dsp:cNvPr id="0" name=""/>
        <dsp:cNvSpPr/>
      </dsp:nvSpPr>
      <dsp:spPr>
        <a:xfrm rot="5400000">
          <a:off x="5347320" y="3605628"/>
          <a:ext cx="688443" cy="820585"/>
        </a:xfrm>
        <a:prstGeom prst="flowChartExtract">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BAF74BD-8F95-4592-97C5-9142AFBD2189}">
      <dsp:nvSpPr>
        <dsp:cNvPr id="0" name=""/>
        <dsp:cNvSpPr/>
      </dsp:nvSpPr>
      <dsp:spPr>
        <a:xfrm>
          <a:off x="6758303" y="0"/>
          <a:ext cx="4075575" cy="4683511"/>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61722" rIns="0" bIns="0" numCol="1" spcCol="1270" anchor="t" anchorCtr="0">
          <a:noAutofit/>
        </a:bodyPr>
        <a:lstStyle/>
        <a:p>
          <a:pPr marL="0" lvl="0" indent="0" algn="l" defTabSz="800100">
            <a:lnSpc>
              <a:spcPct val="90000"/>
            </a:lnSpc>
            <a:spcBef>
              <a:spcPct val="0"/>
            </a:spcBef>
            <a:spcAft>
              <a:spcPct val="35000"/>
            </a:spcAft>
            <a:buNone/>
          </a:pPr>
          <a:r>
            <a:rPr lang="en-US" sz="1800" kern="1200" baseline="0" dirty="0"/>
            <a:t>Runtime instance of an image</a:t>
          </a:r>
          <a:endParaRPr lang="en-US" sz="1800" kern="1200" dirty="0"/>
        </a:p>
        <a:p>
          <a:pPr marL="0" lvl="0" indent="0" algn="l" defTabSz="800100">
            <a:lnSpc>
              <a:spcPct val="90000"/>
            </a:lnSpc>
            <a:spcBef>
              <a:spcPct val="0"/>
            </a:spcBef>
            <a:spcAft>
              <a:spcPct val="35000"/>
            </a:spcAft>
            <a:buNone/>
          </a:pPr>
          <a:r>
            <a:rPr lang="en-US" sz="1800" kern="1200" baseline="0" dirty="0"/>
            <a:t>Run as many you like based on the same image</a:t>
          </a:r>
          <a:endParaRPr lang="en-US" sz="1800" kern="1200" dirty="0"/>
        </a:p>
        <a:p>
          <a:pPr marL="0" lvl="0" indent="0" algn="l" defTabSz="800100">
            <a:lnSpc>
              <a:spcPct val="90000"/>
            </a:lnSpc>
            <a:spcBef>
              <a:spcPct val="0"/>
            </a:spcBef>
            <a:spcAft>
              <a:spcPct val="35000"/>
            </a:spcAft>
            <a:buNone/>
          </a:pPr>
          <a:r>
            <a:rPr lang="en-US" sz="1800" b="1" kern="1200" baseline="0" dirty="0"/>
            <a:t>Isolated</a:t>
          </a:r>
          <a:r>
            <a:rPr lang="en-US" sz="1800" kern="1200" baseline="0" dirty="0"/>
            <a:t> but can communicate with the “outside”</a:t>
          </a:r>
          <a:endParaRPr lang="en-US" sz="1800" kern="1200" dirty="0"/>
        </a:p>
        <a:p>
          <a:pPr marL="0" lvl="0" indent="0" algn="l" defTabSz="800100">
            <a:lnSpc>
              <a:spcPct val="90000"/>
            </a:lnSpc>
            <a:spcBef>
              <a:spcPct val="0"/>
            </a:spcBef>
            <a:spcAft>
              <a:spcPct val="35000"/>
            </a:spcAft>
            <a:buNone/>
          </a:pPr>
          <a:r>
            <a:rPr lang="en-US" sz="1800" kern="1200" baseline="0" dirty="0"/>
            <a:t>Has </a:t>
          </a:r>
          <a:r>
            <a:rPr lang="en-US" sz="1800" b="1" kern="1200" baseline="0" dirty="0"/>
            <a:t>access</a:t>
          </a:r>
          <a:r>
            <a:rPr lang="en-US" sz="1800" kern="1200" baseline="0" dirty="0"/>
            <a:t> by default to all CPU and memory resources</a:t>
          </a:r>
          <a:endParaRPr lang="en-US" sz="1800" kern="1200" dirty="0"/>
        </a:p>
        <a:p>
          <a:pPr marL="0" lvl="0" indent="0" algn="l" defTabSz="800100">
            <a:lnSpc>
              <a:spcPct val="90000"/>
            </a:lnSpc>
            <a:spcBef>
              <a:spcPct val="0"/>
            </a:spcBef>
            <a:spcAft>
              <a:spcPct val="35000"/>
            </a:spcAft>
            <a:buNone/>
          </a:pPr>
          <a:r>
            <a:rPr lang="en-US" sz="1800" kern="1200" baseline="0" dirty="0"/>
            <a:t>Each container has </a:t>
          </a:r>
          <a:r>
            <a:rPr lang="en-US" sz="1800" b="1" kern="1200" baseline="0" dirty="0"/>
            <a:t>writeable layer </a:t>
          </a:r>
          <a:r>
            <a:rPr lang="en-US" sz="1800" kern="1200" baseline="0" dirty="0"/>
            <a:t>but </a:t>
          </a:r>
          <a:r>
            <a:rPr lang="en-US" sz="1800" b="1" kern="1200" baseline="0" dirty="0"/>
            <a:t>share read-only image layer</a:t>
          </a:r>
          <a:endParaRPr lang="en-US" sz="1800" kern="1200" dirty="0"/>
        </a:p>
        <a:p>
          <a:pPr marL="0" lvl="0" indent="0" algn="l" defTabSz="800100">
            <a:lnSpc>
              <a:spcPct val="90000"/>
            </a:lnSpc>
            <a:spcBef>
              <a:spcPct val="0"/>
            </a:spcBef>
            <a:spcAft>
              <a:spcPct val="35000"/>
            </a:spcAft>
            <a:buNone/>
          </a:pPr>
          <a:r>
            <a:rPr lang="en-US" sz="1800" kern="1200" baseline="0" dirty="0"/>
            <a:t>Start and stop do not affect writeable layer</a:t>
          </a:r>
          <a:endParaRPr lang="en-US" sz="1800" kern="1200" dirty="0"/>
        </a:p>
        <a:p>
          <a:pPr marL="0" lvl="0" indent="0" algn="l" defTabSz="800100">
            <a:lnSpc>
              <a:spcPct val="90000"/>
            </a:lnSpc>
            <a:spcBef>
              <a:spcPct val="0"/>
            </a:spcBef>
            <a:spcAft>
              <a:spcPct val="35000"/>
            </a:spcAft>
            <a:buNone/>
          </a:pPr>
          <a:r>
            <a:rPr lang="en-US" sz="1800" b="1" kern="1200" baseline="0" dirty="0"/>
            <a:t>Remove deletes writeable layer</a:t>
          </a:r>
          <a:endParaRPr lang="en-US" sz="1800" kern="1200" dirty="0"/>
        </a:p>
        <a:p>
          <a:pPr marL="0" lvl="0" indent="0" algn="l" defTabSz="800100">
            <a:lnSpc>
              <a:spcPct val="90000"/>
            </a:lnSpc>
            <a:spcBef>
              <a:spcPct val="0"/>
            </a:spcBef>
            <a:spcAft>
              <a:spcPct val="35000"/>
            </a:spcAft>
            <a:buNone/>
          </a:pPr>
          <a:r>
            <a:rPr lang="en-US" sz="1800" b="1" kern="1200" baseline="0" dirty="0"/>
            <a:t>Volumes provide persistence on host</a:t>
          </a:r>
          <a:endParaRPr lang="en-US" sz="1800" kern="1200" dirty="0"/>
        </a:p>
      </dsp:txBody>
      <dsp:txXfrm>
        <a:off x="6758303" y="0"/>
        <a:ext cx="4075575" cy="4683511"/>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E2F8480-9C09-4B04-9C4C-C045B2924EFA}">
      <dsp:nvSpPr>
        <dsp:cNvPr id="0" name=""/>
        <dsp:cNvSpPr/>
      </dsp:nvSpPr>
      <dsp:spPr>
        <a:xfrm>
          <a:off x="552" y="18743"/>
          <a:ext cx="2155375" cy="1293225"/>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VM = emulate hardware and load entire OS</a:t>
          </a:r>
        </a:p>
      </dsp:txBody>
      <dsp:txXfrm>
        <a:off x="552" y="18743"/>
        <a:ext cx="2155375" cy="1293225"/>
      </dsp:txXfrm>
    </dsp:sp>
    <dsp:sp modelId="{7E110545-13BE-443E-86D6-35AC005902B1}">
      <dsp:nvSpPr>
        <dsp:cNvPr id="0" name=""/>
        <dsp:cNvSpPr/>
      </dsp:nvSpPr>
      <dsp:spPr>
        <a:xfrm>
          <a:off x="2371465" y="18743"/>
          <a:ext cx="2155375" cy="1293225"/>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Containers = isolation but cooperate with host kernel</a:t>
          </a:r>
        </a:p>
      </dsp:txBody>
      <dsp:txXfrm>
        <a:off x="2371465" y="18743"/>
        <a:ext cx="2155375" cy="1293225"/>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0449ED9-0CDF-463E-8624-14A510D3FFC6}">
      <dsp:nvSpPr>
        <dsp:cNvPr id="0" name=""/>
        <dsp:cNvSpPr/>
      </dsp:nvSpPr>
      <dsp:spPr>
        <a:xfrm>
          <a:off x="294691" y="3412"/>
          <a:ext cx="2298312" cy="1378987"/>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dirty="0"/>
            <a:t>SQL Server Engine pre-installed</a:t>
          </a:r>
        </a:p>
      </dsp:txBody>
      <dsp:txXfrm>
        <a:off x="294691" y="3412"/>
        <a:ext cx="2298312" cy="1378987"/>
      </dsp:txXfrm>
    </dsp:sp>
    <dsp:sp modelId="{942BBD2B-F852-425E-85F5-A5351702B81D}">
      <dsp:nvSpPr>
        <dsp:cNvPr id="0" name=""/>
        <dsp:cNvSpPr/>
      </dsp:nvSpPr>
      <dsp:spPr>
        <a:xfrm>
          <a:off x="294691" y="1612231"/>
          <a:ext cx="2298312" cy="1378987"/>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dirty="0"/>
            <a:t>SQL Server tools pre-installed</a:t>
          </a:r>
        </a:p>
      </dsp:txBody>
      <dsp:txXfrm>
        <a:off x="294691" y="1612231"/>
        <a:ext cx="2298312" cy="1378987"/>
      </dsp:txXfrm>
    </dsp:sp>
    <dsp:sp modelId="{573CCB76-FF01-4911-8502-CF4D944B35D3}">
      <dsp:nvSpPr>
        <dsp:cNvPr id="0" name=""/>
        <dsp:cNvSpPr/>
      </dsp:nvSpPr>
      <dsp:spPr>
        <a:xfrm>
          <a:off x="294691" y="3221050"/>
          <a:ext cx="2298312" cy="1378987"/>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dirty="0">
              <a:ea typeface="Segoe UI" pitchFamily="34" charset="0"/>
              <a:cs typeface="Segoe UI" pitchFamily="34" charset="0"/>
            </a:rPr>
            <a:t>See </a:t>
          </a:r>
          <a:r>
            <a:rPr lang="en-US" sz="2500" kern="1200" dirty="0">
              <a:ea typeface="Segoe UI" pitchFamily="34" charset="0"/>
              <a:cs typeface="Segoe UI" pitchFamily="34" charset="0"/>
              <a:hlinkClick xmlns:r="http://schemas.openxmlformats.org/officeDocument/2006/relationships" r:id="rId1"/>
            </a:rPr>
            <a:t>here</a:t>
          </a:r>
          <a:r>
            <a:rPr lang="en-US" sz="2500" kern="1200" dirty="0">
              <a:ea typeface="Segoe UI" pitchFamily="34" charset="0"/>
              <a:cs typeface="Segoe UI" pitchFamily="34" charset="0"/>
            </a:rPr>
            <a:t> how to add other packages</a:t>
          </a:r>
          <a:endParaRPr lang="en-US" sz="2500" kern="1200" dirty="0"/>
        </a:p>
      </dsp:txBody>
      <dsp:txXfrm>
        <a:off x="294691" y="3221050"/>
        <a:ext cx="2298312" cy="1378987"/>
      </dsp:txXfrm>
    </dsp:sp>
    <dsp:sp modelId="{0486C7D6-14B3-4356-9E6B-4777A12A48E8}">
      <dsp:nvSpPr>
        <dsp:cNvPr id="0" name=""/>
        <dsp:cNvSpPr/>
      </dsp:nvSpPr>
      <dsp:spPr>
        <a:xfrm>
          <a:off x="294691" y="4829869"/>
          <a:ext cx="2298312" cy="1378987"/>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dirty="0"/>
            <a:t>Database and application compatibility</a:t>
          </a:r>
        </a:p>
      </dsp:txBody>
      <dsp:txXfrm>
        <a:off x="294691" y="4829869"/>
        <a:ext cx="2298312" cy="1378987"/>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65FF878-1A60-4E47-9A24-794CDD479790}">
      <dsp:nvSpPr>
        <dsp:cNvPr id="0" name=""/>
        <dsp:cNvSpPr/>
      </dsp:nvSpPr>
      <dsp:spPr>
        <a:xfrm>
          <a:off x="0" y="143089"/>
          <a:ext cx="3424346" cy="2054608"/>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US" sz="3000" kern="1200" baseline="0" dirty="0"/>
            <a:t>minikube</a:t>
          </a:r>
          <a:endParaRPr lang="en-US" sz="3000" kern="1200" dirty="0"/>
        </a:p>
        <a:p>
          <a:pPr marL="228600" lvl="1" indent="-228600" algn="l" defTabSz="1022350">
            <a:lnSpc>
              <a:spcPct val="90000"/>
            </a:lnSpc>
            <a:spcBef>
              <a:spcPct val="0"/>
            </a:spcBef>
            <a:spcAft>
              <a:spcPct val="15000"/>
            </a:spcAft>
            <a:buChar char="•"/>
          </a:pPr>
          <a:r>
            <a:rPr lang="en-US" sz="2300" kern="1200" dirty="0"/>
            <a:t>Single node on your laptop</a:t>
          </a:r>
        </a:p>
      </dsp:txBody>
      <dsp:txXfrm>
        <a:off x="0" y="143089"/>
        <a:ext cx="3424346" cy="2054608"/>
      </dsp:txXfrm>
    </dsp:sp>
    <dsp:sp modelId="{AB435B41-97BA-440A-A705-44B22CDB9B08}">
      <dsp:nvSpPr>
        <dsp:cNvPr id="0" name=""/>
        <dsp:cNvSpPr/>
      </dsp:nvSpPr>
      <dsp:spPr>
        <a:xfrm>
          <a:off x="3766781" y="143089"/>
          <a:ext cx="3424346" cy="2054608"/>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US" sz="3000" kern="1200" baseline="0" dirty="0"/>
            <a:t>Kubeadm</a:t>
          </a:r>
          <a:endParaRPr lang="en-US" sz="3000" kern="1200" dirty="0"/>
        </a:p>
        <a:p>
          <a:pPr marL="228600" lvl="1" indent="-228600" algn="l" defTabSz="1022350">
            <a:lnSpc>
              <a:spcPct val="90000"/>
            </a:lnSpc>
            <a:spcBef>
              <a:spcPct val="0"/>
            </a:spcBef>
            <a:spcAft>
              <a:spcPct val="15000"/>
            </a:spcAft>
            <a:buChar char="•"/>
          </a:pPr>
          <a:r>
            <a:rPr lang="en-US" sz="2300" kern="1200" dirty="0"/>
            <a:t>Install your own cluster</a:t>
          </a:r>
        </a:p>
      </dsp:txBody>
      <dsp:txXfrm>
        <a:off x="3766781" y="143089"/>
        <a:ext cx="3424346" cy="2054608"/>
      </dsp:txXfrm>
    </dsp:sp>
    <dsp:sp modelId="{6FED4224-6491-4827-B3FF-D06680D6EA87}">
      <dsp:nvSpPr>
        <dsp:cNvPr id="0" name=""/>
        <dsp:cNvSpPr/>
      </dsp:nvSpPr>
      <dsp:spPr>
        <a:xfrm>
          <a:off x="7533563" y="143089"/>
          <a:ext cx="3424346" cy="2054608"/>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US" sz="3000" kern="1200" baseline="0" dirty="0"/>
            <a:t>RedHat OpenShift</a:t>
          </a:r>
          <a:endParaRPr lang="en-US" sz="3000" kern="1200" dirty="0"/>
        </a:p>
        <a:p>
          <a:pPr marL="228600" lvl="1" indent="-228600" algn="l" defTabSz="1022350">
            <a:lnSpc>
              <a:spcPct val="90000"/>
            </a:lnSpc>
            <a:spcBef>
              <a:spcPct val="0"/>
            </a:spcBef>
            <a:spcAft>
              <a:spcPct val="15000"/>
            </a:spcAft>
            <a:buChar char="•"/>
          </a:pPr>
          <a:r>
            <a:rPr lang="en-US" sz="2300" kern="1200" dirty="0"/>
            <a:t>K8s platform private or public cloud</a:t>
          </a:r>
        </a:p>
      </dsp:txBody>
      <dsp:txXfrm>
        <a:off x="7533563" y="143089"/>
        <a:ext cx="3424346" cy="2054608"/>
      </dsp:txXfrm>
    </dsp:sp>
    <dsp:sp modelId="{248090D7-1E72-4460-B238-DAE11EAFAB92}">
      <dsp:nvSpPr>
        <dsp:cNvPr id="0" name=""/>
        <dsp:cNvSpPr/>
      </dsp:nvSpPr>
      <dsp:spPr>
        <a:xfrm>
          <a:off x="0" y="2540132"/>
          <a:ext cx="3424346" cy="2054608"/>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US" sz="3000" kern="1200" baseline="0" dirty="0"/>
            <a:t>Azure Kubernetes Service (AKS)</a:t>
          </a:r>
        </a:p>
        <a:p>
          <a:pPr marL="228600" lvl="1" indent="-228600" algn="l" defTabSz="1022350">
            <a:lnSpc>
              <a:spcPct val="90000"/>
            </a:lnSpc>
            <a:spcBef>
              <a:spcPct val="0"/>
            </a:spcBef>
            <a:spcAft>
              <a:spcPct val="15000"/>
            </a:spcAft>
            <a:buChar char="•"/>
          </a:pPr>
          <a:r>
            <a:rPr lang="en-US" sz="2300" kern="1200" baseline="0" dirty="0"/>
            <a:t>Azure hosted k8s</a:t>
          </a:r>
        </a:p>
      </dsp:txBody>
      <dsp:txXfrm>
        <a:off x="0" y="2540132"/>
        <a:ext cx="3424346" cy="2054608"/>
      </dsp:txXfrm>
    </dsp:sp>
    <dsp:sp modelId="{DA7E4824-0F14-46CE-8B64-4544C89C3240}">
      <dsp:nvSpPr>
        <dsp:cNvPr id="0" name=""/>
        <dsp:cNvSpPr/>
      </dsp:nvSpPr>
      <dsp:spPr>
        <a:xfrm>
          <a:off x="3766781" y="2540132"/>
          <a:ext cx="3424346" cy="2054608"/>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US" sz="3000" kern="1200" baseline="0" dirty="0"/>
            <a:t>OpenShift on Azure (OSA)</a:t>
          </a:r>
          <a:endParaRPr lang="en-US" sz="3000" kern="1200" dirty="0"/>
        </a:p>
        <a:p>
          <a:pPr marL="228600" lvl="1" indent="-228600" algn="l" defTabSz="1022350">
            <a:lnSpc>
              <a:spcPct val="90000"/>
            </a:lnSpc>
            <a:spcBef>
              <a:spcPct val="0"/>
            </a:spcBef>
            <a:spcAft>
              <a:spcPct val="15000"/>
            </a:spcAft>
            <a:buChar char="•"/>
          </a:pPr>
          <a:r>
            <a:rPr lang="en-US" sz="2300" kern="1200" dirty="0"/>
            <a:t>Managed OpenShift on Azure</a:t>
          </a:r>
        </a:p>
      </dsp:txBody>
      <dsp:txXfrm>
        <a:off x="3766781" y="2540132"/>
        <a:ext cx="3424346" cy="2054608"/>
      </dsp:txXfrm>
    </dsp:sp>
    <dsp:sp modelId="{6F34995B-366C-4C54-998F-F53E0C766676}">
      <dsp:nvSpPr>
        <dsp:cNvPr id="0" name=""/>
        <dsp:cNvSpPr/>
      </dsp:nvSpPr>
      <dsp:spPr>
        <a:xfrm>
          <a:off x="7533563" y="2540132"/>
          <a:ext cx="3424346" cy="2054608"/>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US" sz="3000" kern="1200" dirty="0"/>
            <a:t>Other</a:t>
          </a:r>
        </a:p>
        <a:p>
          <a:pPr marL="228600" lvl="1" indent="-228600" algn="l" defTabSz="1022350">
            <a:lnSpc>
              <a:spcPct val="90000"/>
            </a:lnSpc>
            <a:spcBef>
              <a:spcPct val="0"/>
            </a:spcBef>
            <a:spcAft>
              <a:spcPct val="15000"/>
            </a:spcAft>
            <a:buChar char="•"/>
          </a:pPr>
          <a:r>
            <a:rPr lang="en-US" sz="2300" kern="1200" dirty="0"/>
            <a:t>Azure Stack</a:t>
          </a:r>
        </a:p>
        <a:p>
          <a:pPr marL="228600" lvl="1" indent="-228600" algn="l" defTabSz="1022350">
            <a:lnSpc>
              <a:spcPct val="90000"/>
            </a:lnSpc>
            <a:spcBef>
              <a:spcPct val="0"/>
            </a:spcBef>
            <a:spcAft>
              <a:spcPct val="15000"/>
            </a:spcAft>
            <a:buChar char="•"/>
          </a:pPr>
          <a:r>
            <a:rPr lang="en-US" sz="2300" kern="1200" dirty="0"/>
            <a:t>Windows Server</a:t>
          </a:r>
        </a:p>
      </dsp:txBody>
      <dsp:txXfrm>
        <a:off x="7533563" y="2540132"/>
        <a:ext cx="3424346" cy="2054608"/>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B9C0021-9E0F-4819-8601-2AFFD75C478B}">
      <dsp:nvSpPr>
        <dsp:cNvPr id="0" name=""/>
        <dsp:cNvSpPr/>
      </dsp:nvSpPr>
      <dsp:spPr>
        <a:xfrm>
          <a:off x="0" y="0"/>
          <a:ext cx="11018520"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53015CF-E7F1-40DA-802D-0874AF2F9F82}">
      <dsp:nvSpPr>
        <dsp:cNvPr id="0" name=""/>
        <dsp:cNvSpPr/>
      </dsp:nvSpPr>
      <dsp:spPr>
        <a:xfrm>
          <a:off x="0" y="0"/>
          <a:ext cx="11018520" cy="10125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US" sz="2600" kern="1200" baseline="0" dirty="0"/>
            <a:t>Use EXTERNAL table to map common names familiar to your SQL Server</a:t>
          </a:r>
          <a:endParaRPr lang="en-US" sz="2600" kern="1200" dirty="0"/>
        </a:p>
      </dsp:txBody>
      <dsp:txXfrm>
        <a:off x="0" y="0"/>
        <a:ext cx="11018520" cy="1012584"/>
      </dsp:txXfrm>
    </dsp:sp>
    <dsp:sp modelId="{76D4A2F8-890D-4060-88BE-6CA64F8E03CA}">
      <dsp:nvSpPr>
        <dsp:cNvPr id="0" name=""/>
        <dsp:cNvSpPr/>
      </dsp:nvSpPr>
      <dsp:spPr>
        <a:xfrm>
          <a:off x="0" y="1012584"/>
          <a:ext cx="11018520"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576E28E-0ECE-4CBC-853B-06A49E1BDAEC}">
      <dsp:nvSpPr>
        <dsp:cNvPr id="0" name=""/>
        <dsp:cNvSpPr/>
      </dsp:nvSpPr>
      <dsp:spPr>
        <a:xfrm>
          <a:off x="0" y="1012584"/>
          <a:ext cx="11018520" cy="10125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US" sz="2600" kern="1200" baseline="0" dirty="0"/>
            <a:t>Exclude fields or columns from data source that are not needed (Planned)</a:t>
          </a:r>
          <a:endParaRPr lang="en-US" sz="2600" kern="1200" dirty="0"/>
        </a:p>
      </dsp:txBody>
      <dsp:txXfrm>
        <a:off x="0" y="1012584"/>
        <a:ext cx="11018520" cy="1012584"/>
      </dsp:txXfrm>
    </dsp:sp>
    <dsp:sp modelId="{6124704D-3D09-43B9-ABCC-F83534700E66}">
      <dsp:nvSpPr>
        <dsp:cNvPr id="0" name=""/>
        <dsp:cNvSpPr/>
      </dsp:nvSpPr>
      <dsp:spPr>
        <a:xfrm>
          <a:off x="0" y="2025169"/>
          <a:ext cx="11018520"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304E49C-D2BC-4FB7-9753-8F39DECAA5F2}">
      <dsp:nvSpPr>
        <dsp:cNvPr id="0" name=""/>
        <dsp:cNvSpPr/>
      </dsp:nvSpPr>
      <dsp:spPr>
        <a:xfrm>
          <a:off x="0" y="2025169"/>
          <a:ext cx="11018520" cy="10125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US" sz="2600" kern="1200" baseline="0" dirty="0"/>
            <a:t>Use SQL Server views to abstract joins and data source access</a:t>
          </a:r>
          <a:endParaRPr lang="en-US" sz="2600" kern="1200" dirty="0"/>
        </a:p>
      </dsp:txBody>
      <dsp:txXfrm>
        <a:off x="0" y="2025169"/>
        <a:ext cx="11018520" cy="1012584"/>
      </dsp:txXfrm>
    </dsp:sp>
    <dsp:sp modelId="{47B09D47-81C1-4389-AC79-D92B545CD87D}">
      <dsp:nvSpPr>
        <dsp:cNvPr id="0" name=""/>
        <dsp:cNvSpPr/>
      </dsp:nvSpPr>
      <dsp:spPr>
        <a:xfrm>
          <a:off x="0" y="3037754"/>
          <a:ext cx="11018520"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9907A0E-F67A-4370-B2FD-060E9FC8C8A5}">
      <dsp:nvSpPr>
        <dsp:cNvPr id="0" name=""/>
        <dsp:cNvSpPr/>
      </dsp:nvSpPr>
      <dsp:spPr>
        <a:xfrm>
          <a:off x="0" y="3037754"/>
          <a:ext cx="11018520" cy="10125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US" sz="2600" kern="1200" baseline="0" dirty="0"/>
            <a:t>Use UNION to join similar data from data sources and local SQL Server</a:t>
          </a:r>
          <a:endParaRPr lang="en-US" sz="2600" kern="1200" dirty="0"/>
        </a:p>
      </dsp:txBody>
      <dsp:txXfrm>
        <a:off x="0" y="3037754"/>
        <a:ext cx="11018520" cy="101258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6E835C1-CAA7-4C71-892C-77159276F6BE}">
      <dsp:nvSpPr>
        <dsp:cNvPr id="0" name=""/>
        <dsp:cNvSpPr/>
      </dsp:nvSpPr>
      <dsp:spPr>
        <a:xfrm>
          <a:off x="0" y="196454"/>
          <a:ext cx="6062977" cy="84942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dirty="0"/>
            <a:t>The Solution(s)</a:t>
          </a:r>
        </a:p>
      </dsp:txBody>
      <dsp:txXfrm>
        <a:off x="41465" y="237919"/>
        <a:ext cx="5980047" cy="766490"/>
      </dsp:txXfrm>
    </dsp:sp>
    <dsp:sp modelId="{F4F491F2-8310-4EDC-83BE-3E4CB6BFF77F}">
      <dsp:nvSpPr>
        <dsp:cNvPr id="0" name=""/>
        <dsp:cNvSpPr/>
      </dsp:nvSpPr>
      <dsp:spPr>
        <a:xfrm>
          <a:off x="0" y="1045874"/>
          <a:ext cx="6062977" cy="32105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2500" tIns="41910" rIns="234696" bIns="41910" numCol="1" spcCol="1270" anchor="t" anchorCtr="0">
          <a:noAutofit/>
        </a:bodyPr>
        <a:lstStyle/>
        <a:p>
          <a:pPr marL="228600" lvl="1" indent="-228600" algn="l" defTabSz="1155700">
            <a:lnSpc>
              <a:spcPct val="90000"/>
            </a:lnSpc>
            <a:spcBef>
              <a:spcPct val="0"/>
            </a:spcBef>
            <a:spcAft>
              <a:spcPct val="20000"/>
            </a:spcAft>
            <a:buChar char="•"/>
          </a:pPr>
          <a:r>
            <a:rPr lang="en-US" sz="2600" kern="1200" dirty="0"/>
            <a:t>Build intelligent, adaptable operators</a:t>
          </a:r>
        </a:p>
        <a:p>
          <a:pPr marL="228600" lvl="1" indent="-228600" algn="l" defTabSz="1155700">
            <a:lnSpc>
              <a:spcPct val="90000"/>
            </a:lnSpc>
            <a:spcBef>
              <a:spcPct val="0"/>
            </a:spcBef>
            <a:spcAft>
              <a:spcPct val="20000"/>
            </a:spcAft>
            <a:buChar char="•"/>
          </a:pPr>
          <a:r>
            <a:rPr lang="en-US" sz="2600" kern="1200" dirty="0"/>
            <a:t>Modify query plans in cache based on previous execution</a:t>
          </a:r>
        </a:p>
        <a:p>
          <a:pPr marL="228600" lvl="1" indent="-228600" algn="l" defTabSz="1155700">
            <a:lnSpc>
              <a:spcPct val="90000"/>
            </a:lnSpc>
            <a:spcBef>
              <a:spcPct val="0"/>
            </a:spcBef>
            <a:spcAft>
              <a:spcPct val="20000"/>
            </a:spcAft>
            <a:buChar char="•"/>
          </a:pPr>
          <a:r>
            <a:rPr lang="en-US" sz="2600" kern="1200" dirty="0"/>
            <a:t>Expand batch mode</a:t>
          </a:r>
        </a:p>
        <a:p>
          <a:pPr marL="228600" lvl="1" indent="-228600" algn="l" defTabSz="1155700">
            <a:lnSpc>
              <a:spcPct val="90000"/>
            </a:lnSpc>
            <a:spcBef>
              <a:spcPct val="0"/>
            </a:spcBef>
            <a:spcAft>
              <a:spcPct val="20000"/>
            </a:spcAft>
            <a:buChar char="•"/>
          </a:pPr>
          <a:r>
            <a:rPr lang="en-US" sz="2600" kern="1200" dirty="0"/>
            <a:t>Execution data drives downstream compilation</a:t>
          </a:r>
        </a:p>
        <a:p>
          <a:pPr marL="228600" lvl="1" indent="-228600" algn="l" defTabSz="1155700">
            <a:lnSpc>
              <a:spcPct val="90000"/>
            </a:lnSpc>
            <a:spcBef>
              <a:spcPct val="0"/>
            </a:spcBef>
            <a:spcAft>
              <a:spcPct val="20000"/>
            </a:spcAft>
            <a:buChar char="•"/>
          </a:pPr>
          <a:r>
            <a:rPr lang="en-US" sz="2600" kern="1200" dirty="0"/>
            <a:t>Smarter query processing</a:t>
          </a:r>
        </a:p>
      </dsp:txBody>
      <dsp:txXfrm>
        <a:off x="0" y="1045874"/>
        <a:ext cx="6062977" cy="3210570"/>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B14557-D145-44CE-AA9D-CF510C83A62E}">
      <dsp:nvSpPr>
        <dsp:cNvPr id="0" name=""/>
        <dsp:cNvSpPr/>
      </dsp:nvSpPr>
      <dsp:spPr>
        <a:xfrm>
          <a:off x="823004" y="2978"/>
          <a:ext cx="1858176" cy="1114905"/>
        </a:xfrm>
        <a:prstGeom prst="rect">
          <a:avLst/>
        </a:prstGeom>
        <a:solidFill>
          <a:schemeClr val="lt1">
            <a:hueOff val="0"/>
            <a:satOff val="0"/>
            <a:lumOff val="0"/>
            <a:alphaOff val="0"/>
          </a:schemeClr>
        </a:solid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Code generation in Notebooks</a:t>
          </a:r>
        </a:p>
      </dsp:txBody>
      <dsp:txXfrm>
        <a:off x="823004" y="2978"/>
        <a:ext cx="1858176" cy="1114905"/>
      </dsp:txXfrm>
    </dsp:sp>
    <dsp:sp modelId="{49EC0BD5-D2A4-4328-9E0C-2D2BE22B5F17}">
      <dsp:nvSpPr>
        <dsp:cNvPr id="0" name=""/>
        <dsp:cNvSpPr/>
      </dsp:nvSpPr>
      <dsp:spPr>
        <a:xfrm>
          <a:off x="823004" y="1303701"/>
          <a:ext cx="1858176" cy="1114905"/>
        </a:xfrm>
        <a:prstGeom prst="rect">
          <a:avLst/>
        </a:prstGeom>
        <a:solidFill>
          <a:schemeClr val="lt1">
            <a:hueOff val="0"/>
            <a:satOff val="0"/>
            <a:lumOff val="0"/>
            <a:alphaOff val="0"/>
          </a:schemeClr>
        </a:solid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Import wizards</a:t>
          </a:r>
        </a:p>
      </dsp:txBody>
      <dsp:txXfrm>
        <a:off x="823004" y="1303701"/>
        <a:ext cx="1858176" cy="1114905"/>
      </dsp:txXfrm>
    </dsp:sp>
    <dsp:sp modelId="{CB2D3F6D-CFB3-42FD-AA44-03959C982C2A}">
      <dsp:nvSpPr>
        <dsp:cNvPr id="0" name=""/>
        <dsp:cNvSpPr/>
      </dsp:nvSpPr>
      <dsp:spPr>
        <a:xfrm>
          <a:off x="823004" y="2604424"/>
          <a:ext cx="1858176" cy="1114905"/>
        </a:xfrm>
        <a:prstGeom prst="rect">
          <a:avLst/>
        </a:prstGeom>
        <a:solidFill>
          <a:schemeClr val="lt1">
            <a:hueOff val="0"/>
            <a:satOff val="0"/>
            <a:lumOff val="0"/>
            <a:alphaOff val="0"/>
          </a:schemeClr>
        </a:solid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External Table detection for HDFS</a:t>
          </a:r>
        </a:p>
      </dsp:txBody>
      <dsp:txXfrm>
        <a:off x="823004" y="2604424"/>
        <a:ext cx="1858176" cy="1114905"/>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02E34D9-7EEA-4599-BB0A-67C67AFD7EE0}">
      <dsp:nvSpPr>
        <dsp:cNvPr id="0" name=""/>
        <dsp:cNvSpPr/>
      </dsp:nvSpPr>
      <dsp:spPr>
        <a:xfrm>
          <a:off x="1334" y="1596822"/>
          <a:ext cx="5203416" cy="2189812"/>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35560" rIns="53340" bIns="35560" numCol="1" spcCol="1270" anchor="ctr" anchorCtr="0">
          <a:noAutofit/>
        </a:bodyPr>
        <a:lstStyle/>
        <a:p>
          <a:pPr marL="0" lvl="0" indent="0" algn="ctr" defTabSz="1244600">
            <a:lnSpc>
              <a:spcPct val="90000"/>
            </a:lnSpc>
            <a:spcBef>
              <a:spcPct val="0"/>
            </a:spcBef>
            <a:spcAft>
              <a:spcPct val="35000"/>
            </a:spcAft>
            <a:buNone/>
          </a:pPr>
          <a:r>
            <a:rPr lang="en-US" sz="2800" kern="1200" dirty="0"/>
            <a:t>Stop certifying for any given platform (Cloud, on-prem)!</a:t>
          </a:r>
        </a:p>
      </dsp:txBody>
      <dsp:txXfrm>
        <a:off x="65471" y="1660959"/>
        <a:ext cx="5075142" cy="2061538"/>
      </dsp:txXfrm>
    </dsp:sp>
    <dsp:sp modelId="{229EBB6B-392D-43F2-BB82-99F540E131C7}">
      <dsp:nvSpPr>
        <dsp:cNvPr id="0" name=""/>
        <dsp:cNvSpPr/>
      </dsp:nvSpPr>
      <dsp:spPr>
        <a:xfrm>
          <a:off x="5725092" y="1596822"/>
          <a:ext cx="5203416" cy="2250224"/>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35560" rIns="53340" bIns="35560" numCol="1" spcCol="1270" anchor="ctr" anchorCtr="0">
          <a:noAutofit/>
        </a:bodyPr>
        <a:lstStyle/>
        <a:p>
          <a:pPr marL="0" lvl="0" indent="0" algn="ctr" defTabSz="1244600">
            <a:lnSpc>
              <a:spcPct val="90000"/>
            </a:lnSpc>
            <a:spcBef>
              <a:spcPct val="0"/>
            </a:spcBef>
            <a:spcAft>
              <a:spcPct val="35000"/>
            </a:spcAft>
            <a:buNone/>
          </a:pPr>
          <a:r>
            <a:rPr lang="en-US" sz="2800" kern="1200" dirty="0"/>
            <a:t>Stop certifying for a named SQL Server version!</a:t>
          </a:r>
        </a:p>
      </dsp:txBody>
      <dsp:txXfrm>
        <a:off x="5790999" y="1662729"/>
        <a:ext cx="5071602" cy="2118410"/>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F131562-68F0-4B19-9C9B-11EDABF5C6C2}">
      <dsp:nvSpPr>
        <dsp:cNvPr id="0" name=""/>
        <dsp:cNvSpPr/>
      </dsp:nvSpPr>
      <dsp:spPr>
        <a:xfrm>
          <a:off x="0" y="0"/>
          <a:ext cx="11127648" cy="1726824"/>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0020" tIns="160020" rIns="160020" bIns="160020" numCol="1" spcCol="1270" anchor="ctr" anchorCtr="0">
          <a:noAutofit/>
        </a:bodyPr>
        <a:lstStyle/>
        <a:p>
          <a:pPr marL="0" lvl="0" indent="0" algn="ctr" defTabSz="1866900">
            <a:lnSpc>
              <a:spcPct val="90000"/>
            </a:lnSpc>
            <a:spcBef>
              <a:spcPct val="0"/>
            </a:spcBef>
            <a:spcAft>
              <a:spcPct val="35000"/>
            </a:spcAft>
            <a:buNone/>
          </a:pPr>
          <a:r>
            <a:rPr lang="en-US" sz="4200" kern="1200" dirty="0"/>
            <a:t>Microsoft Database Compatibility Level </a:t>
          </a:r>
          <a:r>
            <a:rPr lang="en-US" sz="4200" u="sng" kern="1200" dirty="0"/>
            <a:t>Protection</a:t>
          </a:r>
          <a:endParaRPr lang="en-US" sz="4200" kern="1200" dirty="0"/>
        </a:p>
      </dsp:txBody>
      <dsp:txXfrm>
        <a:off x="50577" y="50577"/>
        <a:ext cx="11026494" cy="1625670"/>
      </dsp:txXfrm>
    </dsp:sp>
    <dsp:sp modelId="{BB60262A-7260-41EC-A300-83A70430AB88}">
      <dsp:nvSpPr>
        <dsp:cNvPr id="0" name=""/>
        <dsp:cNvSpPr/>
      </dsp:nvSpPr>
      <dsp:spPr>
        <a:xfrm>
          <a:off x="4001" y="2097506"/>
          <a:ext cx="3512515" cy="3054704"/>
        </a:xfrm>
        <a:prstGeom prst="roundRect">
          <a:avLst>
            <a:gd name="adj" fmla="val 10000"/>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dirty="0"/>
            <a:t>Full Functional protection once assessment tools runs clean with no errors.</a:t>
          </a:r>
        </a:p>
      </dsp:txBody>
      <dsp:txXfrm>
        <a:off x="93470" y="2186975"/>
        <a:ext cx="3333577" cy="2875766"/>
      </dsp:txXfrm>
    </dsp:sp>
    <dsp:sp modelId="{7818A2DF-6CC5-48A1-A1AD-474D3C9CEE83}">
      <dsp:nvSpPr>
        <dsp:cNvPr id="0" name=""/>
        <dsp:cNvSpPr/>
      </dsp:nvSpPr>
      <dsp:spPr>
        <a:xfrm>
          <a:off x="3811568" y="2097506"/>
          <a:ext cx="3512515" cy="3054704"/>
        </a:xfrm>
        <a:prstGeom prst="roundRect">
          <a:avLst>
            <a:gd name="adj" fmla="val 10000"/>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dirty="0"/>
            <a:t>Query Plan shape protection on comparable hardware.</a:t>
          </a:r>
        </a:p>
      </dsp:txBody>
      <dsp:txXfrm>
        <a:off x="3901037" y="2186975"/>
        <a:ext cx="3333577" cy="2875766"/>
      </dsp:txXfrm>
    </dsp:sp>
    <dsp:sp modelId="{3B92D154-099C-4BE2-9BB9-C48EC9DD153F}">
      <dsp:nvSpPr>
        <dsp:cNvPr id="0" name=""/>
        <dsp:cNvSpPr/>
      </dsp:nvSpPr>
      <dsp:spPr>
        <a:xfrm>
          <a:off x="7619134" y="2097506"/>
          <a:ext cx="3512515" cy="3054704"/>
        </a:xfrm>
        <a:prstGeom prst="roundRect">
          <a:avLst>
            <a:gd name="adj" fmla="val 10000"/>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dirty="0"/>
            <a:t>Maintaining backward compatibility is very important to SQL Server team.</a:t>
          </a:r>
        </a:p>
      </dsp:txBody>
      <dsp:txXfrm>
        <a:off x="7708603" y="2186975"/>
        <a:ext cx="3333577" cy="287576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6E835C1-CAA7-4C71-892C-77159276F6BE}">
      <dsp:nvSpPr>
        <dsp:cNvPr id="0" name=""/>
        <dsp:cNvSpPr/>
      </dsp:nvSpPr>
      <dsp:spPr>
        <a:xfrm>
          <a:off x="0" y="586069"/>
          <a:ext cx="5751148" cy="900899"/>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ctr" defTabSz="1555750">
            <a:lnSpc>
              <a:spcPct val="90000"/>
            </a:lnSpc>
            <a:spcBef>
              <a:spcPct val="0"/>
            </a:spcBef>
            <a:spcAft>
              <a:spcPct val="35000"/>
            </a:spcAft>
            <a:buNone/>
          </a:pPr>
          <a:r>
            <a:rPr lang="en-US" sz="3500" kern="1200" dirty="0"/>
            <a:t>SQL Server 2016 SP1/2017</a:t>
          </a:r>
        </a:p>
      </dsp:txBody>
      <dsp:txXfrm>
        <a:off x="43978" y="630047"/>
        <a:ext cx="5663192" cy="812943"/>
      </dsp:txXfrm>
    </dsp:sp>
    <dsp:sp modelId="{F4F491F2-8310-4EDC-83BE-3E4CB6BFF77F}">
      <dsp:nvSpPr>
        <dsp:cNvPr id="0" name=""/>
        <dsp:cNvSpPr/>
      </dsp:nvSpPr>
      <dsp:spPr>
        <a:xfrm>
          <a:off x="0" y="1486969"/>
          <a:ext cx="5751148" cy="10143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2599" tIns="44450" rIns="248920" bIns="44450" numCol="1" spcCol="1270" anchor="t" anchorCtr="0">
          <a:noAutofit/>
        </a:bodyPr>
        <a:lstStyle/>
        <a:p>
          <a:pPr marL="228600" lvl="1" indent="-228600" algn="l" defTabSz="1200150">
            <a:lnSpc>
              <a:spcPct val="90000"/>
            </a:lnSpc>
            <a:spcBef>
              <a:spcPct val="0"/>
            </a:spcBef>
            <a:spcAft>
              <a:spcPct val="20000"/>
            </a:spcAft>
            <a:buChar char="•"/>
          </a:pPr>
          <a:r>
            <a:rPr lang="en-US" sz="2700" kern="1200" dirty="0"/>
            <a:t>Trace flag 7412</a:t>
          </a:r>
        </a:p>
        <a:p>
          <a:pPr marL="228600" lvl="1" indent="-228600" algn="l" defTabSz="1200150">
            <a:lnSpc>
              <a:spcPct val="90000"/>
            </a:lnSpc>
            <a:spcBef>
              <a:spcPct val="0"/>
            </a:spcBef>
            <a:spcAft>
              <a:spcPct val="20000"/>
            </a:spcAft>
            <a:buChar char="•"/>
          </a:pPr>
          <a:r>
            <a:rPr lang="en-US" sz="2700" kern="1200" dirty="0"/>
            <a:t>XEvent query_thread_profile</a:t>
          </a:r>
        </a:p>
      </dsp:txBody>
      <dsp:txXfrm>
        <a:off x="0" y="1486969"/>
        <a:ext cx="5751148" cy="1014300"/>
      </dsp:txXfrm>
    </dsp:sp>
    <dsp:sp modelId="{DBA002F5-D519-4947-B33A-10D9DE2462FC}">
      <dsp:nvSpPr>
        <dsp:cNvPr id="0" name=""/>
        <dsp:cNvSpPr/>
      </dsp:nvSpPr>
      <dsp:spPr>
        <a:xfrm>
          <a:off x="0" y="2501269"/>
          <a:ext cx="5751148" cy="900899"/>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l" defTabSz="1555750">
            <a:lnSpc>
              <a:spcPct val="90000"/>
            </a:lnSpc>
            <a:spcBef>
              <a:spcPct val="0"/>
            </a:spcBef>
            <a:spcAft>
              <a:spcPct val="35000"/>
            </a:spcAft>
            <a:buNone/>
          </a:pPr>
          <a:r>
            <a:rPr lang="en-US" sz="3500" kern="1200" dirty="0"/>
            <a:t>SQL Server 2019</a:t>
          </a:r>
        </a:p>
      </dsp:txBody>
      <dsp:txXfrm>
        <a:off x="43978" y="2545247"/>
        <a:ext cx="5663192" cy="812943"/>
      </dsp:txXfrm>
    </dsp:sp>
    <dsp:sp modelId="{C9D982FD-C3C7-4ABC-BA98-1B99ACA1F6D7}">
      <dsp:nvSpPr>
        <dsp:cNvPr id="0" name=""/>
        <dsp:cNvSpPr/>
      </dsp:nvSpPr>
      <dsp:spPr>
        <a:xfrm>
          <a:off x="0" y="3402169"/>
          <a:ext cx="5751148" cy="5796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2599" tIns="44450" rIns="248920" bIns="44450" numCol="1" spcCol="1270" anchor="t" anchorCtr="0">
          <a:noAutofit/>
        </a:bodyPr>
        <a:lstStyle/>
        <a:p>
          <a:pPr marL="228600" lvl="1" indent="-228600" algn="l" defTabSz="1200150">
            <a:lnSpc>
              <a:spcPct val="90000"/>
            </a:lnSpc>
            <a:spcBef>
              <a:spcPct val="0"/>
            </a:spcBef>
            <a:spcAft>
              <a:spcPct val="20000"/>
            </a:spcAft>
            <a:buChar char="•"/>
          </a:pPr>
          <a:r>
            <a:rPr lang="en-US" sz="2700" kern="1200" dirty="0"/>
            <a:t>On by default. No knobs required</a:t>
          </a:r>
        </a:p>
      </dsp:txBody>
      <dsp:txXfrm>
        <a:off x="0" y="3402169"/>
        <a:ext cx="5751148" cy="57960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6E835C1-CAA7-4C71-892C-77159276F6BE}">
      <dsp:nvSpPr>
        <dsp:cNvPr id="0" name=""/>
        <dsp:cNvSpPr/>
      </dsp:nvSpPr>
      <dsp:spPr>
        <a:xfrm>
          <a:off x="0" y="56532"/>
          <a:ext cx="5418399" cy="72072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Solution</a:t>
          </a:r>
        </a:p>
      </dsp:txBody>
      <dsp:txXfrm>
        <a:off x="35183" y="91715"/>
        <a:ext cx="5348033" cy="650354"/>
      </dsp:txXfrm>
    </dsp:sp>
    <dsp:sp modelId="{F4F491F2-8310-4EDC-83BE-3E4CB6BFF77F}">
      <dsp:nvSpPr>
        <dsp:cNvPr id="0" name=""/>
        <dsp:cNvSpPr/>
      </dsp:nvSpPr>
      <dsp:spPr>
        <a:xfrm>
          <a:off x="0" y="777252"/>
          <a:ext cx="5418399" cy="2666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2034"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US" sz="2200" kern="1200" dirty="0"/>
            <a:t>Create multiple files to partition allocation pages</a:t>
          </a:r>
        </a:p>
        <a:p>
          <a:pPr marL="228600" lvl="1" indent="-228600" algn="l" defTabSz="977900">
            <a:lnSpc>
              <a:spcPct val="90000"/>
            </a:lnSpc>
            <a:spcBef>
              <a:spcPct val="0"/>
            </a:spcBef>
            <a:spcAft>
              <a:spcPct val="20000"/>
            </a:spcAft>
            <a:buChar char="•"/>
          </a:pPr>
          <a:r>
            <a:rPr lang="en-US" sz="2200" kern="1200" dirty="0"/>
            <a:t>SQL Server 2017+ creates multiple tempdb files during setup</a:t>
          </a:r>
        </a:p>
        <a:p>
          <a:pPr marL="228600" lvl="1" indent="-228600" algn="l" defTabSz="977900">
            <a:lnSpc>
              <a:spcPct val="90000"/>
            </a:lnSpc>
            <a:spcBef>
              <a:spcPct val="0"/>
            </a:spcBef>
            <a:spcAft>
              <a:spcPct val="20000"/>
            </a:spcAft>
            <a:buChar char="•"/>
          </a:pPr>
          <a:r>
            <a:rPr lang="en-US" sz="2200" kern="1200" dirty="0"/>
            <a:t>Start with 8 and add by 4 until concurrency alleviated</a:t>
          </a:r>
        </a:p>
        <a:p>
          <a:pPr marL="228600" lvl="1" indent="-228600" algn="l" defTabSz="977900">
            <a:lnSpc>
              <a:spcPct val="90000"/>
            </a:lnSpc>
            <a:spcBef>
              <a:spcPct val="0"/>
            </a:spcBef>
            <a:spcAft>
              <a:spcPct val="20000"/>
            </a:spcAft>
            <a:buChar char="•"/>
          </a:pPr>
          <a:r>
            <a:rPr lang="en-US" sz="2200" kern="1200" dirty="0"/>
            <a:t>But…what about system tables?</a:t>
          </a:r>
        </a:p>
      </dsp:txBody>
      <dsp:txXfrm>
        <a:off x="0" y="777252"/>
        <a:ext cx="5418399" cy="266616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6E835C1-CAA7-4C71-892C-77159276F6BE}">
      <dsp:nvSpPr>
        <dsp:cNvPr id="0" name=""/>
        <dsp:cNvSpPr/>
      </dsp:nvSpPr>
      <dsp:spPr>
        <a:xfrm>
          <a:off x="0" y="56532"/>
          <a:ext cx="5849006" cy="720720"/>
        </a:xfrm>
        <a:prstGeom prst="round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The SQL 2019 Solution</a:t>
          </a:r>
        </a:p>
      </dsp:txBody>
      <dsp:txXfrm>
        <a:off x="35183" y="91715"/>
        <a:ext cx="5778640" cy="650354"/>
      </dsp:txXfrm>
    </dsp:sp>
    <dsp:sp modelId="{F4F491F2-8310-4EDC-83BE-3E4CB6BFF77F}">
      <dsp:nvSpPr>
        <dsp:cNvPr id="0" name=""/>
        <dsp:cNvSpPr/>
      </dsp:nvSpPr>
      <dsp:spPr>
        <a:xfrm>
          <a:off x="0" y="777252"/>
          <a:ext cx="5849006" cy="2666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5706"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US" sz="2200" kern="1200" dirty="0"/>
            <a:t>Key tempdb system tables become SCHEMA_ONLY memory optimized tables</a:t>
          </a:r>
        </a:p>
        <a:p>
          <a:pPr marL="228600" lvl="1" indent="-228600" algn="l" defTabSz="977900">
            <a:lnSpc>
              <a:spcPct val="90000"/>
            </a:lnSpc>
            <a:spcBef>
              <a:spcPct val="0"/>
            </a:spcBef>
            <a:spcAft>
              <a:spcPct val="20000"/>
            </a:spcAft>
            <a:buChar char="•"/>
          </a:pPr>
          <a:r>
            <a:rPr lang="en-US" sz="2200" kern="1200" dirty="0"/>
            <a:t>Latch and lock free</a:t>
          </a:r>
        </a:p>
        <a:p>
          <a:pPr marL="228600" lvl="1" indent="-228600" algn="l" defTabSz="977900">
            <a:lnSpc>
              <a:spcPct val="90000"/>
            </a:lnSpc>
            <a:spcBef>
              <a:spcPct val="0"/>
            </a:spcBef>
            <a:spcAft>
              <a:spcPct val="20000"/>
            </a:spcAft>
            <a:buChar char="•"/>
          </a:pPr>
          <a:r>
            <a:rPr lang="en-US" sz="2200" kern="1200" dirty="0"/>
            <a:t>Turn on with ALTER SERVER CONFIGURATION</a:t>
          </a:r>
        </a:p>
        <a:p>
          <a:pPr marL="228600" lvl="1" indent="-228600" algn="l" defTabSz="977900">
            <a:lnSpc>
              <a:spcPct val="90000"/>
            </a:lnSpc>
            <a:spcBef>
              <a:spcPct val="0"/>
            </a:spcBef>
            <a:spcAft>
              <a:spcPct val="20000"/>
            </a:spcAft>
            <a:buChar char="•"/>
          </a:pPr>
          <a:r>
            <a:rPr lang="en-US" sz="2200" kern="1200" dirty="0"/>
            <a:t>This is NOT user data just metadata so memory requirements small</a:t>
          </a:r>
        </a:p>
      </dsp:txBody>
      <dsp:txXfrm>
        <a:off x="0" y="777252"/>
        <a:ext cx="5849006" cy="266616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30F9D58-9067-4581-B8C9-C587C3B9FE1F}">
      <dsp:nvSpPr>
        <dsp:cNvPr id="0" name=""/>
        <dsp:cNvSpPr/>
      </dsp:nvSpPr>
      <dsp:spPr>
        <a:xfrm>
          <a:off x="6039" y="0"/>
          <a:ext cx="2119447" cy="373828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Online index create and rebuild</a:t>
          </a:r>
        </a:p>
      </dsp:txBody>
      <dsp:txXfrm>
        <a:off x="6039" y="0"/>
        <a:ext cx="2119447" cy="1121484"/>
      </dsp:txXfrm>
    </dsp:sp>
    <dsp:sp modelId="{573518BA-E4CB-4E5B-BB19-4A2E74BAA0FB}">
      <dsp:nvSpPr>
        <dsp:cNvPr id="0" name=""/>
        <dsp:cNvSpPr/>
      </dsp:nvSpPr>
      <dsp:spPr>
        <a:xfrm>
          <a:off x="217984" y="1121484"/>
          <a:ext cx="1695557" cy="2429883"/>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This has been around for a while</a:t>
          </a:r>
        </a:p>
      </dsp:txBody>
      <dsp:txXfrm>
        <a:off x="267645" y="1171145"/>
        <a:ext cx="1596235" cy="2330561"/>
      </dsp:txXfrm>
    </dsp:sp>
    <dsp:sp modelId="{1E38B38C-7757-4AFC-A4A5-B7AD295E65B6}">
      <dsp:nvSpPr>
        <dsp:cNvPr id="0" name=""/>
        <dsp:cNvSpPr/>
      </dsp:nvSpPr>
      <dsp:spPr>
        <a:xfrm>
          <a:off x="2284445" y="0"/>
          <a:ext cx="2119447" cy="373828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Resumable online rebuild</a:t>
          </a:r>
        </a:p>
      </dsp:txBody>
      <dsp:txXfrm>
        <a:off x="2284445" y="0"/>
        <a:ext cx="2119447" cy="1121484"/>
      </dsp:txXfrm>
    </dsp:sp>
    <dsp:sp modelId="{0B1EB628-A91F-4A03-B0BB-BDAFAC944E32}">
      <dsp:nvSpPr>
        <dsp:cNvPr id="0" name=""/>
        <dsp:cNvSpPr/>
      </dsp:nvSpPr>
      <dsp:spPr>
        <a:xfrm>
          <a:off x="2496390" y="1121804"/>
          <a:ext cx="1695557" cy="734422"/>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SQL Server 2017</a:t>
          </a:r>
        </a:p>
      </dsp:txBody>
      <dsp:txXfrm>
        <a:off x="2517900" y="1143314"/>
        <a:ext cx="1652537" cy="691402"/>
      </dsp:txXfrm>
    </dsp:sp>
    <dsp:sp modelId="{B0E7295E-6666-4ACB-80EA-DE855883143F}">
      <dsp:nvSpPr>
        <dsp:cNvPr id="0" name=""/>
        <dsp:cNvSpPr/>
      </dsp:nvSpPr>
      <dsp:spPr>
        <a:xfrm>
          <a:off x="2496390" y="1969215"/>
          <a:ext cx="1695557" cy="734422"/>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Pause and Resume</a:t>
          </a:r>
        </a:p>
      </dsp:txBody>
      <dsp:txXfrm>
        <a:off x="2517900" y="1990725"/>
        <a:ext cx="1652537" cy="691402"/>
      </dsp:txXfrm>
    </dsp:sp>
    <dsp:sp modelId="{064E88C3-E887-4D2A-A7D8-DD9B3800DE62}">
      <dsp:nvSpPr>
        <dsp:cNvPr id="0" name=""/>
        <dsp:cNvSpPr/>
      </dsp:nvSpPr>
      <dsp:spPr>
        <a:xfrm>
          <a:off x="2496390" y="2816626"/>
          <a:ext cx="1695557" cy="734422"/>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Incremental rebuild</a:t>
          </a:r>
        </a:p>
      </dsp:txBody>
      <dsp:txXfrm>
        <a:off x="2517900" y="2838136"/>
        <a:ext cx="1652537" cy="691402"/>
      </dsp:txXfrm>
    </dsp:sp>
    <dsp:sp modelId="{D174599E-222E-457A-BFD6-2620322894C0}">
      <dsp:nvSpPr>
        <dsp:cNvPr id="0" name=""/>
        <dsp:cNvSpPr/>
      </dsp:nvSpPr>
      <dsp:spPr>
        <a:xfrm>
          <a:off x="4562850" y="0"/>
          <a:ext cx="2119447" cy="373828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Resumable online index create</a:t>
          </a:r>
        </a:p>
      </dsp:txBody>
      <dsp:txXfrm>
        <a:off x="4562850" y="0"/>
        <a:ext cx="2119447" cy="1121484"/>
      </dsp:txXfrm>
    </dsp:sp>
    <dsp:sp modelId="{40F3804C-1CF2-4856-8949-48F6627C44B5}">
      <dsp:nvSpPr>
        <dsp:cNvPr id="0" name=""/>
        <dsp:cNvSpPr/>
      </dsp:nvSpPr>
      <dsp:spPr>
        <a:xfrm>
          <a:off x="4774795" y="1121484"/>
          <a:ext cx="1695557" cy="2429883"/>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SQL Server 2019</a:t>
          </a:r>
        </a:p>
      </dsp:txBody>
      <dsp:txXfrm>
        <a:off x="4824456" y="1171145"/>
        <a:ext cx="1596235" cy="2330561"/>
      </dsp:txXfrm>
    </dsp:sp>
    <dsp:sp modelId="{7D45AECE-F8B5-4053-86DF-5E204DA1AABA}">
      <dsp:nvSpPr>
        <dsp:cNvPr id="0" name=""/>
        <dsp:cNvSpPr/>
      </dsp:nvSpPr>
      <dsp:spPr>
        <a:xfrm>
          <a:off x="6841256" y="0"/>
          <a:ext cx="2119447" cy="373828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Online Non-clustered Columnstore create and rebuild</a:t>
          </a:r>
        </a:p>
      </dsp:txBody>
      <dsp:txXfrm>
        <a:off x="6841256" y="0"/>
        <a:ext cx="2119447" cy="1121484"/>
      </dsp:txXfrm>
    </dsp:sp>
    <dsp:sp modelId="{11E2E5ED-2C16-425D-9DAF-1F80DFBA6D7C}">
      <dsp:nvSpPr>
        <dsp:cNvPr id="0" name=""/>
        <dsp:cNvSpPr/>
      </dsp:nvSpPr>
      <dsp:spPr>
        <a:xfrm>
          <a:off x="7053201" y="1121484"/>
          <a:ext cx="1695557" cy="2429883"/>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SQL Server 2017</a:t>
          </a:r>
        </a:p>
      </dsp:txBody>
      <dsp:txXfrm>
        <a:off x="7102862" y="1171145"/>
        <a:ext cx="1596235" cy="2330561"/>
      </dsp:txXfrm>
    </dsp:sp>
    <dsp:sp modelId="{12CE0E28-AFA6-4EC6-9E45-E0FE3F2BE3AE}">
      <dsp:nvSpPr>
        <dsp:cNvPr id="0" name=""/>
        <dsp:cNvSpPr/>
      </dsp:nvSpPr>
      <dsp:spPr>
        <a:xfrm>
          <a:off x="9119662" y="0"/>
          <a:ext cx="2119447" cy="373828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Online Clustered Columnstore create and rebuild</a:t>
          </a:r>
        </a:p>
      </dsp:txBody>
      <dsp:txXfrm>
        <a:off x="9119662" y="0"/>
        <a:ext cx="2119447" cy="1121484"/>
      </dsp:txXfrm>
    </dsp:sp>
    <dsp:sp modelId="{2B4E2960-875A-4C12-9498-2D9822073D9F}">
      <dsp:nvSpPr>
        <dsp:cNvPr id="0" name=""/>
        <dsp:cNvSpPr/>
      </dsp:nvSpPr>
      <dsp:spPr>
        <a:xfrm>
          <a:off x="9331606" y="1121484"/>
          <a:ext cx="1695557" cy="2429883"/>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SQL Server 2019</a:t>
          </a:r>
        </a:p>
      </dsp:txBody>
      <dsp:txXfrm>
        <a:off x="9381267" y="1171145"/>
        <a:ext cx="1596235" cy="233056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42C0297-7972-44A3-91D9-677BBE6965B8}">
      <dsp:nvSpPr>
        <dsp:cNvPr id="0" name=""/>
        <dsp:cNvSpPr/>
      </dsp:nvSpPr>
      <dsp:spPr>
        <a:xfrm>
          <a:off x="0" y="139202"/>
          <a:ext cx="2190376" cy="1314225"/>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Parallel redo and indirect checkpoint help</a:t>
          </a:r>
        </a:p>
      </dsp:txBody>
      <dsp:txXfrm>
        <a:off x="0" y="139202"/>
        <a:ext cx="2190376" cy="1314225"/>
      </dsp:txXfrm>
    </dsp:sp>
    <dsp:sp modelId="{3F567382-DF82-401B-BD2B-3094BE6E1D3E}">
      <dsp:nvSpPr>
        <dsp:cNvPr id="0" name=""/>
        <dsp:cNvSpPr/>
      </dsp:nvSpPr>
      <dsp:spPr>
        <a:xfrm>
          <a:off x="0" y="1672465"/>
          <a:ext cx="2190376" cy="1314225"/>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Undo dependent on oldest active transaction</a:t>
          </a:r>
        </a:p>
      </dsp:txBody>
      <dsp:txXfrm>
        <a:off x="0" y="1672465"/>
        <a:ext cx="2190376" cy="1314225"/>
      </dsp:txXfrm>
    </dsp:sp>
    <dsp:sp modelId="{4144D6A6-656B-4191-84EC-795DAAC0A419}">
      <dsp:nvSpPr>
        <dsp:cNvPr id="0" name=""/>
        <dsp:cNvSpPr/>
      </dsp:nvSpPr>
      <dsp:spPr>
        <a:xfrm>
          <a:off x="0" y="3205728"/>
          <a:ext cx="2190376" cy="1314225"/>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Long” recovery usually due to long undo</a:t>
          </a:r>
        </a:p>
      </dsp:txBody>
      <dsp:txXfrm>
        <a:off x="0" y="3205728"/>
        <a:ext cx="2190376" cy="1314225"/>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B184BF-9D04-49B0-89F1-E7B252FF6E2B}">
      <dsp:nvSpPr>
        <dsp:cNvPr id="0" name=""/>
        <dsp:cNvSpPr/>
      </dsp:nvSpPr>
      <dsp:spPr>
        <a:xfrm>
          <a:off x="254744" y="763"/>
          <a:ext cx="1851217" cy="111073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Persisted Version Store</a:t>
          </a:r>
        </a:p>
      </dsp:txBody>
      <dsp:txXfrm>
        <a:off x="254744" y="763"/>
        <a:ext cx="1851217" cy="1110730"/>
      </dsp:txXfrm>
    </dsp:sp>
    <dsp:sp modelId="{9ED8D298-C79D-4AF2-9347-1CD084771BD1}">
      <dsp:nvSpPr>
        <dsp:cNvPr id="0" name=""/>
        <dsp:cNvSpPr/>
      </dsp:nvSpPr>
      <dsp:spPr>
        <a:xfrm>
          <a:off x="254744" y="1296615"/>
          <a:ext cx="1851217" cy="111073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Logical Revert</a:t>
          </a:r>
        </a:p>
      </dsp:txBody>
      <dsp:txXfrm>
        <a:off x="254744" y="1296615"/>
        <a:ext cx="1851217" cy="1110730"/>
      </dsp:txXfrm>
    </dsp:sp>
    <dsp:sp modelId="{B3AB1A72-1047-4A58-81A4-447D62BE6B7C}">
      <dsp:nvSpPr>
        <dsp:cNvPr id="0" name=""/>
        <dsp:cNvSpPr/>
      </dsp:nvSpPr>
      <dsp:spPr>
        <a:xfrm>
          <a:off x="254744" y="2592468"/>
          <a:ext cx="1851217" cy="111073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sLog</a:t>
          </a:r>
        </a:p>
      </dsp:txBody>
      <dsp:txXfrm>
        <a:off x="254744" y="2592468"/>
        <a:ext cx="1851217" cy="1110730"/>
      </dsp:txXfrm>
    </dsp:sp>
    <dsp:sp modelId="{5B04727B-952E-4F49-BA24-4E9249308685}">
      <dsp:nvSpPr>
        <dsp:cNvPr id="0" name=""/>
        <dsp:cNvSpPr/>
      </dsp:nvSpPr>
      <dsp:spPr>
        <a:xfrm>
          <a:off x="254744" y="3888320"/>
          <a:ext cx="1851217" cy="111073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Cleaner</a:t>
          </a:r>
        </a:p>
      </dsp:txBody>
      <dsp:txXfrm>
        <a:off x="254744" y="3888320"/>
        <a:ext cx="1851217" cy="111073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C20FFF-23F7-42C3-8D81-883B955D1F83}">
      <dsp:nvSpPr>
        <dsp:cNvPr id="0" name=""/>
        <dsp:cNvSpPr/>
      </dsp:nvSpPr>
      <dsp:spPr>
        <a:xfrm>
          <a:off x="594414" y="2603"/>
          <a:ext cx="1987053" cy="1192232"/>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R, Python, or Java on the same computer but not in SQL process</a:t>
          </a:r>
        </a:p>
      </dsp:txBody>
      <dsp:txXfrm>
        <a:off x="594414" y="2603"/>
        <a:ext cx="1987053" cy="1192232"/>
      </dsp:txXfrm>
    </dsp:sp>
    <dsp:sp modelId="{910A122A-2929-44C4-853D-706CDE98E43F}">
      <dsp:nvSpPr>
        <dsp:cNvPr id="0" name=""/>
        <dsp:cNvSpPr/>
      </dsp:nvSpPr>
      <dsp:spPr>
        <a:xfrm>
          <a:off x="2780173" y="2603"/>
          <a:ext cx="1987053" cy="1192232"/>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Extend the T-SQL language</a:t>
          </a:r>
        </a:p>
      </dsp:txBody>
      <dsp:txXfrm>
        <a:off x="2780173" y="2603"/>
        <a:ext cx="1987053" cy="1192232"/>
      </dsp:txXfrm>
    </dsp:sp>
    <dsp:sp modelId="{6B9D86E9-EA09-48A2-9E14-A3A8914269F9}">
      <dsp:nvSpPr>
        <dsp:cNvPr id="0" name=""/>
        <dsp:cNvSpPr/>
      </dsp:nvSpPr>
      <dsp:spPr>
        <a:xfrm>
          <a:off x="594414" y="1393540"/>
          <a:ext cx="1987053" cy="1192232"/>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Machine Learning</a:t>
          </a:r>
        </a:p>
      </dsp:txBody>
      <dsp:txXfrm>
        <a:off x="594414" y="1393540"/>
        <a:ext cx="1987053" cy="1192232"/>
      </dsp:txXfrm>
    </dsp:sp>
    <dsp:sp modelId="{AFE9D508-A6C4-4E19-B94A-3FC7366EEEA8}">
      <dsp:nvSpPr>
        <dsp:cNvPr id="0" name=""/>
        <dsp:cNvSpPr/>
      </dsp:nvSpPr>
      <dsp:spPr>
        <a:xfrm>
          <a:off x="2780173" y="1393540"/>
          <a:ext cx="1987053" cy="1192232"/>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Compat across Windows and Linux</a:t>
          </a:r>
        </a:p>
      </dsp:txBody>
      <dsp:txXfrm>
        <a:off x="2780173" y="1393540"/>
        <a:ext cx="1987053" cy="1192232"/>
      </dsp:txXfrm>
    </dsp:sp>
    <dsp:sp modelId="{509E2887-E6A7-40B6-9D56-4583D773DD4B}">
      <dsp:nvSpPr>
        <dsp:cNvPr id="0" name=""/>
        <dsp:cNvSpPr/>
      </dsp:nvSpPr>
      <dsp:spPr>
        <a:xfrm>
          <a:off x="594414" y="2784478"/>
          <a:ext cx="1987053" cy="1192232"/>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Secure and isolated</a:t>
          </a:r>
        </a:p>
      </dsp:txBody>
      <dsp:txXfrm>
        <a:off x="594414" y="2784478"/>
        <a:ext cx="1987053" cy="1192232"/>
      </dsp:txXfrm>
    </dsp:sp>
    <dsp:sp modelId="{33B7DBE7-AE26-4AAD-85AE-0A1CF4D05DE2}">
      <dsp:nvSpPr>
        <dsp:cNvPr id="0" name=""/>
        <dsp:cNvSpPr/>
      </dsp:nvSpPr>
      <dsp:spPr>
        <a:xfrm>
          <a:off x="2780173" y="2784478"/>
          <a:ext cx="1987053" cy="1192232"/>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Resource governor enabled</a:t>
          </a:r>
        </a:p>
      </dsp:txBody>
      <dsp:txXfrm>
        <a:off x="2780173" y="2784478"/>
        <a:ext cx="1987053" cy="1192232"/>
      </dsp:txXfrm>
    </dsp:sp>
  </dsp:spTree>
</dsp:drawing>
</file>

<file path=ppt/diagrams/layout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5.xml><?xml version="1.0" encoding="utf-8"?>
<dgm:layoutDef xmlns:dgm="http://schemas.openxmlformats.org/drawingml/2006/diagram" xmlns:a="http://schemas.openxmlformats.org/drawingml/2006/main" uniqueId="urn:microsoft.com/office/officeart/2005/8/layout/hProcess7">
  <dgm:title val=""/>
  <dgm:desc val=""/>
  <dgm:catLst>
    <dgm:cat type="process" pri="21000"/>
    <dgm:cat type="list" pri="9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2" destOrd="0"/>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h" for="ch" forName="compositeNode" refType="h"/>
      <dgm:constr type="w" for="ch" forName="compositeNode" refType="w"/>
      <dgm:constr type="w" for="ch" forName="hSp" refType="w" refFor="ch" refForName="compositeNode" fact="-0.035"/>
      <dgm:constr type="w" for="des" forName="simulatedConn" refType="w" refFor="ch" refForName="compositeNode" fact="0.15"/>
      <dgm:constr type="h" for="des" forName="simulatedConn" refType="w" refFor="des" refForName="simulatedConn"/>
      <dgm:constr type="h" for="des" forName="vSp1" refType="w" refFor="ch" refForName="compositeNode" fact="0.8"/>
      <dgm:constr type="h" for="des" forName="vSp2" refType="w" refFor="ch" refForName="compositeNode" fact="0.07"/>
      <dgm:constr type="w" for="ch" forName="vProcSp" refType="w" refFor="des" refForName="simulatedConn" op="equ"/>
      <dgm:constr type="h" for="ch" forName="vProcSp" refType="h" refFor="ch" refForName="compositeNode" op="equ"/>
      <dgm:constr type="w" for="ch" forName="sibTrans" refType="w" refFor="ch" refForName="compositeNode" fact="-0.08"/>
      <dgm:constr type="primFontSz" for="des" forName="parentNode" op="equ"/>
      <dgm:constr type="primFontSz" for="des" forName="childNode" op="equ"/>
    </dgm:constrLst>
    <dgm:ruleLst/>
    <dgm:forEach name="Name4" axis="ch" ptType="node">
      <dgm:layoutNode name="compositeNode">
        <dgm:varLst>
          <dgm:bulletEnabled val="1"/>
        </dgm:varLst>
        <dgm:alg type="composite"/>
        <dgm:choose name="Name5">
          <dgm:if name="Name6" func="var" arg="dir" op="equ" val="norm">
            <dgm:constrLst>
              <dgm:constr type="h" refType="w" op="lte" fact="1.2"/>
              <dgm:constr type="w" for="ch" forName="bgRect" refType="w"/>
              <dgm:constr type="h" for="ch" forName="bgRect" refType="h"/>
              <dgm:constr type="t" for="ch" forName="bgRect"/>
              <dgm:constr type="l" for="ch" forName="bgRect"/>
              <dgm:constr type="w" for="ch" forName="parentNode" refType="w" refFor="ch" refForName="bgRect" fact="0.2"/>
              <dgm:constr type="h" for="ch" forName="parentNode" refType="h" fact="0.82"/>
              <dgm:constr type="t" for="ch" forName="parentNode"/>
              <dgm:constr type="l" for="ch" forName="parentNode"/>
              <dgm:constr type="r" for="ch" forName="childNode" refType="r" refFor="ch" refForName="bgRect" fact="0.945"/>
              <dgm:constr type="h" for="ch" forName="childNode" refType="h" refFor="ch" refForName="bgRect" op="equ"/>
              <dgm:constr type="t" for="ch" forName="childNode"/>
              <dgm:constr type="l" for="ch" forName="childNode" refType="r" refFor="ch" refForName="parentNode"/>
            </dgm:constrLst>
          </dgm:if>
          <dgm:else name="Name7">
            <dgm:constrLst>
              <dgm:constr type="h" refType="w" op="lte" fact="1.2"/>
              <dgm:constr type="w" for="ch" forName="bgRect" refType="w"/>
              <dgm:constr type="h" for="ch" forName="bgRect" refType="h"/>
              <dgm:constr type="t" for="ch" forName="bgRect"/>
              <dgm:constr type="r" for="ch" forName="bgRect" refType="w"/>
              <dgm:constr type="w" for="ch" forName="parentNode" refType="w" refFor="ch" refForName="bgRect" fact="0.2"/>
              <dgm:constr type="h" for="ch" forName="parentNode" refType="h" fact="0.82"/>
              <dgm:constr type="t" for="ch" forName="parentNode"/>
              <dgm:constr type="r" for="ch" forName="parentNode" refType="w"/>
              <dgm:constr type="h" for="ch" forName="childNode" refType="h" refFor="ch" refForName="bgRect"/>
              <dgm:constr type="t" for="ch" forName="childNode"/>
              <dgm:constr type="r" for="ch" forName="childNode" refType="l" refFor="ch" refForName="parentNode"/>
              <dgm:constr type="l" for="ch" forName="childNode" refType="w" refFor="ch" refForName="bgRect" fact="0.055"/>
            </dgm:constrLst>
          </dgm:else>
        </dgm:choose>
        <dgm:ruleLst>
          <dgm:rule type="w" for="ch" forName="childNode" val="NaN" fact="NaN" max="30"/>
        </dgm:ruleLst>
        <dgm:layoutNode name="bgRect" styleLbl="node1">
          <dgm:alg type="sp"/>
          <dgm:shape xmlns:r="http://schemas.openxmlformats.org/officeDocument/2006/relationships" type="roundRect" r:blip="" zOrderOff="-1">
            <dgm:adjLst>
              <dgm:adj idx="1" val="0.05"/>
            </dgm:adjLst>
          </dgm:shape>
          <dgm:presOf axis="self"/>
          <dgm:constrLst/>
          <dgm:ruleLst/>
        </dgm:layoutNode>
        <dgm:layoutNode name="parentNode" styleLbl="node1">
          <dgm:varLst>
            <dgm:chMax val="0"/>
            <dgm:bulletEnabled val="1"/>
          </dgm:varLst>
          <dgm:presOf axis="self"/>
          <dgm:choose name="Name8">
            <dgm:if name="Name9" func="var" arg="dir" op="equ" val="norm">
              <dgm:alg type="tx">
                <dgm:param type="autoTxRot" val="grav"/>
                <dgm:param type="txAnchorVert" val="t"/>
                <dgm:param type="parTxLTRAlign" val="r"/>
                <dgm:param type="parTxRTLAlign" val="r"/>
              </dgm:alg>
              <dgm:shape xmlns:r="http://schemas.openxmlformats.org/officeDocument/2006/relationships" rot="270" type="rect" r:blip="" hideGeom="1">
                <dgm:adjLst/>
              </dgm:shape>
              <dgm:constrLst>
                <dgm:constr type="primFontSz" val="65"/>
                <dgm:constr type="lMarg"/>
                <dgm:constr type="rMarg" refType="primFontSz" fact="0.35"/>
                <dgm:constr type="tMarg" refType="primFontSz" fact="0.27"/>
                <dgm:constr type="bMarg"/>
              </dgm:constrLst>
            </dgm:if>
            <dgm:else name="Name10">
              <dgm:alg type="tx">
                <dgm:param type="autoTxRot" val="grav"/>
                <dgm:param type="txAnchorVert" val="t"/>
                <dgm:param type="parTxLTRAlign" val="l"/>
                <dgm:param type="parTxRTLAlign" val="l"/>
              </dgm:alg>
              <dgm:shape xmlns:r="http://schemas.openxmlformats.org/officeDocument/2006/relationships" rot="90" type="rect" r:blip="" hideGeom="1">
                <dgm:adjLst/>
              </dgm:shape>
              <dgm:constrLst>
                <dgm:constr type="primFontSz" val="65"/>
                <dgm:constr type="lMarg" refType="primFontSz" fact="0.35"/>
                <dgm:constr type="rMarg"/>
                <dgm:constr type="tMarg" refType="primFontSz" fact="0.27"/>
                <dgm:constr type="bMarg"/>
              </dgm:constrLst>
            </dgm:else>
          </dgm:choose>
          <dgm:ruleLst>
            <dgm:rule type="primFontSz" val="5" fact="NaN" max="NaN"/>
          </dgm:ruleLst>
        </dgm:layoutNode>
        <dgm:choose name="Name11">
          <dgm:if name="Name12" axis="ch" ptType="node" func="cnt" op="gte" val="1">
            <dgm:layoutNode name="childNode" styleLbl="node1" moveWith="bgRect">
              <dgm:varLst>
                <dgm:bulletEnabled val="1"/>
              </dgm:varLst>
              <dgm:alg type="tx">
                <dgm:param type="parTxLTRAlign" val="l"/>
                <dgm:param type="parTxRTLAlign" val="r"/>
                <dgm:param type="txAnchorVert" val="t"/>
              </dgm:alg>
              <dgm:shape xmlns:r="http://schemas.openxmlformats.org/officeDocument/2006/relationships" type="rect" r:blip="" hideGeom="1">
                <dgm:adjLst/>
              </dgm:shape>
              <dgm:presOf axis="des" ptType="node"/>
              <dgm:constrLst>
                <dgm:constr type="primFontSz" val="65"/>
                <dgm:constr type="lMarg"/>
                <dgm:constr type="bMarg"/>
                <dgm:constr type="tMarg" refType="primFontSz" fact="0.27"/>
                <dgm:constr type="rMarg"/>
              </dgm:constrLst>
              <dgm:ruleLst>
                <dgm:rule type="primFontSz" val="5" fact="NaN" max="NaN"/>
              </dgm:ruleLst>
            </dgm:layoutNode>
          </dgm:if>
          <dgm:else name="Name13"/>
        </dgm:choose>
      </dgm:layoutNode>
      <dgm:forEach name="Name14" axis="followSib" ptType="sibTrans" cnt="1">
        <dgm:layoutNode name="hSp">
          <dgm:alg type="sp"/>
          <dgm:shape xmlns:r="http://schemas.openxmlformats.org/officeDocument/2006/relationships" r:blip="">
            <dgm:adjLst/>
          </dgm:shape>
          <dgm:presOf/>
          <dgm:constrLst/>
          <dgm:ruleLst/>
        </dgm:layoutNode>
        <dgm:layoutNode name="vProcSp" moveWith="bgRect">
          <dgm:alg type="lin">
            <dgm:param type="linDir" val="fromT"/>
          </dgm:alg>
          <dgm:shape xmlns:r="http://schemas.openxmlformats.org/officeDocument/2006/relationships" r:blip="">
            <dgm:adjLst/>
          </dgm:shape>
          <dgm:presOf/>
          <dgm:constrLst>
            <dgm:constr type="w" for="ch" forName="vSp1" refType="w"/>
            <dgm:constr type="w" for="ch" forName="simulatedConn" refType="w"/>
            <dgm:constr type="w" for="ch" forName="vSp2" refType="w"/>
          </dgm:constrLst>
          <dgm:ruleLst/>
          <dgm:layoutNode name="vSp1">
            <dgm:alg type="sp"/>
            <dgm:shape xmlns:r="http://schemas.openxmlformats.org/officeDocument/2006/relationships" r:blip="">
              <dgm:adjLst/>
            </dgm:shape>
            <dgm:presOf/>
            <dgm:constrLst/>
            <dgm:ruleLst/>
          </dgm:layoutNode>
          <dgm:layoutNode name="simulatedConn" styleLbl="solidFgAcc1">
            <dgm:alg type="sp"/>
            <dgm:choose name="Name15">
              <dgm:if name="Name16" func="var" arg="dir" op="equ" val="norm">
                <dgm:shape xmlns:r="http://schemas.openxmlformats.org/officeDocument/2006/relationships" rot="90" type="flowChartExtract" r:blip="">
                  <dgm:adjLst/>
                </dgm:shape>
              </dgm:if>
              <dgm:else name="Name17">
                <dgm:shape xmlns:r="http://schemas.openxmlformats.org/officeDocument/2006/relationships" rot="-90" type="flowChartExtract" r:blip="">
                  <dgm:adjLst/>
                </dgm:shape>
              </dgm:else>
            </dgm:choose>
            <dgm:presOf/>
            <dgm:constrLst/>
            <dgm:ruleLst/>
          </dgm:layoutNode>
          <dgm:layoutNode name="vSp2">
            <dgm:alg type="sp"/>
            <dgm:shape xmlns:r="http://schemas.openxmlformats.org/officeDocument/2006/relationships" r:blip="">
              <dgm:adjLst/>
            </dgm:shape>
            <dgm:presOf/>
            <dgm:constrLst/>
            <dgm:ruleLst/>
          </dgm:layoutNode>
        </dgm:layoutNode>
        <dgm:layoutNode name="sibTrans">
          <dgm:alg type="sp"/>
          <dgm:shape xmlns:r="http://schemas.openxmlformats.org/officeDocument/2006/relationships" r:blip="">
            <dgm:adjLst/>
          </dgm:shape>
          <dgm:presOf/>
          <dgm:constrLst/>
          <dgm:ruleLst/>
        </dgm:layoutNode>
      </dgm:forEach>
    </dgm:forEach>
  </dgm:layoutNode>
</dgm:layoutDef>
</file>

<file path=ppt/diagrams/layout1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9.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0.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1.xml><?xml version="1.0" encoding="utf-8"?>
<dgm:layoutDef xmlns:dgm="http://schemas.openxmlformats.org/drawingml/2006/diagram" xmlns:a="http://schemas.openxmlformats.org/drawingml/2006/main" uniqueId="urn:microsoft.com/office/officeart/2008/layout/PictureAccentList">
  <dgm:title val=""/>
  <dgm:desc val=""/>
  <dgm:catLst>
    <dgm:cat type="picture" pri="14000"/>
    <dgm:cat type="list" pri="14500"/>
  </dgm:catLst>
  <dgm:sampData>
    <dgm:dataModel>
      <dgm:ptLst>
        <dgm:pt modelId="0" type="doc"/>
        <dgm:pt modelId="1">
          <dgm:prSet phldr="1"/>
        </dgm:pt>
        <dgm:pt modelId="11">
          <dgm:prSet phldr="1"/>
        </dgm:pt>
        <dgm:pt modelId="12">
          <dgm:prSet phldr="1"/>
        </dgm:pt>
      </dgm:ptLst>
      <dgm:cxnLst>
        <dgm:cxn modelId="4" srcId="0" destId="1" srcOrd="0" destOrd="0"/>
        <dgm:cxn modelId="5" srcId="1" destId="11" srcOrd="0" destOrd="0"/>
        <dgm:cxn modelId="6" srcId="1" destId="12" srcOrd="1" destOrd="0"/>
      </dgm:cxnLst>
      <dgm:bg/>
      <dgm:whole/>
    </dgm:dataModel>
  </dgm:sampData>
  <dgm:styleData>
    <dgm:dataModel>
      <dgm:ptLst>
        <dgm:pt modelId="0" type="doc"/>
        <dgm:pt modelId="1"/>
        <dgm:pt modelId="11"/>
        <dgm:pt modelId="12"/>
        <dgm:pt modelId="13"/>
      </dgm:ptLst>
      <dgm:cxnLst>
        <dgm:cxn modelId="4" srcId="0" destId="1" srcOrd="0" destOrd="0"/>
        <dgm:cxn modelId="5" srcId="1" destId="11" srcOrd="0" destOrd="0"/>
        <dgm:cxn modelId="6" srcId="1" destId="12" srcOrd="0" destOrd="0"/>
        <dgm:cxn modelId="14" srcId="1" destId="13" srcOrd="0" destOrd="0"/>
      </dgm:cxnLst>
      <dgm:bg/>
      <dgm:whole/>
    </dgm:dataModel>
  </dgm:styleData>
  <dgm:clrData>
    <dgm:dataModel>
      <dgm:ptLst>
        <dgm:pt modelId="0" type="doc"/>
        <dgm:pt modelId="1"/>
        <dgm:pt modelId="11"/>
        <dgm:pt modelId="12"/>
        <dgm:pt modelId="13"/>
      </dgm:ptLst>
      <dgm:cxnLst>
        <dgm:cxn modelId="4" srcId="0" destId="1" srcOrd="0" destOrd="0"/>
        <dgm:cxn modelId="5" srcId="1" destId="11" srcOrd="0" destOrd="0"/>
        <dgm:cxn modelId="6" srcId="1" destId="12" srcOrd="0" destOrd="0"/>
        <dgm:cxn modelId="14" srcId="1" destId="13" srcOrd="0" destOrd="0"/>
      </dgm:cxnLst>
      <dgm:bg/>
      <dgm:whole/>
    </dgm:dataModel>
  </dgm:clrData>
  <dgm:layoutNode name="layout">
    <dgm:varLst>
      <dgm:chMax/>
      <dgm:chPref/>
      <dgm:dir/>
      <dgm:animOne val="branch"/>
      <dgm:animLvl val="lvl"/>
      <dgm:resizeHandles/>
    </dgm:varLst>
    <dgm:choose name="Name0">
      <dgm:if name="Name1" func="var" arg="dir" op="equ" val="norm">
        <dgm:alg type="hierChild">
          <dgm:param type="linDir" val="fromL"/>
        </dgm:alg>
      </dgm:if>
      <dgm:else name="Name2">
        <dgm:alg type="hierChild">
          <dgm:param type="linDir" val="fromL"/>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primFontSz" for="des" forName="childText" refType="primFontSz" refFor="des" refForName="rootText" op="lte"/>
      <dgm:constr type="w" for="des" forName="rootComposite" refType="w" fact="4"/>
      <dgm:constr type="h" for="des" forName="rootComposite" refType="h"/>
      <dgm:constr type="w" for="des" forName="childComposite" refType="w" refFor="des" refForName="rootComposite"/>
      <dgm:constr type="h" for="des" forName="childComposite" refType="h" refFor="des" refForName="rootComposite"/>
      <dgm:constr type="sibSp" refType="w" refFor="des" refForName="rootComposite" fact="0.1"/>
      <dgm:constr type="sibSp" for="des" forName="childShape" refType="h" refFor="des" refForName="rootComposite" fact="0.12"/>
      <dgm:constr type="sp" for="des" forName="root" refType="h" refFor="des" refForName="rootComposite" fact="0.18"/>
    </dgm:constrLst>
    <dgm:ruleLst/>
    <dgm:forEach name="Name3" axis="ch">
      <dgm:forEach name="Name4" axis="self" ptType="node" cnt="1">
        <dgm:layoutNode name="root">
          <dgm:varLst>
            <dgm:chMax/>
            <dgm:chPref val="4"/>
          </dgm:varLst>
          <dgm:alg type="hierRoot"/>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onstrLst>
              <dgm:constr type="l" for="ch" forName="rootText"/>
              <dgm:constr type="t" for="ch" forName="rootText"/>
              <dgm:constr type="w" for="ch" forName="rootText" refType="w"/>
              <dgm:constr type="h" for="ch" forName="rootText" refType="h"/>
            </dgm:constrLst>
            <dgm:ruleLst/>
            <dgm:layoutNode name="rootText" styleLbl="node0">
              <dgm:varLst>
                <dgm:chMax/>
                <dgm:chPref val="4"/>
              </dgm:varLst>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5" axis="ch">
              <dgm:forEach name="Name6" axis="self" ptType="node">
                <dgm:layoutNode name="childComposite">
                  <dgm:varLst>
                    <dgm:chMax val="0"/>
                    <dgm:chPref val="0"/>
                  </dgm:varLst>
                  <dgm:alg type="composite"/>
                  <dgm:shape xmlns:r="http://schemas.openxmlformats.org/officeDocument/2006/relationships" r:blip="">
                    <dgm:adjLst/>
                  </dgm:shape>
                  <dgm:presOf/>
                  <dgm:choose name="Name7">
                    <dgm:if name="Name8" func="var" arg="dir" op="equ" val="norm">
                      <dgm:constrLst>
                        <dgm:constr type="w" for="ch" forName="Image" refType="h"/>
                        <dgm:constr type="h" for="ch" forName="Image" refType="h"/>
                        <dgm:constr type="l" for="ch" forName="Image"/>
                        <dgm:constr type="t" for="ch" forName="Image"/>
                        <dgm:constr type="h" for="ch" forName="childText" refType="h"/>
                        <dgm:constr type="l" for="ch" forName="childText" refType="w" refFor="ch" refForName="Image" fact="1.06"/>
                        <dgm:constr type="t" for="ch" forName="childText"/>
                      </dgm:constrLst>
                    </dgm:if>
                    <dgm:else name="Name9">
                      <dgm:constrLst>
                        <dgm:constr type="w" for="ch" forName="Image" refType="h"/>
                        <dgm:constr type="h" for="ch" forName="Image" refType="h"/>
                        <dgm:constr type="r" for="ch" forName="Image" refType="w"/>
                        <dgm:constr type="t" for="ch" forName="Image"/>
                        <dgm:constr type="h" for="ch" forName="childText" refType="h"/>
                        <dgm:constr type="t" for="ch" forName="childText"/>
                        <dgm:constr type="wOff" for="ch" forName="childText" refType="w" refFor="ch" refForName="Image" fact="-1.06"/>
                      </dgm:constrLst>
                    </dgm:else>
                  </dgm:choose>
                  <dgm:ruleLst/>
                  <dgm:layoutNode name="Image" styleLbl="node1">
                    <dgm:alg type="sp"/>
                    <dgm:shape xmlns:r="http://schemas.openxmlformats.org/officeDocument/2006/relationships" type="roundRect" r:blip="" blipPhldr="1">
                      <dgm:adjLst>
                        <dgm:adj idx="1" val="0.1667"/>
                      </dgm:adjLst>
                    </dgm:shape>
                    <dgm:presOf/>
                  </dgm:layoutNode>
                  <dgm:layoutNode name="childText" styleLbl="lnNode1">
                    <dgm:varLst>
                      <dgm:chMax val="0"/>
                      <dgm:chPref val="0"/>
                      <dgm:bulletEnabled val="1"/>
                    </dgm:varLst>
                    <dgm:alg type="tx"/>
                    <dgm:shape xmlns:r="http://schemas.openxmlformats.org/officeDocument/2006/relationships" type="roundRect" r:blip="">
                      <dgm:adjLst>
                        <dgm:adj idx="1" val="0.1667"/>
                      </dgm:adjLst>
                    </dgm:shape>
                    <dgm:presOf axis="self desOrSelf" ptType="node node" st="1 1" cnt="1 0"/>
                    <dgm:ruleLst>
                      <dgm:rule type="primFontSz" val="5" fact="NaN" max="NaN"/>
                    </dgm:ruleLst>
                  </dgm:layoutNode>
                </dgm:layoutNode>
              </dgm:forEach>
            </dgm:forEach>
          </dgm:layoutNode>
        </dgm:layoutNode>
      </dgm:forEach>
    </dgm:forEach>
  </dgm:layoutNode>
</dgm:layoutDef>
</file>

<file path=ppt/diagrams/layout22.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2/21/2019 7:45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2/21/2019 3:53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6CE63F-9E7F-4C04-9D0D-FCA25A8E9E86}" type="datetime8">
              <a:rPr lang="en-US" smtClean="0"/>
              <a:t>2/21/2019 3:5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20810085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Automatic Tuning requires Query Store and works like this</a:t>
            </a:r>
          </a:p>
          <a:p>
            <a:endParaRPr lang="en-US" sz="900" dirty="0"/>
          </a:p>
          <a:p>
            <a:pPr marL="228600" indent="-228600">
              <a:buAutoNum type="arabicParenR"/>
            </a:pPr>
            <a:r>
              <a:rPr lang="en-US" sz="900" dirty="0"/>
              <a:t>By default we will detect query performance regressions when we see a plan change and avg CPU of the query has dramatically regressed from history in the Query Store. We give you recommendations and a method to resolve it</a:t>
            </a:r>
          </a:p>
          <a:p>
            <a:pPr marL="228600" indent="-228600">
              <a:buAutoNum type="arabicParenR"/>
            </a:pPr>
            <a:r>
              <a:rPr lang="en-US" sz="900" dirty="0"/>
              <a:t>If you enable automatic tuning, we will detect and automatically fix the problem by reverting back to plan when performance was good. I called this “Last Known Good”.</a:t>
            </a:r>
          </a:p>
          <a:p>
            <a:endParaRPr lang="en-US" sz="900" dirty="0"/>
          </a:p>
          <a:p>
            <a:r>
              <a:rPr lang="en-US" sz="900" dirty="0"/>
              <a:t>https://blogs.msdn.microsoft.com/sqlserverstorageengine/2017/05/17/automatic-plan-correction-in-sql-server-2017/</a:t>
            </a:r>
          </a:p>
          <a:p>
            <a:r>
              <a:rPr lang="en-US" sz="900" dirty="0"/>
              <a:t>https://docs.microsoft.com/en-us/sql/relational-databases/automatic-tuning/automatic-tuning</a:t>
            </a:r>
          </a:p>
          <a:p>
            <a:endParaRPr lang="en-US" sz="90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6CE63F-9E7F-4C04-9D0D-FCA25A8E9E86}" type="datetime8">
              <a:rPr lang="en-US" smtClean="0"/>
              <a:t>2/21/2019 3:5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9716576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demos as documented at https://github.com/Microsoft/sqlworkshops/blob/master/ModernizeYourDatabases2019/ModernizeSQL2019/02-IntelligentPerformance.md</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2/23/2019 1:5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21661492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2/21/2019 3:5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30607137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1/2019 3:53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40633176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demos as documented at https://github.com/Microsoft/sqlworkshops/blob/master/ModernizeYourDatabases2019/ModernizeSQL2019/02-IntelligentPerformance.md</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2/24/2019 9:5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8248713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demos as documented at https://github.com/Microsoft/sqlworkshops/blob/master/ModernizeYourDatabases2019/ModernizeSQL2019/02-IntelligentPerformance.md</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2/24/2019 9:5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34571067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mit takes over</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2/21/2019 3:5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40670076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1/2019 3:53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4999224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demos as documented at https://github.com/Microsoft/sqlworkshops/blob/master/ModernizeYourDatabases2019/ModernizeSQL2019/03-Security.md</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2/23/2019 1:5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327757064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2/21/2019 3:5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39928991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882" kern="1200" dirty="0">
                <a:solidFill>
                  <a:schemeClr val="tx1"/>
                </a:solidFill>
                <a:effectLst/>
                <a:latin typeface="Segoe UI Light" pitchFamily="34" charset="0"/>
                <a:ea typeface="+mn-ea"/>
                <a:cs typeface="+mn-cs"/>
              </a:rPr>
              <a:t>Entire day is 9am to 5pm</a:t>
            </a:r>
          </a:p>
          <a:p>
            <a:endParaRPr lang="en-GB" sz="882" kern="1200" dirty="0">
              <a:solidFill>
                <a:schemeClr val="tx1"/>
              </a:solidFill>
              <a:effectLst/>
              <a:latin typeface="Segoe UI Light" pitchFamily="34" charset="0"/>
              <a:ea typeface="+mn-ea"/>
              <a:cs typeface="+mn-cs"/>
            </a:endParaRPr>
          </a:p>
          <a:p>
            <a:r>
              <a:rPr lang="en-GB" sz="882" kern="1200" dirty="0">
                <a:solidFill>
                  <a:schemeClr val="tx1"/>
                </a:solidFill>
                <a:effectLst/>
                <a:latin typeface="Segoe UI Light" pitchFamily="34" charset="0"/>
                <a:ea typeface="+mn-ea"/>
                <a:cs typeface="+mn-cs"/>
              </a:rPr>
              <a:t>So 9-10:30am 1.5 hours</a:t>
            </a:r>
          </a:p>
          <a:p>
            <a:r>
              <a:rPr lang="en-GB" sz="882" kern="1200" dirty="0">
                <a:solidFill>
                  <a:schemeClr val="tx1"/>
                </a:solidFill>
                <a:effectLst/>
                <a:latin typeface="Segoe UI Light" pitchFamily="34" charset="0"/>
                <a:ea typeface="+mn-ea"/>
                <a:cs typeface="+mn-cs"/>
              </a:rPr>
              <a:t>11am – 12:30pm 1.5 hours</a:t>
            </a:r>
          </a:p>
          <a:p>
            <a:r>
              <a:rPr lang="en-GB" sz="882" kern="1200" dirty="0">
                <a:solidFill>
                  <a:schemeClr val="tx1"/>
                </a:solidFill>
                <a:effectLst/>
                <a:latin typeface="Segoe UI Light" pitchFamily="34" charset="0"/>
                <a:ea typeface="+mn-ea"/>
                <a:cs typeface="+mn-cs"/>
              </a:rPr>
              <a:t>1:30pm – 3pm 1.5 hours</a:t>
            </a:r>
          </a:p>
          <a:p>
            <a:r>
              <a:rPr lang="en-GB" sz="882" kern="1200" dirty="0">
                <a:solidFill>
                  <a:schemeClr val="tx1"/>
                </a:solidFill>
                <a:effectLst/>
                <a:latin typeface="Segoe UI Light" pitchFamily="34" charset="0"/>
                <a:ea typeface="+mn-ea"/>
                <a:cs typeface="+mn-cs"/>
              </a:rPr>
              <a:t>3:30pm – 5pm 1.5 hours</a:t>
            </a:r>
          </a:p>
          <a:p>
            <a:endParaRPr lang="en-GB" sz="882" kern="1200" dirty="0">
              <a:solidFill>
                <a:schemeClr val="tx1"/>
              </a:solidFill>
              <a:effectLst/>
              <a:latin typeface="Segoe UI Light" pitchFamily="34" charset="0"/>
              <a:ea typeface="+mn-ea"/>
              <a:cs typeface="+mn-cs"/>
            </a:endParaRPr>
          </a:p>
          <a:p>
            <a:r>
              <a:rPr lang="en-GB" sz="882" kern="1200" dirty="0">
                <a:solidFill>
                  <a:schemeClr val="tx1"/>
                </a:solidFill>
                <a:effectLst/>
                <a:latin typeface="Segoe UI Light" pitchFamily="34" charset="0"/>
                <a:ea typeface="+mn-ea"/>
                <a:cs typeface="+mn-cs"/>
              </a:rPr>
              <a:t>Breaks with snacks are from 10.30am until 11am, lunch is from 12.30 to 1.30pm and afternoon break with snacks is 3pm to 3.30pm</a:t>
            </a:r>
          </a:p>
          <a:p>
            <a:endParaRPr lang="en-GB" sz="882" kern="1200" dirty="0">
              <a:solidFill>
                <a:schemeClr val="tx1"/>
              </a:solidFill>
              <a:effectLst/>
              <a:latin typeface="Segoe UI Light" pitchFamily="34" charset="0"/>
              <a:ea typeface="+mn-ea"/>
              <a:cs typeface="+mn-cs"/>
            </a:endParaRPr>
          </a:p>
          <a:p>
            <a:r>
              <a:rPr lang="en-GB" sz="882" kern="1200" dirty="0">
                <a:solidFill>
                  <a:schemeClr val="tx1"/>
                </a:solidFill>
                <a:effectLst/>
                <a:latin typeface="Segoe UI Light" pitchFamily="34" charset="0"/>
                <a:ea typeface="+mn-ea"/>
                <a:cs typeface="+mn-cs"/>
              </a:rPr>
              <a:t>Intro 10 mins</a:t>
            </a:r>
          </a:p>
          <a:p>
            <a:r>
              <a:rPr lang="en-GB" sz="882" kern="1200" dirty="0">
                <a:solidFill>
                  <a:schemeClr val="tx1"/>
                </a:solidFill>
                <a:effectLst/>
                <a:latin typeface="Segoe UI Light" pitchFamily="34" charset="0"/>
                <a:ea typeface="+mn-ea"/>
                <a:cs typeface="+mn-cs"/>
              </a:rPr>
              <a:t>Module1 15 mins</a:t>
            </a:r>
          </a:p>
          <a:p>
            <a:r>
              <a:rPr lang="en-GB" sz="882" kern="1200" dirty="0">
                <a:solidFill>
                  <a:schemeClr val="tx1"/>
                </a:solidFill>
                <a:effectLst/>
                <a:latin typeface="Segoe UI Light" pitchFamily="34" charset="0"/>
                <a:ea typeface="+mn-ea"/>
                <a:cs typeface="+mn-cs"/>
              </a:rPr>
              <a:t>Module2 45 mins</a:t>
            </a:r>
          </a:p>
          <a:p>
            <a:r>
              <a:rPr lang="en-GB" sz="882" kern="1200" dirty="0">
                <a:solidFill>
                  <a:schemeClr val="tx1"/>
                </a:solidFill>
                <a:effectLst/>
                <a:latin typeface="Segoe UI Light" pitchFamily="34" charset="0"/>
                <a:ea typeface="+mn-ea"/>
                <a:cs typeface="+mn-cs"/>
              </a:rPr>
              <a:t>Module3 20 mins</a:t>
            </a:r>
          </a:p>
          <a:p>
            <a:endParaRPr lang="en-GB" sz="882" kern="1200" dirty="0">
              <a:solidFill>
                <a:schemeClr val="tx1"/>
              </a:solidFill>
              <a:effectLst/>
              <a:latin typeface="Segoe UI Light" pitchFamily="34" charset="0"/>
              <a:ea typeface="+mn-ea"/>
              <a:cs typeface="+mn-cs"/>
            </a:endParaRPr>
          </a:p>
          <a:p>
            <a:r>
              <a:rPr lang="en-GB" sz="882" kern="1200" dirty="0">
                <a:solidFill>
                  <a:schemeClr val="tx1"/>
                </a:solidFill>
                <a:effectLst/>
                <a:latin typeface="Segoe UI Light" pitchFamily="34" charset="0"/>
                <a:ea typeface="+mn-ea"/>
                <a:cs typeface="+mn-cs"/>
              </a:rPr>
              <a:t>Break</a:t>
            </a:r>
          </a:p>
          <a:p>
            <a:endParaRPr lang="en-GB" sz="882" kern="1200" dirty="0">
              <a:solidFill>
                <a:schemeClr val="tx1"/>
              </a:solidFill>
              <a:effectLst/>
              <a:latin typeface="Segoe UI Light" pitchFamily="34" charset="0"/>
              <a:ea typeface="+mn-ea"/>
              <a:cs typeface="+mn-cs"/>
            </a:endParaRPr>
          </a:p>
          <a:p>
            <a:r>
              <a:rPr lang="en-GB" sz="882" kern="1200" dirty="0">
                <a:solidFill>
                  <a:schemeClr val="tx1"/>
                </a:solidFill>
                <a:effectLst/>
                <a:latin typeface="Segoe UI Light" pitchFamily="34" charset="0"/>
                <a:ea typeface="+mn-ea"/>
                <a:cs typeface="+mn-cs"/>
              </a:rPr>
              <a:t>Module4 45 mins</a:t>
            </a:r>
          </a:p>
          <a:p>
            <a:r>
              <a:rPr lang="en-GB" sz="882" kern="1200" dirty="0">
                <a:solidFill>
                  <a:schemeClr val="tx1"/>
                </a:solidFill>
                <a:effectLst/>
                <a:latin typeface="Segoe UI Light" pitchFamily="34" charset="0"/>
                <a:ea typeface="+mn-ea"/>
                <a:cs typeface="+mn-cs"/>
              </a:rPr>
              <a:t>Module5 25 mins</a:t>
            </a:r>
          </a:p>
          <a:p>
            <a:r>
              <a:rPr lang="en-GB" sz="882" kern="1200" dirty="0">
                <a:solidFill>
                  <a:schemeClr val="tx1"/>
                </a:solidFill>
                <a:effectLst/>
                <a:latin typeface="Segoe UI Light" pitchFamily="34" charset="0"/>
                <a:ea typeface="+mn-ea"/>
                <a:cs typeface="+mn-cs"/>
              </a:rPr>
              <a:t>Module6 20 mins</a:t>
            </a:r>
          </a:p>
          <a:p>
            <a:endParaRPr lang="en-GB" sz="882" kern="1200" dirty="0">
              <a:solidFill>
                <a:schemeClr val="tx1"/>
              </a:solidFill>
              <a:effectLst/>
              <a:latin typeface="Segoe UI Light" pitchFamily="34" charset="0"/>
              <a:ea typeface="+mn-ea"/>
              <a:cs typeface="+mn-cs"/>
            </a:endParaRPr>
          </a:p>
          <a:p>
            <a:r>
              <a:rPr lang="en-GB" sz="882" kern="1200" dirty="0">
                <a:solidFill>
                  <a:schemeClr val="tx1"/>
                </a:solidFill>
                <a:effectLst/>
                <a:latin typeface="Segoe UI Light" pitchFamily="34" charset="0"/>
                <a:ea typeface="+mn-ea"/>
                <a:cs typeface="+mn-cs"/>
              </a:rPr>
              <a:t>Lunch</a:t>
            </a:r>
          </a:p>
          <a:p>
            <a:endParaRPr lang="en-GB" sz="882" kern="1200" dirty="0">
              <a:solidFill>
                <a:schemeClr val="tx1"/>
              </a:solidFill>
              <a:effectLst/>
              <a:latin typeface="Segoe UI Light" pitchFamily="34" charset="0"/>
              <a:ea typeface="+mn-ea"/>
              <a:cs typeface="+mn-cs"/>
            </a:endParaRPr>
          </a:p>
          <a:p>
            <a:r>
              <a:rPr lang="en-GB" sz="882" kern="1200" dirty="0">
                <a:solidFill>
                  <a:schemeClr val="tx1"/>
                </a:solidFill>
                <a:effectLst/>
                <a:latin typeface="Segoe UI Light" pitchFamily="34" charset="0"/>
                <a:ea typeface="+mn-ea"/>
                <a:cs typeface="+mn-cs"/>
              </a:rPr>
              <a:t>Module6 40 mins</a:t>
            </a:r>
          </a:p>
          <a:p>
            <a:r>
              <a:rPr lang="en-GB" sz="882" kern="1200" dirty="0">
                <a:solidFill>
                  <a:schemeClr val="tx1"/>
                </a:solidFill>
                <a:effectLst/>
                <a:latin typeface="Segoe UI Light" pitchFamily="34" charset="0"/>
                <a:ea typeface="+mn-ea"/>
                <a:cs typeface="+mn-cs"/>
              </a:rPr>
              <a:t>Module7 50 mins</a:t>
            </a:r>
          </a:p>
          <a:p>
            <a:endParaRPr lang="en-GB" sz="882" kern="1200" dirty="0">
              <a:solidFill>
                <a:schemeClr val="tx1"/>
              </a:solidFill>
              <a:effectLst/>
              <a:latin typeface="Segoe UI Light" pitchFamily="34" charset="0"/>
              <a:ea typeface="+mn-ea"/>
              <a:cs typeface="+mn-cs"/>
            </a:endParaRPr>
          </a:p>
          <a:p>
            <a:r>
              <a:rPr lang="en-GB" sz="882" kern="1200" dirty="0">
                <a:solidFill>
                  <a:schemeClr val="tx1"/>
                </a:solidFill>
                <a:effectLst/>
                <a:latin typeface="Segoe UI Light" pitchFamily="34" charset="0"/>
                <a:ea typeface="+mn-ea"/>
                <a:cs typeface="+mn-cs"/>
              </a:rPr>
              <a:t>Break</a:t>
            </a:r>
          </a:p>
          <a:p>
            <a:endParaRPr lang="en-GB" sz="882" kern="1200" dirty="0">
              <a:solidFill>
                <a:schemeClr val="tx1"/>
              </a:solidFill>
              <a:effectLst/>
              <a:latin typeface="Segoe UI Light" pitchFamily="34" charset="0"/>
              <a:ea typeface="+mn-ea"/>
              <a:cs typeface="+mn-cs"/>
            </a:endParaRPr>
          </a:p>
          <a:p>
            <a:r>
              <a:rPr lang="en-GB" sz="882" kern="1200" dirty="0">
                <a:solidFill>
                  <a:schemeClr val="tx1"/>
                </a:solidFill>
                <a:effectLst/>
                <a:latin typeface="Segoe UI Light" pitchFamily="34" charset="0"/>
                <a:ea typeface="+mn-ea"/>
                <a:cs typeface="+mn-cs"/>
              </a:rPr>
              <a:t>Module8 45 mins</a:t>
            </a:r>
          </a:p>
          <a:p>
            <a:r>
              <a:rPr lang="en-GB" sz="882" kern="1200" dirty="0">
                <a:solidFill>
                  <a:schemeClr val="tx1"/>
                </a:solidFill>
                <a:effectLst/>
                <a:latin typeface="Segoe UI Light" pitchFamily="34" charset="0"/>
                <a:ea typeface="+mn-ea"/>
                <a:cs typeface="+mn-cs"/>
              </a:rPr>
              <a:t>Module9 5 mins</a:t>
            </a:r>
          </a:p>
          <a:p>
            <a:r>
              <a:rPr lang="en-GB" sz="882" kern="1200" dirty="0">
                <a:solidFill>
                  <a:schemeClr val="tx1"/>
                </a:solidFill>
                <a:effectLst/>
                <a:latin typeface="Segoe UI Light" pitchFamily="34" charset="0"/>
                <a:ea typeface="+mn-ea"/>
                <a:cs typeface="+mn-cs"/>
              </a:rPr>
              <a:t>Module10 30 mins</a:t>
            </a:r>
          </a:p>
          <a:p>
            <a:r>
              <a:rPr lang="en-GB" sz="882" kern="1200" dirty="0">
                <a:solidFill>
                  <a:schemeClr val="tx1"/>
                </a:solidFill>
                <a:effectLst/>
                <a:latin typeface="Segoe UI Light" pitchFamily="34" charset="0"/>
                <a:ea typeface="+mn-ea"/>
                <a:cs typeface="+mn-cs"/>
              </a:rPr>
              <a:t>Final Q&amp;A 10 mins</a:t>
            </a:r>
          </a:p>
          <a:p>
            <a:endParaRPr lang="en-GB" sz="882"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1/2019 3:53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41497459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1/2019 3:53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32</a:t>
            </a:fld>
            <a:endParaRPr lang="en-US" dirty="0"/>
          </a:p>
        </p:txBody>
      </p:sp>
    </p:spTree>
    <p:extLst>
      <p:ext uri="{BB962C8B-B14F-4D97-AF65-F5344CB8AC3E}">
        <p14:creationId xmlns:p14="http://schemas.microsoft.com/office/powerpoint/2010/main" val="15649593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demos as documented at https://github.com/Microsoft/sqlworkshops/blob/master/ModernizeYourDatabases2019/ModernizeSQL2019/04-MissionCriticalAvailability.md</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2/23/2019 1:5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dirty="0"/>
          </a:p>
        </p:txBody>
      </p:sp>
    </p:spTree>
    <p:extLst>
      <p:ext uri="{BB962C8B-B14F-4D97-AF65-F5344CB8AC3E}">
        <p14:creationId xmlns:p14="http://schemas.microsoft.com/office/powerpoint/2010/main" val="29913603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ed to possibly revise to cover all the possible dev platforms we now support</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1/2019 3:53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35</a:t>
            </a:fld>
            <a:endParaRPr lang="en-US" dirty="0"/>
          </a:p>
        </p:txBody>
      </p:sp>
    </p:spTree>
    <p:extLst>
      <p:ext uri="{BB962C8B-B14F-4D97-AF65-F5344CB8AC3E}">
        <p14:creationId xmlns:p14="http://schemas.microsoft.com/office/powerpoint/2010/main" val="426801937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2/21/2019 3:5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6</a:t>
            </a:fld>
            <a:endParaRPr lang="en-US" dirty="0"/>
          </a:p>
        </p:txBody>
      </p:sp>
    </p:spTree>
    <p:extLst>
      <p:ext uri="{BB962C8B-B14F-4D97-AF65-F5344CB8AC3E}">
        <p14:creationId xmlns:p14="http://schemas.microsoft.com/office/powerpoint/2010/main" val="135666369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1/2019 3:53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38</a:t>
            </a:fld>
            <a:endParaRPr lang="en-US" dirty="0"/>
          </a:p>
        </p:txBody>
      </p:sp>
    </p:spTree>
    <p:extLst>
      <p:ext uri="{BB962C8B-B14F-4D97-AF65-F5344CB8AC3E}">
        <p14:creationId xmlns:p14="http://schemas.microsoft.com/office/powerpoint/2010/main" val="9190161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demos as documented at https://github.com/Microsoft/sqlworkshops/blob/master/ModernizeYourDatabases2019/ModernizeSQL2019/05-ModernDevelopmentPlatform.md</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2/23/2019 1:5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9</a:t>
            </a:fld>
            <a:endParaRPr lang="en-US" dirty="0"/>
          </a:p>
        </p:txBody>
      </p:sp>
    </p:spTree>
    <p:extLst>
      <p:ext uri="{BB962C8B-B14F-4D97-AF65-F5344CB8AC3E}">
        <p14:creationId xmlns:p14="http://schemas.microsoft.com/office/powerpoint/2010/main" val="235006020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t>Bob presents this</a:t>
            </a:r>
          </a:p>
          <a:p>
            <a:endParaRPr lang="en-US" dirty="0"/>
          </a:p>
          <a:p>
            <a:r>
              <a:rPr lang="en-US" dirty="0"/>
              <a:t>Choose your platform based on the platform not SQL Server running on that platform.</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6CE63F-9E7F-4C04-9D0D-FCA25A8E9E86}" type="datetime8">
              <a:rPr lang="en-US" smtClean="0"/>
              <a:t>2/21/2019 3:5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1</a:t>
            </a:fld>
            <a:endParaRPr lang="en-US" dirty="0"/>
          </a:p>
        </p:txBody>
      </p:sp>
    </p:spTree>
    <p:extLst>
      <p:ext uri="{BB962C8B-B14F-4D97-AF65-F5344CB8AC3E}">
        <p14:creationId xmlns:p14="http://schemas.microsoft.com/office/powerpoint/2010/main" val="21216752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1/2019 3:53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42</a:t>
            </a:fld>
            <a:endParaRPr lang="en-US" dirty="0"/>
          </a:p>
        </p:txBody>
      </p:sp>
    </p:spTree>
    <p:extLst>
      <p:ext uri="{BB962C8B-B14F-4D97-AF65-F5344CB8AC3E}">
        <p14:creationId xmlns:p14="http://schemas.microsoft.com/office/powerpoint/2010/main" val="207948741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Presenter: Bob</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8264DF-0A5C-4835-8CF4-1B7226355ED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38883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Platform Abstraction Layer (“PAL”) is what enables</a:t>
            </a:r>
            <a:r>
              <a:rPr lang="en-US" baseline="0" dirty="0"/>
              <a:t> SQL Server to run on Linux and Docker. The PAL is used to consolidate OS/platform specific code to enable SQL Server code to become OS agnostic.</a:t>
            </a:r>
          </a:p>
          <a:p>
            <a:r>
              <a:rPr lang="en-US" baseline="0" dirty="0"/>
              <a:t>The SQL Server team set strict requirements to ensure that functionality, performance, and scale were not compromised when deployed to Linux.</a:t>
            </a:r>
          </a:p>
          <a:p>
            <a:r>
              <a:rPr lang="en-US" baseline="0" dirty="0"/>
              <a:t>Part of what makes this possible is the integration of certain parts of MSR’s project Drawbridge. </a:t>
            </a:r>
            <a:r>
              <a:rPr lang="en-US" dirty="0"/>
              <a:t>Drawbridge provided an abstraction between the underlying operating system and the application for the purposes of secure containers.</a:t>
            </a:r>
            <a:r>
              <a:rPr lang="en-US" baseline="0" dirty="0"/>
              <a:t> Drawbridge was combined with SQL Server OS, which provided memory management, thread scheduling, and IO services, to create SQLPAL.</a:t>
            </a:r>
          </a:p>
          <a:p>
            <a:endParaRPr lang="en-US" baseline="0" dirty="0"/>
          </a:p>
          <a:p>
            <a:r>
              <a:rPr lang="en-US" baseline="0" dirty="0"/>
              <a:t>In short, the creation of the PAL allows the same, time-proven core code base for SQL Server to run on new environments such as Docker and Linux – as opposed to porting the Windows code base into multiple operating environments. SQL Server 2017 is not a re-write or a port – it is the same performant, scalable product Microsoft customers have relied upon for years.</a:t>
            </a:r>
          </a:p>
          <a:p>
            <a:endParaRPr lang="en-GB" baseline="0" dirty="0"/>
          </a:p>
          <a:p>
            <a:r>
              <a:rPr lang="en-GB" i="1" baseline="0" dirty="0"/>
              <a:t>Speaker note: f</a:t>
            </a:r>
            <a:r>
              <a:rPr lang="en-US" i="1" baseline="0" dirty="0"/>
              <a:t>or more detail, see https://blogs.technet.microsoft.com/dataplatforminsider/2016/12/16/sql-server-on-linux-how-introductio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A3D2AD-3896-4D5C-87D1-EE86FD41470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91603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1/2019 3:53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12670798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1/2019 3:53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336983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DO: What will be the upgrade path to SQL 2019 from SQL 2017 on Linux?</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1/2019 3:53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106274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9413" y="381000"/>
            <a:ext cx="4575175"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7B1FF4-361A-4DF7-B591-6551A3CE70B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31161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echnically we only support Pacemaker for Linux but we have other partners building HADR solutions for Linux. In addition, we have created an open source project for our resource agent so other vendors can build their own solutions based on i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1/2019 3:53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062325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4/2019 10:03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49</a:t>
            </a:fld>
            <a:endParaRPr lang="en-US" dirty="0"/>
          </a:p>
        </p:txBody>
      </p:sp>
    </p:spTree>
    <p:extLst>
      <p:ext uri="{BB962C8B-B14F-4D97-AF65-F5344CB8AC3E}">
        <p14:creationId xmlns:p14="http://schemas.microsoft.com/office/powerpoint/2010/main" val="7631302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demos as documented at https://github.com/Microsoft/sqlworkshops/blob/master/ModernizeYourDatabases2019/ModernizeSQL2019/06-SQLLinux.md</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2/23/2019 1:5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0</a:t>
            </a:fld>
            <a:endParaRPr lang="en-US" dirty="0"/>
          </a:p>
        </p:txBody>
      </p:sp>
    </p:spTree>
    <p:extLst>
      <p:ext uri="{BB962C8B-B14F-4D97-AF65-F5344CB8AC3E}">
        <p14:creationId xmlns:p14="http://schemas.microsoft.com/office/powerpoint/2010/main" val="96243795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2/21/2019 3:5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4</a:t>
            </a:fld>
            <a:endParaRPr lang="en-US" dirty="0"/>
          </a:p>
        </p:txBody>
      </p:sp>
    </p:spTree>
    <p:extLst>
      <p:ext uri="{BB962C8B-B14F-4D97-AF65-F5344CB8AC3E}">
        <p14:creationId xmlns:p14="http://schemas.microsoft.com/office/powerpoint/2010/main" val="76391521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2/21/2019 3:5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5</a:t>
            </a:fld>
            <a:endParaRPr lang="en-US" dirty="0"/>
          </a:p>
        </p:txBody>
      </p:sp>
    </p:spTree>
    <p:extLst>
      <p:ext uri="{BB962C8B-B14F-4D97-AF65-F5344CB8AC3E}">
        <p14:creationId xmlns:p14="http://schemas.microsoft.com/office/powerpoint/2010/main" val="247305973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2/21/2019 3:5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6</a:t>
            </a:fld>
            <a:endParaRPr lang="en-US" dirty="0"/>
          </a:p>
        </p:txBody>
      </p:sp>
    </p:spTree>
    <p:extLst>
      <p:ext uri="{BB962C8B-B14F-4D97-AF65-F5344CB8AC3E}">
        <p14:creationId xmlns:p14="http://schemas.microsoft.com/office/powerpoint/2010/main" val="353398083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2/21/2019 3:5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7</a:t>
            </a:fld>
            <a:endParaRPr lang="en-US" dirty="0"/>
          </a:p>
        </p:txBody>
      </p:sp>
    </p:spTree>
    <p:extLst>
      <p:ext uri="{BB962C8B-B14F-4D97-AF65-F5344CB8AC3E}">
        <p14:creationId xmlns:p14="http://schemas.microsoft.com/office/powerpoint/2010/main" val="38984300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F80E2B-B978-4B3B-B24B-28D259BA0D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431182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2/21/2019 3:5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8</a:t>
            </a:fld>
            <a:endParaRPr lang="en-US" dirty="0"/>
          </a:p>
        </p:txBody>
      </p:sp>
    </p:spTree>
    <p:extLst>
      <p:ext uri="{BB962C8B-B14F-4D97-AF65-F5344CB8AC3E}">
        <p14:creationId xmlns:p14="http://schemas.microsoft.com/office/powerpoint/2010/main" val="54253795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demos as documented at https://github.com/Microsoft/sqlworkshops/blob/master/ModernizeYourDatabases2019/ModernizeSQL2019/07-SQLContainers.md</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2/23/2019 1:5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9</a:t>
            </a:fld>
            <a:endParaRPr lang="en-US" dirty="0"/>
          </a:p>
        </p:txBody>
      </p:sp>
    </p:spTree>
    <p:extLst>
      <p:ext uri="{BB962C8B-B14F-4D97-AF65-F5344CB8AC3E}">
        <p14:creationId xmlns:p14="http://schemas.microsoft.com/office/powerpoint/2010/main" val="356710383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2/23/2019 12: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0</a:t>
            </a:fld>
            <a:endParaRPr lang="en-US" dirty="0"/>
          </a:p>
        </p:txBody>
      </p:sp>
    </p:spTree>
    <p:extLst>
      <p:ext uri="{BB962C8B-B14F-4D97-AF65-F5344CB8AC3E}">
        <p14:creationId xmlns:p14="http://schemas.microsoft.com/office/powerpoint/2010/main" val="368789526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300"/>
              </a:spcAft>
            </a:pPr>
            <a:endParaRPr lang="en-US" dirty="0">
              <a:cs typeface="Segoe UI Light"/>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CDF2885-C677-6341-835A-E92F0BF5150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948351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Presenter: Vin</a:t>
            </a:r>
          </a:p>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427A7F7-BB1E-479D-AFAA-B52F4D0C99F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1/2019 3:5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9289911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1/2019 3:53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65</a:t>
            </a:fld>
            <a:endParaRPr lang="en-US" dirty="0"/>
          </a:p>
        </p:txBody>
      </p:sp>
    </p:spTree>
    <p:extLst>
      <p:ext uri="{BB962C8B-B14F-4D97-AF65-F5344CB8AC3E}">
        <p14:creationId xmlns:p14="http://schemas.microsoft.com/office/powerpoint/2010/main" val="150251538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1/2019 3:5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0148265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DO: Redo this as a visual</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1/2019 3:53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67</a:t>
            </a:fld>
            <a:endParaRPr lang="en-US" dirty="0"/>
          </a:p>
        </p:txBody>
      </p:sp>
    </p:spTree>
    <p:extLst>
      <p:ext uri="{BB962C8B-B14F-4D97-AF65-F5344CB8AC3E}">
        <p14:creationId xmlns:p14="http://schemas.microsoft.com/office/powerpoint/2010/main" val="407652383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2/21/2019 3:5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8</a:t>
            </a:fld>
            <a:endParaRPr lang="en-US" dirty="0"/>
          </a:p>
        </p:txBody>
      </p:sp>
    </p:spTree>
    <p:extLst>
      <p:ext uri="{BB962C8B-B14F-4D97-AF65-F5344CB8AC3E}">
        <p14:creationId xmlns:p14="http://schemas.microsoft.com/office/powerpoint/2010/main" val="229759907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2/21/2019 3:5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9</a:t>
            </a:fld>
            <a:endParaRPr lang="en-US" dirty="0"/>
          </a:p>
        </p:txBody>
      </p:sp>
    </p:spTree>
    <p:extLst>
      <p:ext uri="{BB962C8B-B14F-4D97-AF65-F5344CB8AC3E}">
        <p14:creationId xmlns:p14="http://schemas.microsoft.com/office/powerpoint/2010/main" val="39326099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1/2019 3:53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303604858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demos as documented at https://github.com/Microsoft/sqlworkshops/blob/master/ModernizeYourDatabases2019/ModernizeSQL2019/08-DataVirtualization.md</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2/23/2019 1:5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0</a:t>
            </a:fld>
            <a:endParaRPr lang="en-US" dirty="0"/>
          </a:p>
        </p:txBody>
      </p:sp>
    </p:spTree>
    <p:extLst>
      <p:ext uri="{BB962C8B-B14F-4D97-AF65-F5344CB8AC3E}">
        <p14:creationId xmlns:p14="http://schemas.microsoft.com/office/powerpoint/2010/main" val="9024046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2/21/2019 3:5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1</a:t>
            </a:fld>
            <a:endParaRPr lang="en-US" dirty="0"/>
          </a:p>
        </p:txBody>
      </p:sp>
    </p:spTree>
    <p:extLst>
      <p:ext uri="{BB962C8B-B14F-4D97-AF65-F5344CB8AC3E}">
        <p14:creationId xmlns:p14="http://schemas.microsoft.com/office/powerpoint/2010/main" val="28590850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mit starts here</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D935E8-C2CC-4298-8893-4253C0F963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007696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crease analytics and apps performance with scale out data marts</a:t>
            </a:r>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D935E8-C2CC-4298-8893-4253C0F963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840177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 published demo for this</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2/21/2019 3:5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5</a:t>
            </a:fld>
            <a:endParaRPr lang="en-US" dirty="0"/>
          </a:p>
        </p:txBody>
      </p:sp>
    </p:spTree>
    <p:extLst>
      <p:ext uri="{BB962C8B-B14F-4D97-AF65-F5344CB8AC3E}">
        <p14:creationId xmlns:p14="http://schemas.microsoft.com/office/powerpoint/2010/main" val="233625534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1/2019 3:53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76</a:t>
            </a:fld>
            <a:endParaRPr lang="en-US" dirty="0"/>
          </a:p>
        </p:txBody>
      </p:sp>
    </p:spTree>
    <p:extLst>
      <p:ext uri="{BB962C8B-B14F-4D97-AF65-F5344CB8AC3E}">
        <p14:creationId xmlns:p14="http://schemas.microsoft.com/office/powerpoint/2010/main" val="117550225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ptional Demo:</a:t>
            </a:r>
          </a:p>
          <a:p>
            <a:endParaRPr lang="en-US" dirty="0"/>
          </a:p>
          <a:p>
            <a:r>
              <a:rPr lang="en-US" dirty="0"/>
              <a:t>Page latch info with temp table stress</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2/21/2019 3:5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7</a:t>
            </a:fld>
            <a:endParaRPr lang="en-US" dirty="0"/>
          </a:p>
        </p:txBody>
      </p:sp>
    </p:spTree>
    <p:extLst>
      <p:ext uri="{BB962C8B-B14F-4D97-AF65-F5344CB8AC3E}">
        <p14:creationId xmlns:p14="http://schemas.microsoft.com/office/powerpoint/2010/main" val="356631791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is module we will talk about tools, steps, and processes to migrate to modern SQL Server releases from legacy SQL Server and 3</a:t>
            </a:r>
            <a:r>
              <a:rPr lang="en-US" baseline="30000" dirty="0"/>
              <a:t>rd</a:t>
            </a:r>
            <a:r>
              <a:rPr lang="en-US" dirty="0"/>
              <a:t> party database platforms.</a:t>
            </a:r>
          </a:p>
          <a:p>
            <a:endParaRPr lang="en-US" dirty="0"/>
          </a:p>
          <a:p>
            <a:r>
              <a:rPr lang="en-US" dirty="0"/>
              <a:t>This includes a review of tools to migrate, database compatibility to help mitigate the pain of migration, and a discussion of a new tool called Query Tuning Assistant to help with post migration.</a:t>
            </a:r>
          </a:p>
          <a:p>
            <a:endParaRPr lang="en-US" dirty="0"/>
          </a:p>
          <a:p>
            <a:r>
              <a:rPr lang="en-US" dirty="0"/>
              <a:t>We will also talk about your next steps and Microsoft’s next steps with SQL Server.</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1/2019 3:53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78</a:t>
            </a:fld>
            <a:endParaRPr lang="en-US" dirty="0"/>
          </a:p>
        </p:txBody>
      </p:sp>
    </p:spTree>
    <p:extLst>
      <p:ext uri="{BB962C8B-B14F-4D97-AF65-F5344CB8AC3E}">
        <p14:creationId xmlns:p14="http://schemas.microsoft.com/office/powerpoint/2010/main" val="133623994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1/2019 3:53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79</a:t>
            </a:fld>
            <a:endParaRPr lang="en-US" dirty="0"/>
          </a:p>
        </p:txBody>
      </p:sp>
    </p:spTree>
    <p:extLst>
      <p:ext uri="{BB962C8B-B14F-4D97-AF65-F5344CB8AC3E}">
        <p14:creationId xmlns:p14="http://schemas.microsoft.com/office/powerpoint/2010/main" val="217000920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85CC640-8B01-4F9A-8CAB-FEFC6A2E5E71}" type="slidenum">
              <a:rPr lang="en-US" smtClean="0"/>
              <a:t>81</a:t>
            </a:fld>
            <a:endParaRPr lang="en-US" dirty="0"/>
          </a:p>
        </p:txBody>
      </p:sp>
    </p:spTree>
    <p:extLst>
      <p:ext uri="{BB962C8B-B14F-4D97-AF65-F5344CB8AC3E}">
        <p14:creationId xmlns:p14="http://schemas.microsoft.com/office/powerpoint/2010/main" val="3905484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This slide is specifically an overview of the major key features to SQL Server 2017. You can actually group these six items into four areas</a:t>
            </a:r>
          </a:p>
          <a:p>
            <a:endParaRPr lang="en-US" dirty="0"/>
          </a:p>
          <a:p>
            <a:r>
              <a:rPr lang="en-US" dirty="0"/>
              <a:t>Platform of Choice (Linux and Docker)</a:t>
            </a:r>
          </a:p>
          <a:p>
            <a:r>
              <a:rPr lang="en-US" dirty="0"/>
              <a:t>Performance (AQP and Auto Tuning)</a:t>
            </a:r>
          </a:p>
          <a:p>
            <a:r>
              <a:rPr lang="en-US" dirty="0"/>
              <a:t>HADR</a:t>
            </a:r>
          </a:p>
          <a:p>
            <a:r>
              <a:rPr lang="en-US" dirty="0"/>
              <a:t>Modern Data Capabilities (Graph and ML)</a:t>
            </a:r>
          </a:p>
          <a:p>
            <a:endParaRPr lang="en-US" dirty="0"/>
          </a:p>
          <a:p>
            <a:r>
              <a:rPr lang="en-US" dirty="0"/>
              <a:t>The rest of the deck is to drill into these areas and finish with Migration and vNex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25D1A-9CA5-4E94-B922-48D4C7E4CB4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36605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sz="2400" dirty="0"/>
              <a:t>Post-migration/upgrade</a:t>
            </a:r>
          </a:p>
          <a:p>
            <a:pPr lvl="2"/>
            <a:r>
              <a:rPr lang="en-US" sz="2000" dirty="0"/>
              <a:t>Crucial to uncover query performance issues with the workload, as it runs on the newer version of SQL Server Database Engine.</a:t>
            </a:r>
          </a:p>
          <a:p>
            <a:pPr lvl="2"/>
            <a:r>
              <a:rPr lang="en-US" sz="2000" dirty="0"/>
              <a:t>User needs to follow documented DB upgrade procedure (https://docs.microsoft.com/en-us/sql/relational-databases/performance/query-store-usage-scenarios#CEUpgrade).</a:t>
            </a:r>
          </a:p>
          <a:p>
            <a:pPr lvl="2"/>
            <a:r>
              <a:rPr lang="en-US" sz="2000" dirty="0"/>
              <a:t>User database is still in before-upgrade database compatibility level, and QTA will assist in collecting baseline workload data (if none available), bump database compatibility level, collect 2</a:t>
            </a:r>
            <a:r>
              <a:rPr lang="en-US" sz="2000" baseline="30000" dirty="0"/>
              <a:t>nd</a:t>
            </a:r>
            <a:r>
              <a:rPr lang="en-US" sz="2000" dirty="0"/>
              <a:t> pass of workload data, and work on any regressions found based on “Regressed Queries” QS report.</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1375404" eaLnBrk="0" hangingPunct="0"/>
            <a:r>
              <a:rPr lang="en-US" sz="6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2/21/2019 3:5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2</a:t>
            </a:fld>
            <a:endParaRPr lang="en-US" dirty="0"/>
          </a:p>
        </p:txBody>
      </p:sp>
    </p:spTree>
    <p:extLst>
      <p:ext uri="{BB962C8B-B14F-4D97-AF65-F5344CB8AC3E}">
        <p14:creationId xmlns:p14="http://schemas.microsoft.com/office/powerpoint/2010/main" val="76562170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demos as documented at https://github.com/Microsoft/sqlworkshops/blob/master/ModernizeYourDatabases2019/ModernizeSQL2019/10-MigratingAndNextSteps.md</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2/23/2019 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3</a:t>
            </a:fld>
            <a:endParaRPr lang="en-US" dirty="0"/>
          </a:p>
        </p:txBody>
      </p:sp>
    </p:spTree>
    <p:extLst>
      <p:ext uri="{BB962C8B-B14F-4D97-AF65-F5344CB8AC3E}">
        <p14:creationId xmlns:p14="http://schemas.microsoft.com/office/powerpoint/2010/main" val="44740631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ad takes over</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6CE63F-9E7F-4C04-9D0D-FCA25A8E9E86}" type="datetime8">
              <a:rPr lang="en-US" smtClean="0"/>
              <a:t>2/21/2019 3:5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5</a:t>
            </a:fld>
            <a:endParaRPr lang="en-US" dirty="0"/>
          </a:p>
        </p:txBody>
      </p:sp>
    </p:spTree>
    <p:extLst>
      <p:ext uri="{BB962C8B-B14F-4D97-AF65-F5344CB8AC3E}">
        <p14:creationId xmlns:p14="http://schemas.microsoft.com/office/powerpoint/2010/main" val="371072273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1/2019 3:53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86</a:t>
            </a:fld>
            <a:endParaRPr lang="en-US" dirty="0"/>
          </a:p>
        </p:txBody>
      </p:sp>
    </p:spTree>
    <p:extLst>
      <p:ext uri="{BB962C8B-B14F-4D97-AF65-F5344CB8AC3E}">
        <p14:creationId xmlns:p14="http://schemas.microsoft.com/office/powerpoint/2010/main" val="22494548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fontAlgn="base">
              <a:buNone/>
            </a:pPr>
            <a:r>
              <a:rPr lang="en-US" sz="2800" dirty="0"/>
              <a:t>That’s not all it can do. </a:t>
            </a:r>
            <a:r>
              <a:rPr lang="en-US" sz="2800" b="1" dirty="0"/>
              <a:t>SQL Server 2017 continues to deliver industry-leading capabilities:</a:t>
            </a:r>
          </a:p>
          <a:p>
            <a:endParaRPr lang="en-US" sz="2800" dirty="0"/>
          </a:p>
          <a:p>
            <a:r>
              <a:rPr lang="en-US" sz="2800" dirty="0"/>
              <a:t>Our latest </a:t>
            </a:r>
            <a:r>
              <a:rPr lang="en-US" sz="2800" b="1" dirty="0"/>
              <a:t>performance</a:t>
            </a:r>
            <a:r>
              <a:rPr lang="en-US" sz="2800" dirty="0"/>
              <a:t> benchmarks on Windows and Linux blow away our old records. </a:t>
            </a:r>
          </a:p>
          <a:p>
            <a:pPr lvl="1"/>
            <a:r>
              <a:rPr lang="en-US" sz="2800" b="1" dirty="0"/>
              <a:t>OLTP – We have #1 OLTP TPC-E performance </a:t>
            </a:r>
          </a:p>
          <a:p>
            <a:pPr lvl="1"/>
            <a:r>
              <a:rPr lang="en-US" sz="2800" b="1" dirty="0"/>
              <a:t>DW: And, we have the fastest performing DW.  With best price/performance</a:t>
            </a:r>
            <a:r>
              <a:rPr lang="en-US" sz="2200" b="1" dirty="0"/>
              <a:t>.</a:t>
            </a:r>
            <a:endParaRPr lang="en-US" sz="2200" dirty="0"/>
          </a:p>
          <a:p>
            <a:pPr lvl="0"/>
            <a:endParaRPr lang="en-US" sz="2800" b="1" dirty="0"/>
          </a:p>
          <a:p>
            <a:pPr lvl="0"/>
            <a:r>
              <a:rPr lang="en-US" sz="2800" b="1" dirty="0"/>
              <a:t>We offer the most</a:t>
            </a:r>
            <a:r>
              <a:rPr lang="en-US" sz="2800" dirty="0"/>
              <a:t> </a:t>
            </a:r>
            <a:r>
              <a:rPr lang="en-US" sz="2800" b="1" dirty="0"/>
              <a:t>secure database. </a:t>
            </a:r>
            <a:endParaRPr lang="en-US" sz="2800" dirty="0"/>
          </a:p>
          <a:p>
            <a:pPr lvl="1"/>
            <a:r>
              <a:rPr lang="en-US" sz="2800" dirty="0"/>
              <a:t>According to US National Institute of Standards and Technology (NSIT), we have had </a:t>
            </a:r>
            <a:r>
              <a:rPr lang="en-US" sz="2800" b="1" dirty="0"/>
              <a:t>fewer vulnerabilities</a:t>
            </a:r>
            <a:r>
              <a:rPr lang="en-US" sz="2800" dirty="0"/>
              <a:t> </a:t>
            </a:r>
            <a:r>
              <a:rPr lang="en-US" sz="2800" b="1" dirty="0"/>
              <a:t>over the last 7 years </a:t>
            </a:r>
            <a:r>
              <a:rPr lang="en-US" sz="2800" dirty="0"/>
              <a:t>than Oracle or IBM  </a:t>
            </a:r>
          </a:p>
          <a:p>
            <a:pPr lvl="1"/>
            <a:r>
              <a:rPr lang="en-US" sz="2800" b="1" dirty="0"/>
              <a:t>Fewer vulnerabilities mean less patching for you!</a:t>
            </a:r>
          </a:p>
          <a:p>
            <a:pPr lvl="1"/>
            <a:endParaRPr lang="en-US" sz="2800" dirty="0"/>
          </a:p>
          <a:p>
            <a:pPr lvl="0" fontAlgn="base"/>
            <a:r>
              <a:rPr lang="en-US" dirty="0"/>
              <a:t>SQL Server is the first commercial database with </a:t>
            </a:r>
            <a:r>
              <a:rPr lang="en-US" b="1" dirty="0"/>
              <a:t>Advanced Analytics using R and Python built-in.</a:t>
            </a:r>
          </a:p>
          <a:p>
            <a:pPr lvl="0" fontAlgn="base"/>
            <a:r>
              <a:rPr lang="en-US" dirty="0"/>
              <a:t>Why does this matter to you?  </a:t>
            </a:r>
          </a:p>
          <a:p>
            <a:pPr lvl="1" fontAlgn="base"/>
            <a:r>
              <a:rPr lang="en-US" sz="2800" dirty="0"/>
              <a:t>Now you can use SQL Server to </a:t>
            </a:r>
            <a:r>
              <a:rPr lang="en-US" sz="2800" b="1" dirty="0"/>
              <a:t>operationalize your data science models in a secure and performant way</a:t>
            </a:r>
          </a:p>
          <a:p>
            <a:pPr lvl="1" fontAlgn="base"/>
            <a:r>
              <a:rPr lang="en-US" sz="2800" dirty="0"/>
              <a:t>Use </a:t>
            </a:r>
            <a:r>
              <a:rPr lang="en-US" sz="2800" b="1" dirty="0"/>
              <a:t>native T-SQL commands to score data in near real-time</a:t>
            </a:r>
          </a:p>
          <a:p>
            <a:pPr lvl="1" fontAlgn="base"/>
            <a:endParaRPr lang="en-US" dirty="0"/>
          </a:p>
          <a:p>
            <a:pPr fontAlgn="base"/>
            <a:r>
              <a:rPr lang="en-US" dirty="0"/>
              <a:t>And unlike our competitors, mobile BI on every device comes built-in.  Or add access to powerful, self-service BI visualizations through </a:t>
            </a:r>
            <a:r>
              <a:rPr lang="en-US" b="1" dirty="0"/>
              <a:t>Power BI </a:t>
            </a:r>
            <a:r>
              <a:rPr lang="en-US" b="0" dirty="0"/>
              <a:t> - at a fraction of the cost of our competitors.</a:t>
            </a:r>
            <a:endParaRPr lang="en-US" b="1" dirty="0"/>
          </a:p>
          <a:p>
            <a:pPr fontAlgn="base"/>
            <a:endParaRPr lang="en-US" dirty="0"/>
          </a:p>
          <a:p>
            <a:pPr fontAlgn="base"/>
            <a:r>
              <a:rPr lang="en-US" dirty="0"/>
              <a:t>SQL Server 2017 gives you </a:t>
            </a:r>
            <a:r>
              <a:rPr lang="en-US" b="1" dirty="0"/>
              <a:t>your choice of platform and language, </a:t>
            </a:r>
            <a:r>
              <a:rPr lang="en-US" dirty="0"/>
              <a:t>and</a:t>
            </a:r>
            <a:r>
              <a:rPr lang="en-US" b="1" dirty="0"/>
              <a:t> the most consistent on-prem to cloud environment.</a:t>
            </a:r>
            <a:endParaRPr lang="en-US" dirty="0"/>
          </a:p>
          <a:p>
            <a:r>
              <a:rPr lang="en-US" dirty="0"/>
              <a:t>And it does all this for </a:t>
            </a:r>
            <a:r>
              <a:rPr lang="en-US" b="1" dirty="0"/>
              <a:t>1/10th the cost of Oracle</a:t>
            </a:r>
            <a:endParaRPr lang="en-US" dirty="0"/>
          </a:p>
          <a:p>
            <a:pPr lvl="1"/>
            <a:endParaRPr lang="en-US" sz="2800" b="1" dirty="0"/>
          </a:p>
          <a:p>
            <a:pPr lvl="1"/>
            <a:endParaRPr lang="en-US" sz="2800"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F80E2B-B978-4B3B-B24B-28D259BA0D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58269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25D1A-9CA5-4E94-B922-48D4C7E4CB4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3660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4/2019 9:5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7573744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a:extLst/>
          </p:spPr>
          <p:txBody>
            <a:bodyPr vert="horz" wrap="square" lIns="91440" tIns="45720" rIns="91440" bIns="45720" numCol="1" anchor="t" anchorCtr="0" compatLnSpc="1">
              <a:prstTxWarp prst="textNoShape">
                <a:avLst/>
              </a:prstTxWarp>
            </a:bodyPr>
            <a:lstStyle/>
            <a:p>
              <a:pPr lvl="0"/>
              <a:endParaRPr lang="en-US" dirty="0"/>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a:extLst/>
          </p:spPr>
          <p:txBody>
            <a:bodyPr vert="horz" wrap="square" lIns="91440" tIns="45720" rIns="91440" bIns="45720" numCol="1" anchor="t" anchorCtr="0" compatLnSpc="1">
              <a:prstTxWarp prst="textNoShape">
                <a:avLst/>
              </a:prstTxWarp>
            </a:bodyPr>
            <a:lstStyle/>
            <a:p>
              <a:pPr lvl="0"/>
              <a:endParaRPr lang="en-US" dirty="0"/>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30734689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710960028"/>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158793"/>
          </a:xfrm>
          <a:noFill/>
        </p:spPr>
        <p:txBody>
          <a:bodyPr tIns="91440" bIns="91440" anchor="t" anchorCtr="0">
            <a:spAutoFit/>
          </a:bodyPr>
          <a:lstStyle>
            <a:lvl1pPr algn="l">
              <a:defRPr lang="en-US" sz="7054"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5593586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849605"/>
            <a:ext cx="11653523" cy="849463"/>
          </a:xfrm>
          <a:noFill/>
        </p:spPr>
        <p:txBody>
          <a:bodyPr tIns="91440" bIns="91440" anchor="t" anchorCtr="0">
            <a:spAutoFit/>
          </a:bodyPr>
          <a:lstStyle>
            <a:lvl1pPr>
              <a:defRPr sz="4800" spc="800" baseline="0">
                <a:solidFill>
                  <a:schemeClr val="tx2"/>
                </a:solidFill>
              </a:defRPr>
            </a:lvl1pPr>
          </a:lstStyle>
          <a:p>
            <a:r>
              <a:rPr lang="en-US"/>
              <a:t>SECTION TITLE</a:t>
            </a:r>
          </a:p>
        </p:txBody>
      </p:sp>
    </p:spTree>
    <p:extLst>
      <p:ext uri="{BB962C8B-B14F-4D97-AF65-F5344CB8AC3E}">
        <p14:creationId xmlns:p14="http://schemas.microsoft.com/office/powerpoint/2010/main" val="669583367"/>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Title Cente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849605"/>
            <a:ext cx="11653523" cy="615553"/>
          </a:xfrm>
          <a:noFill/>
        </p:spPr>
        <p:txBody>
          <a:bodyPr tIns="91440" bIns="91440" anchor="t" anchorCtr="0">
            <a:spAutoFit/>
          </a:bodyPr>
          <a:lstStyle>
            <a:lvl1pPr>
              <a:lnSpc>
                <a:spcPct val="100000"/>
              </a:lnSpc>
              <a:defRPr sz="2800" spc="8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4679458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11563915"/>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32726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defTabSz="913573"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0205" y="3083652"/>
            <a:ext cx="3227129" cy="692057"/>
          </a:xfrm>
          <a:prstGeom prst="rect">
            <a:avLst/>
          </a:prstGeom>
        </p:spPr>
      </p:pic>
    </p:spTree>
    <p:extLst>
      <p:ext uri="{BB962C8B-B14F-4D97-AF65-F5344CB8AC3E}">
        <p14:creationId xmlns:p14="http://schemas.microsoft.com/office/powerpoint/2010/main" val="2466999147"/>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defTabSz="913573"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0207" y="3083652"/>
            <a:ext cx="3227129" cy="692059"/>
          </a:xfrm>
          <a:prstGeom prst="rect">
            <a:avLst/>
          </a:prstGeom>
        </p:spPr>
      </p:pic>
    </p:spTree>
    <p:extLst>
      <p:ext uri="{BB962C8B-B14F-4D97-AF65-F5344CB8AC3E}">
        <p14:creationId xmlns:p14="http://schemas.microsoft.com/office/powerpoint/2010/main" val="26059020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207747997"/>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Tree>
    <p:extLst>
      <p:ext uri="{BB962C8B-B14F-4D97-AF65-F5344CB8AC3E}">
        <p14:creationId xmlns:p14="http://schemas.microsoft.com/office/powerpoint/2010/main" val="21007849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Tree>
    <p:extLst>
      <p:ext uri="{BB962C8B-B14F-4D97-AF65-F5344CB8AC3E}">
        <p14:creationId xmlns:p14="http://schemas.microsoft.com/office/powerpoint/2010/main" val="39637713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Tree>
    <p:extLst>
      <p:ext uri="{BB962C8B-B14F-4D97-AF65-F5344CB8AC3E}">
        <p14:creationId xmlns:p14="http://schemas.microsoft.com/office/powerpoint/2010/main" val="13511417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179219"/>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1475630"/>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15724487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676586304"/>
      </p:ext>
    </p:extLst>
  </p:cSld>
  <p:clrMapOvr>
    <a:masterClrMapping/>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4"/>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4" y="2914178"/>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2"/>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2"/>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4" y="2059076"/>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10"/>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40"/>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4" y="1203974"/>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8"/>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8"/>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4" y="348872"/>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6"/>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2"/>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4" y="6334586"/>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2"/>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50"/>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4" y="5479484"/>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8"/>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8"/>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4" y="4624382"/>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6"/>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6"/>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4" y="3769280"/>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4"/>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5077331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Slide">
    <p:bg>
      <p:bgRef idx="1001">
        <a:schemeClr val="bg2"/>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Tree>
    <p:extLst>
      <p:ext uri="{BB962C8B-B14F-4D97-AF65-F5344CB8AC3E}">
        <p14:creationId xmlns:p14="http://schemas.microsoft.com/office/powerpoint/2010/main" val="422772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84" userDrawn="1">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147DDA-8EE3-48B6-A3DB-10A2F1604C08}"/>
              </a:ext>
            </a:extLst>
          </p:cNvPr>
          <p:cNvSpPr>
            <a:spLocks noGrp="1"/>
          </p:cNvSpPr>
          <p:nvPr>
            <p:ph type="title"/>
          </p:nvPr>
        </p:nvSpPr>
        <p:spPr>
          <a:xfrm>
            <a:off x="269240" y="289511"/>
            <a:ext cx="11655840" cy="711975"/>
          </a:xfrm>
        </p:spPr>
        <p:txBody>
          <a:bodyPr/>
          <a:lstStyle>
            <a:lvl1pPr algn="ctr">
              <a:defRPr lang="en-US" sz="2800" b="0" kern="1200" cap="all" spc="400" baseline="0" dirty="0" smtClean="0">
                <a:ln w="3175">
                  <a:noFill/>
                </a:ln>
                <a:solidFill>
                  <a:srgbClr val="0078D7"/>
                </a:solidFill>
                <a:effectLst/>
                <a:latin typeface="Segoe UI Semilight" charset="0"/>
                <a:ea typeface="Segoe UI Semilight" charset="0"/>
                <a:cs typeface="Segoe UI Semilight" charset="0"/>
              </a:defRPr>
            </a:lvl1pPr>
          </a:lstStyle>
          <a:p>
            <a:r>
              <a:rPr lang="en-US" dirty="0"/>
              <a:t>Click to edit Master title style</a:t>
            </a:r>
          </a:p>
        </p:txBody>
      </p:sp>
    </p:spTree>
    <p:extLst>
      <p:ext uri="{BB962C8B-B14F-4D97-AF65-F5344CB8AC3E}">
        <p14:creationId xmlns:p14="http://schemas.microsoft.com/office/powerpoint/2010/main" val="140265294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sz="3600"/>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458318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7236731"/>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42114765"/>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3994261"/>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5306352"/>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1806778"/>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with breadcrumb">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5217" y="457200"/>
            <a:ext cx="11018520" cy="492443"/>
          </a:xfrm>
        </p:spPr>
        <p:txBody>
          <a:bodyPr/>
          <a:lstStyle/>
          <a:p>
            <a:r>
              <a:rPr lang="en-US" dirty="0"/>
              <a:t>Click to edit Master title style</a:t>
            </a:r>
          </a:p>
        </p:txBody>
      </p:sp>
      <p:sp>
        <p:nvSpPr>
          <p:cNvPr id="4" name="Text Placeholder 5">
            <a:extLst>
              <a:ext uri="{FF2B5EF4-FFF2-40B4-BE49-F238E27FC236}">
                <a16:creationId xmlns:a16="http://schemas.microsoft.com/office/drawing/2014/main" id="{79E18D4A-A473-934A-8113-02AC50E0470C}"/>
              </a:ext>
            </a:extLst>
          </p:cNvPr>
          <p:cNvSpPr>
            <a:spLocks noGrp="1"/>
          </p:cNvSpPr>
          <p:nvPr>
            <p:ph type="body" sz="quarter" idx="11" hasCustomPrompt="1"/>
          </p:nvPr>
        </p:nvSpPr>
        <p:spPr>
          <a:xfrm>
            <a:off x="202019" y="6499891"/>
            <a:ext cx="2807497" cy="184666"/>
          </a:xfrm>
        </p:spPr>
        <p:txBody>
          <a:bodyPr/>
          <a:lstStyle>
            <a:lvl1pPr marL="0" indent="0">
              <a:buNone/>
              <a:defRPr lang="en-US" sz="1200" kern="0" dirty="0" smtClean="0">
                <a:solidFill>
                  <a:srgbClr val="0078D4"/>
                </a:solidFill>
                <a:latin typeface="+mj-lt"/>
                <a:ea typeface="+mn-ea"/>
                <a:cs typeface="Segoe UI" panose="020B0502040204020203" pitchFamily="34" charset="0"/>
              </a:defRPr>
            </a:lvl1pPr>
            <a:lvl2pPr marL="228600" indent="0">
              <a:buNone/>
              <a:defRPr/>
            </a:lvl2pPr>
          </a:lstStyle>
          <a:p>
            <a:pPr lvl="0"/>
            <a:r>
              <a:rPr lang="en-US" dirty="0"/>
              <a:t>Breadcrumb</a:t>
            </a:r>
          </a:p>
        </p:txBody>
      </p:sp>
    </p:spTree>
    <p:extLst>
      <p:ext uri="{BB962C8B-B14F-4D97-AF65-F5344CB8AC3E}">
        <p14:creationId xmlns:p14="http://schemas.microsoft.com/office/powerpoint/2010/main" val="534713113"/>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64782570"/>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solidFill>
                  <a:schemeClr val="bg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bg1"/>
                </a:solidFill>
                <a:latin typeface="+mn-lt"/>
              </a:defRPr>
            </a:lvl1pPr>
          </a:lstStyle>
          <a:p>
            <a:pPr lvl="0"/>
            <a:r>
              <a:rPr lang="en-US"/>
              <a:t>Speaker name</a:t>
            </a:r>
          </a:p>
        </p:txBody>
      </p:sp>
      <p:pic>
        <p:nvPicPr>
          <p:cNvPr id="6" name="Picture 5">
            <a:extLst>
              <a:ext uri="{FF2B5EF4-FFF2-40B4-BE49-F238E27FC236}">
                <a16:creationId xmlns:a16="http://schemas.microsoft.com/office/drawing/2014/main" id="{24C771C7-53F4-5F42-A429-D0A2E02CDBB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7632" r="50000" b="48463"/>
          <a:stretch/>
        </p:blipFill>
        <p:spPr>
          <a:xfrm>
            <a:off x="7032111" y="2236741"/>
            <a:ext cx="5159889" cy="4621259"/>
          </a:xfrm>
          <a:prstGeom prst="rect">
            <a:avLst/>
          </a:prstGeom>
        </p:spPr>
      </p:pic>
    </p:spTree>
    <p:extLst>
      <p:ext uri="{BB962C8B-B14F-4D97-AF65-F5344CB8AC3E}">
        <p14:creationId xmlns:p14="http://schemas.microsoft.com/office/powerpoint/2010/main" val="2374600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7759392"/>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80" name="Group 79">
            <a:extLst>
              <a:ext uri="{FF2B5EF4-FFF2-40B4-BE49-F238E27FC236}">
                <a16:creationId xmlns:a16="http://schemas.microsoft.com/office/drawing/2014/main" id="{600A898A-C854-4786-87E7-C485F6912A2F}"/>
              </a:ext>
            </a:extLst>
          </p:cNvPr>
          <p:cNvGrpSpPr/>
          <p:nvPr userDrawn="1"/>
        </p:nvGrpSpPr>
        <p:grpSpPr bwMode="ltGray">
          <a:xfrm>
            <a:off x="6256117" y="-21839"/>
            <a:ext cx="5932086" cy="6890047"/>
            <a:chOff x="6256117" y="-21839"/>
            <a:chExt cx="5932086" cy="6890047"/>
          </a:xfrm>
        </p:grpSpPr>
        <p:grpSp>
          <p:nvGrpSpPr>
            <p:cNvPr id="81" name="Group 80">
              <a:extLst>
                <a:ext uri="{FF2B5EF4-FFF2-40B4-BE49-F238E27FC236}">
                  <a16:creationId xmlns:a16="http://schemas.microsoft.com/office/drawing/2014/main" id="{8D9CA146-06AE-4C41-BBB5-FFE4635CBDE6}"/>
                </a:ext>
              </a:extLst>
            </p:cNvPr>
            <p:cNvGrpSpPr/>
            <p:nvPr userDrawn="1"/>
          </p:nvGrpSpPr>
          <p:grpSpPr bwMode="ltGray">
            <a:xfrm>
              <a:off x="8507413" y="1457714"/>
              <a:ext cx="3680790" cy="5392441"/>
              <a:chOff x="8507413" y="1457714"/>
              <a:chExt cx="3680790" cy="5392441"/>
            </a:xfrm>
          </p:grpSpPr>
          <p:sp>
            <p:nvSpPr>
              <p:cNvPr id="90" name="Freeform: Shape 89">
                <a:extLst>
                  <a:ext uri="{FF2B5EF4-FFF2-40B4-BE49-F238E27FC236}">
                    <a16:creationId xmlns:a16="http://schemas.microsoft.com/office/drawing/2014/main" id="{BDBA5663-C5B3-4372-B1AA-94A07FBE9FD3}"/>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1" name="Freeform: Shape 90">
                <a:extLst>
                  <a:ext uri="{FF2B5EF4-FFF2-40B4-BE49-F238E27FC236}">
                    <a16:creationId xmlns:a16="http://schemas.microsoft.com/office/drawing/2014/main" id="{868E7265-3D30-408A-9F22-1EB9CA588431}"/>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2" name="Freeform: Shape 91">
                <a:extLst>
                  <a:ext uri="{FF2B5EF4-FFF2-40B4-BE49-F238E27FC236}">
                    <a16:creationId xmlns:a16="http://schemas.microsoft.com/office/drawing/2014/main" id="{B2B4FB48-4C28-4012-879B-0955C5093997}"/>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3" name="Freeform: Shape 92">
                <a:extLst>
                  <a:ext uri="{FF2B5EF4-FFF2-40B4-BE49-F238E27FC236}">
                    <a16:creationId xmlns:a16="http://schemas.microsoft.com/office/drawing/2014/main" id="{22046105-D07D-49DC-B65A-04EB6964352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4" name="Freeform: Shape 93">
                <a:extLst>
                  <a:ext uri="{FF2B5EF4-FFF2-40B4-BE49-F238E27FC236}">
                    <a16:creationId xmlns:a16="http://schemas.microsoft.com/office/drawing/2014/main" id="{2720B2B0-8839-4C92-BBA7-31E7CFE06A44}"/>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5" name="Freeform: Shape 94">
                <a:extLst>
                  <a:ext uri="{FF2B5EF4-FFF2-40B4-BE49-F238E27FC236}">
                    <a16:creationId xmlns:a16="http://schemas.microsoft.com/office/drawing/2014/main" id="{3EAE8122-1D82-45FA-B1B6-98A75212FF00}"/>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6" name="Freeform: Shape 95">
                <a:extLst>
                  <a:ext uri="{FF2B5EF4-FFF2-40B4-BE49-F238E27FC236}">
                    <a16:creationId xmlns:a16="http://schemas.microsoft.com/office/drawing/2014/main" id="{D5BBFB25-A9D6-4664-BF4B-CAC0A64ACD47}"/>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7" name="Freeform: Shape 96">
                <a:extLst>
                  <a:ext uri="{FF2B5EF4-FFF2-40B4-BE49-F238E27FC236}">
                    <a16:creationId xmlns:a16="http://schemas.microsoft.com/office/drawing/2014/main" id="{8E433664-1F69-4F21-AEC1-DDBE9B997B63}"/>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8" name="Freeform: Shape 97">
                <a:extLst>
                  <a:ext uri="{FF2B5EF4-FFF2-40B4-BE49-F238E27FC236}">
                    <a16:creationId xmlns:a16="http://schemas.microsoft.com/office/drawing/2014/main" id="{6B5B76C8-170D-40B3-B2C7-4F18EC517EA9}"/>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9" name="Freeform: Shape 98">
                <a:extLst>
                  <a:ext uri="{FF2B5EF4-FFF2-40B4-BE49-F238E27FC236}">
                    <a16:creationId xmlns:a16="http://schemas.microsoft.com/office/drawing/2014/main" id="{B3A78843-B151-477E-94AD-8DD0245356CE}"/>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0" name="Freeform: Shape 99">
                <a:extLst>
                  <a:ext uri="{FF2B5EF4-FFF2-40B4-BE49-F238E27FC236}">
                    <a16:creationId xmlns:a16="http://schemas.microsoft.com/office/drawing/2014/main" id="{3ED324A3-17D9-40A1-8B6A-18DB8AF36A3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1" name="Freeform: Shape 100">
                <a:extLst>
                  <a:ext uri="{FF2B5EF4-FFF2-40B4-BE49-F238E27FC236}">
                    <a16:creationId xmlns:a16="http://schemas.microsoft.com/office/drawing/2014/main" id="{A7016E04-41DC-4457-920D-65A74AEC96C2}"/>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2" name="Freeform: Shape 101">
                <a:extLst>
                  <a:ext uri="{FF2B5EF4-FFF2-40B4-BE49-F238E27FC236}">
                    <a16:creationId xmlns:a16="http://schemas.microsoft.com/office/drawing/2014/main" id="{13C02578-8557-4556-8330-9346C438C14E}"/>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3" name="Freeform: Shape 102">
                <a:extLst>
                  <a:ext uri="{FF2B5EF4-FFF2-40B4-BE49-F238E27FC236}">
                    <a16:creationId xmlns:a16="http://schemas.microsoft.com/office/drawing/2014/main" id="{08CC9854-5FB6-4E31-B505-F02E31DBA137}"/>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4" name="Freeform: Shape 103">
                <a:extLst>
                  <a:ext uri="{FF2B5EF4-FFF2-40B4-BE49-F238E27FC236}">
                    <a16:creationId xmlns:a16="http://schemas.microsoft.com/office/drawing/2014/main" id="{0D6513E3-39F2-417E-A0B7-F9C2337209F7}"/>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5" name="Freeform: Shape 104">
                <a:extLst>
                  <a:ext uri="{FF2B5EF4-FFF2-40B4-BE49-F238E27FC236}">
                    <a16:creationId xmlns:a16="http://schemas.microsoft.com/office/drawing/2014/main" id="{F2D4F738-2527-4052-9170-50B6058CDB31}"/>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cxnSp>
            <p:nvCxnSpPr>
              <p:cNvPr id="106" name="Straight Connector 105">
                <a:extLst>
                  <a:ext uri="{FF2B5EF4-FFF2-40B4-BE49-F238E27FC236}">
                    <a16:creationId xmlns:a16="http://schemas.microsoft.com/office/drawing/2014/main" id="{383DB303-ED02-4053-8B41-E1664593705D}"/>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82" name="Group 81">
              <a:extLst>
                <a:ext uri="{FF2B5EF4-FFF2-40B4-BE49-F238E27FC236}">
                  <a16:creationId xmlns:a16="http://schemas.microsoft.com/office/drawing/2014/main" id="{913EC4EF-19A3-42CC-9B68-A52C80575F47}"/>
                </a:ext>
              </a:extLst>
            </p:cNvPr>
            <p:cNvGrpSpPr/>
            <p:nvPr userDrawn="1"/>
          </p:nvGrpSpPr>
          <p:grpSpPr bwMode="ltGray">
            <a:xfrm>
              <a:off x="7545167" y="-21839"/>
              <a:ext cx="1192433" cy="1098538"/>
              <a:chOff x="7545167" y="-9139"/>
              <a:chExt cx="1192433" cy="1098538"/>
            </a:xfrm>
          </p:grpSpPr>
          <p:sp>
            <p:nvSpPr>
              <p:cNvPr id="87" name="Freeform: Shape 86">
                <a:extLst>
                  <a:ext uri="{FF2B5EF4-FFF2-40B4-BE49-F238E27FC236}">
                    <a16:creationId xmlns:a16="http://schemas.microsoft.com/office/drawing/2014/main" id="{ECF275BF-1709-4A94-A739-091F1A6A1B2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88" name="Freeform: Shape 87">
                <a:extLst>
                  <a:ext uri="{FF2B5EF4-FFF2-40B4-BE49-F238E27FC236}">
                    <a16:creationId xmlns:a16="http://schemas.microsoft.com/office/drawing/2014/main" id="{5FDFFB25-FCC9-4A93-BCAF-01426DB1A7B7}"/>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89" name="Freeform: Shape 88">
                <a:extLst>
                  <a:ext uri="{FF2B5EF4-FFF2-40B4-BE49-F238E27FC236}">
                    <a16:creationId xmlns:a16="http://schemas.microsoft.com/office/drawing/2014/main" id="{748D1CD3-1BF6-4754-A9A8-C17F6D904D1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nvGrpSpPr>
            <p:cNvPr id="83" name="Group 82">
              <a:extLst>
                <a:ext uri="{FF2B5EF4-FFF2-40B4-BE49-F238E27FC236}">
                  <a16:creationId xmlns:a16="http://schemas.microsoft.com/office/drawing/2014/main" id="{7B0426A5-EFEF-4075-AC25-7B15753656E0}"/>
                </a:ext>
              </a:extLst>
            </p:cNvPr>
            <p:cNvGrpSpPr/>
            <p:nvPr userDrawn="1"/>
          </p:nvGrpSpPr>
          <p:grpSpPr bwMode="ltGray">
            <a:xfrm>
              <a:off x="6256117" y="5896894"/>
              <a:ext cx="1057910" cy="971314"/>
              <a:chOff x="6256117" y="5896894"/>
              <a:chExt cx="1057910" cy="971314"/>
            </a:xfrm>
          </p:grpSpPr>
          <p:sp>
            <p:nvSpPr>
              <p:cNvPr id="84" name="Freeform: Shape 83">
                <a:extLst>
                  <a:ext uri="{FF2B5EF4-FFF2-40B4-BE49-F238E27FC236}">
                    <a16:creationId xmlns:a16="http://schemas.microsoft.com/office/drawing/2014/main" id="{E679E4B1-D087-4329-9579-6909339E21B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85" name="Freeform: Shape 84">
                <a:extLst>
                  <a:ext uri="{FF2B5EF4-FFF2-40B4-BE49-F238E27FC236}">
                    <a16:creationId xmlns:a16="http://schemas.microsoft.com/office/drawing/2014/main" id="{995C04D1-E711-4872-A970-5806EA02D63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86" name="Freeform: Shape 85">
                <a:extLst>
                  <a:ext uri="{FF2B5EF4-FFF2-40B4-BE49-F238E27FC236}">
                    <a16:creationId xmlns:a16="http://schemas.microsoft.com/office/drawing/2014/main" id="{D02ABF35-737F-478A-BB70-178397F692ED}"/>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Tree>
    <p:extLst>
      <p:ext uri="{BB962C8B-B14F-4D97-AF65-F5344CB8AC3E}">
        <p14:creationId xmlns:p14="http://schemas.microsoft.com/office/powerpoint/2010/main" val="3658412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80" name="Group 79">
            <a:extLst>
              <a:ext uri="{FF2B5EF4-FFF2-40B4-BE49-F238E27FC236}">
                <a16:creationId xmlns:a16="http://schemas.microsoft.com/office/drawing/2014/main" id="{521145ED-15B2-4878-88BA-BD52A6B7015F}"/>
              </a:ext>
            </a:extLst>
          </p:cNvPr>
          <p:cNvGrpSpPr/>
          <p:nvPr userDrawn="1"/>
        </p:nvGrpSpPr>
        <p:grpSpPr bwMode="ltGray">
          <a:xfrm>
            <a:off x="6256117" y="-21839"/>
            <a:ext cx="5932086" cy="6890047"/>
            <a:chOff x="6256117" y="-21839"/>
            <a:chExt cx="5932086" cy="6890047"/>
          </a:xfrm>
        </p:grpSpPr>
        <p:grpSp>
          <p:nvGrpSpPr>
            <p:cNvPr id="81" name="Group 80">
              <a:extLst>
                <a:ext uri="{FF2B5EF4-FFF2-40B4-BE49-F238E27FC236}">
                  <a16:creationId xmlns:a16="http://schemas.microsoft.com/office/drawing/2014/main" id="{6B6377E8-C20D-47BA-992C-78572A997980}"/>
                </a:ext>
              </a:extLst>
            </p:cNvPr>
            <p:cNvGrpSpPr/>
            <p:nvPr userDrawn="1"/>
          </p:nvGrpSpPr>
          <p:grpSpPr bwMode="ltGray">
            <a:xfrm>
              <a:off x="8507413" y="1457714"/>
              <a:ext cx="3680790" cy="5392441"/>
              <a:chOff x="8507413" y="1457714"/>
              <a:chExt cx="3680790" cy="5392441"/>
            </a:xfrm>
          </p:grpSpPr>
          <p:sp>
            <p:nvSpPr>
              <p:cNvPr id="90" name="Freeform: Shape 89">
                <a:extLst>
                  <a:ext uri="{FF2B5EF4-FFF2-40B4-BE49-F238E27FC236}">
                    <a16:creationId xmlns:a16="http://schemas.microsoft.com/office/drawing/2014/main" id="{3F341476-B728-4E0A-B2F8-6224A7A594D0}"/>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1" name="Freeform: Shape 90">
                <a:extLst>
                  <a:ext uri="{FF2B5EF4-FFF2-40B4-BE49-F238E27FC236}">
                    <a16:creationId xmlns:a16="http://schemas.microsoft.com/office/drawing/2014/main" id="{655D239E-00C3-427B-ADA7-1AC583BA2BFE}"/>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2" name="Freeform: Shape 91">
                <a:extLst>
                  <a:ext uri="{FF2B5EF4-FFF2-40B4-BE49-F238E27FC236}">
                    <a16:creationId xmlns:a16="http://schemas.microsoft.com/office/drawing/2014/main" id="{1932C6DD-9BF9-412C-B311-475A636BF050}"/>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3" name="Freeform: Shape 92">
                <a:extLst>
                  <a:ext uri="{FF2B5EF4-FFF2-40B4-BE49-F238E27FC236}">
                    <a16:creationId xmlns:a16="http://schemas.microsoft.com/office/drawing/2014/main" id="{FE1BBB77-4896-49FA-A7BB-E6425636C87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4" name="Freeform: Shape 93">
                <a:extLst>
                  <a:ext uri="{FF2B5EF4-FFF2-40B4-BE49-F238E27FC236}">
                    <a16:creationId xmlns:a16="http://schemas.microsoft.com/office/drawing/2014/main" id="{C15D4A7F-5951-43E0-B784-91AE08065FE2}"/>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5" name="Freeform: Shape 94">
                <a:extLst>
                  <a:ext uri="{FF2B5EF4-FFF2-40B4-BE49-F238E27FC236}">
                    <a16:creationId xmlns:a16="http://schemas.microsoft.com/office/drawing/2014/main" id="{A4506F70-FD55-4537-9265-9582326DB16F}"/>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6" name="Freeform: Shape 95">
                <a:extLst>
                  <a:ext uri="{FF2B5EF4-FFF2-40B4-BE49-F238E27FC236}">
                    <a16:creationId xmlns:a16="http://schemas.microsoft.com/office/drawing/2014/main" id="{B25C9439-322A-40A0-82D0-F9CDDFF9993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7" name="Freeform: Shape 96">
                <a:extLst>
                  <a:ext uri="{FF2B5EF4-FFF2-40B4-BE49-F238E27FC236}">
                    <a16:creationId xmlns:a16="http://schemas.microsoft.com/office/drawing/2014/main" id="{CB076121-8E6C-4E2C-A02D-B783C6A1FE4D}"/>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8" name="Freeform: Shape 97">
                <a:extLst>
                  <a:ext uri="{FF2B5EF4-FFF2-40B4-BE49-F238E27FC236}">
                    <a16:creationId xmlns:a16="http://schemas.microsoft.com/office/drawing/2014/main" id="{6C982970-DD23-4E38-BCF5-8584D6373C41}"/>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9" name="Freeform: Shape 98">
                <a:extLst>
                  <a:ext uri="{FF2B5EF4-FFF2-40B4-BE49-F238E27FC236}">
                    <a16:creationId xmlns:a16="http://schemas.microsoft.com/office/drawing/2014/main" id="{24A84652-31EB-4B12-A7F6-9AF3F288AA24}"/>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0" name="Freeform: Shape 99">
                <a:extLst>
                  <a:ext uri="{FF2B5EF4-FFF2-40B4-BE49-F238E27FC236}">
                    <a16:creationId xmlns:a16="http://schemas.microsoft.com/office/drawing/2014/main" id="{9FD19A90-52A2-49B2-97D6-CB49D9C5F77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1" name="Freeform: Shape 100">
                <a:extLst>
                  <a:ext uri="{FF2B5EF4-FFF2-40B4-BE49-F238E27FC236}">
                    <a16:creationId xmlns:a16="http://schemas.microsoft.com/office/drawing/2014/main" id="{0BAD7BE1-E615-4471-9A67-34C09C31CEBE}"/>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2" name="Freeform: Shape 101">
                <a:extLst>
                  <a:ext uri="{FF2B5EF4-FFF2-40B4-BE49-F238E27FC236}">
                    <a16:creationId xmlns:a16="http://schemas.microsoft.com/office/drawing/2014/main" id="{4F4EED83-41A8-49F9-9FBC-CC742F5858D5}"/>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3" name="Freeform: Shape 102">
                <a:extLst>
                  <a:ext uri="{FF2B5EF4-FFF2-40B4-BE49-F238E27FC236}">
                    <a16:creationId xmlns:a16="http://schemas.microsoft.com/office/drawing/2014/main" id="{AE3D32E2-E4E9-424E-9F48-CB015D973F08}"/>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4" name="Freeform: Shape 103">
                <a:extLst>
                  <a:ext uri="{FF2B5EF4-FFF2-40B4-BE49-F238E27FC236}">
                    <a16:creationId xmlns:a16="http://schemas.microsoft.com/office/drawing/2014/main" id="{64AD9ECB-18F6-4638-9690-D62A6BEEF137}"/>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5" name="Freeform: Shape 104">
                <a:extLst>
                  <a:ext uri="{FF2B5EF4-FFF2-40B4-BE49-F238E27FC236}">
                    <a16:creationId xmlns:a16="http://schemas.microsoft.com/office/drawing/2014/main" id="{DFC4E747-6DA2-4173-A258-108C6BF7426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cxnSp>
            <p:nvCxnSpPr>
              <p:cNvPr id="106" name="Straight Connector 105">
                <a:extLst>
                  <a:ext uri="{FF2B5EF4-FFF2-40B4-BE49-F238E27FC236}">
                    <a16:creationId xmlns:a16="http://schemas.microsoft.com/office/drawing/2014/main" id="{70F8EBB4-FE90-49B7-B59F-9D92659ABE93}"/>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82" name="Group 81">
              <a:extLst>
                <a:ext uri="{FF2B5EF4-FFF2-40B4-BE49-F238E27FC236}">
                  <a16:creationId xmlns:a16="http://schemas.microsoft.com/office/drawing/2014/main" id="{50F4A27F-4A04-436E-8826-90A82D706196}"/>
                </a:ext>
              </a:extLst>
            </p:cNvPr>
            <p:cNvGrpSpPr/>
            <p:nvPr userDrawn="1"/>
          </p:nvGrpSpPr>
          <p:grpSpPr bwMode="ltGray">
            <a:xfrm>
              <a:off x="7545167" y="-21839"/>
              <a:ext cx="1192433" cy="1098538"/>
              <a:chOff x="7545167" y="-9139"/>
              <a:chExt cx="1192433" cy="1098538"/>
            </a:xfrm>
          </p:grpSpPr>
          <p:sp>
            <p:nvSpPr>
              <p:cNvPr id="87" name="Freeform: Shape 86">
                <a:extLst>
                  <a:ext uri="{FF2B5EF4-FFF2-40B4-BE49-F238E27FC236}">
                    <a16:creationId xmlns:a16="http://schemas.microsoft.com/office/drawing/2014/main" id="{40E99431-397E-4CAB-8F7A-B2793EA36CAF}"/>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88" name="Freeform: Shape 87">
                <a:extLst>
                  <a:ext uri="{FF2B5EF4-FFF2-40B4-BE49-F238E27FC236}">
                    <a16:creationId xmlns:a16="http://schemas.microsoft.com/office/drawing/2014/main" id="{3DADE91B-55F9-4E86-B564-9784884412F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89" name="Freeform: Shape 88">
                <a:extLst>
                  <a:ext uri="{FF2B5EF4-FFF2-40B4-BE49-F238E27FC236}">
                    <a16:creationId xmlns:a16="http://schemas.microsoft.com/office/drawing/2014/main" id="{362FFDBE-61F4-4756-8B99-A38C509DACFD}"/>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nvGrpSpPr>
            <p:cNvPr id="83" name="Group 82">
              <a:extLst>
                <a:ext uri="{FF2B5EF4-FFF2-40B4-BE49-F238E27FC236}">
                  <a16:creationId xmlns:a16="http://schemas.microsoft.com/office/drawing/2014/main" id="{58D93CCD-027F-4CB1-9548-08F5DC9D53BC}"/>
                </a:ext>
              </a:extLst>
            </p:cNvPr>
            <p:cNvGrpSpPr/>
            <p:nvPr userDrawn="1"/>
          </p:nvGrpSpPr>
          <p:grpSpPr bwMode="ltGray">
            <a:xfrm>
              <a:off x="6256117" y="5896894"/>
              <a:ext cx="1057910" cy="971314"/>
              <a:chOff x="6256117" y="5896894"/>
              <a:chExt cx="1057910" cy="971314"/>
            </a:xfrm>
          </p:grpSpPr>
          <p:sp>
            <p:nvSpPr>
              <p:cNvPr id="84" name="Freeform: Shape 83">
                <a:extLst>
                  <a:ext uri="{FF2B5EF4-FFF2-40B4-BE49-F238E27FC236}">
                    <a16:creationId xmlns:a16="http://schemas.microsoft.com/office/drawing/2014/main" id="{5227E026-EC75-48A9-8BA2-8CB8AEFE3EF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85" name="Freeform: Shape 84">
                <a:extLst>
                  <a:ext uri="{FF2B5EF4-FFF2-40B4-BE49-F238E27FC236}">
                    <a16:creationId xmlns:a16="http://schemas.microsoft.com/office/drawing/2014/main" id="{05985668-D276-4809-8F42-9F2553DAF160}"/>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86" name="Freeform: Shape 85">
                <a:extLst>
                  <a:ext uri="{FF2B5EF4-FFF2-40B4-BE49-F238E27FC236}">
                    <a16:creationId xmlns:a16="http://schemas.microsoft.com/office/drawing/2014/main" id="{42A7E057-3EAA-4D8A-AFA1-50921E4240E2}"/>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Tree>
    <p:extLst>
      <p:ext uri="{BB962C8B-B14F-4D97-AF65-F5344CB8AC3E}">
        <p14:creationId xmlns:p14="http://schemas.microsoft.com/office/powerpoint/2010/main" val="1373614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nnouncement">
    <p:bg>
      <p:bgPr>
        <a:solidFill>
          <a:schemeClr val="accent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A75DF94-2E22-4C34-A075-B82AB37EB941}"/>
              </a:ext>
            </a:extLst>
          </p:cNvPr>
          <p:cNvGrpSpPr/>
          <p:nvPr userDrawn="1"/>
        </p:nvGrpSpPr>
        <p:grpSpPr>
          <a:xfrm>
            <a:off x="5540679" y="1364158"/>
            <a:ext cx="1110643" cy="1110643"/>
            <a:chOff x="5442557" y="1206016"/>
            <a:chExt cx="1306886" cy="1306886"/>
          </a:xfrm>
        </p:grpSpPr>
        <p:sp>
          <p:nvSpPr>
            <p:cNvPr id="4" name="Oval 3">
              <a:extLst>
                <a:ext uri="{FF2B5EF4-FFF2-40B4-BE49-F238E27FC236}">
                  <a16:creationId xmlns:a16="http://schemas.microsoft.com/office/drawing/2014/main" id="{E9C42B1D-638E-4FC3-A9A3-0FE8E786D142}"/>
                </a:ext>
              </a:extLst>
            </p:cNvPr>
            <p:cNvSpPr/>
            <p:nvPr/>
          </p:nvSpPr>
          <p:spPr bwMode="auto">
            <a:xfrm>
              <a:off x="5442557" y="1206016"/>
              <a:ext cx="1306886" cy="1306886"/>
            </a:xfrm>
            <a:prstGeom prst="ellipse">
              <a:avLst/>
            </a:prstGeom>
            <a:solidFill>
              <a:sysClr val="window" lastClr="FFFFFF"/>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0078D4"/>
                </a:solidFill>
                <a:effectLst/>
                <a:uLnTx/>
                <a:uFillTx/>
                <a:latin typeface="Segoe UI Semilight"/>
              </a:endParaRPr>
            </a:p>
          </p:txBody>
        </p:sp>
        <p:grpSp>
          <p:nvGrpSpPr>
            <p:cNvPr id="5" name="Group 4">
              <a:extLst>
                <a:ext uri="{FF2B5EF4-FFF2-40B4-BE49-F238E27FC236}">
                  <a16:creationId xmlns:a16="http://schemas.microsoft.com/office/drawing/2014/main" id="{3DADBADB-6A89-4CD8-B033-5F79D4FA0D48}"/>
                </a:ext>
              </a:extLst>
            </p:cNvPr>
            <p:cNvGrpSpPr/>
            <p:nvPr/>
          </p:nvGrpSpPr>
          <p:grpSpPr>
            <a:xfrm rot="20700000">
              <a:off x="5672191" y="1651795"/>
              <a:ext cx="847629" cy="415326"/>
              <a:chOff x="6573970" y="2344304"/>
              <a:chExt cx="744993" cy="365036"/>
            </a:xfrm>
          </p:grpSpPr>
          <p:grpSp>
            <p:nvGrpSpPr>
              <p:cNvPr id="6" name="Group 5">
                <a:extLst>
                  <a:ext uri="{FF2B5EF4-FFF2-40B4-BE49-F238E27FC236}">
                    <a16:creationId xmlns:a16="http://schemas.microsoft.com/office/drawing/2014/main" id="{6A20BEAB-C4CB-4CA5-8D5D-A98684957E4C}"/>
                  </a:ext>
                </a:extLst>
              </p:cNvPr>
              <p:cNvGrpSpPr/>
              <p:nvPr/>
            </p:nvGrpSpPr>
            <p:grpSpPr>
              <a:xfrm>
                <a:off x="6573970" y="2344304"/>
                <a:ext cx="493580" cy="365036"/>
                <a:chOff x="6573970" y="2365710"/>
                <a:chExt cx="493580" cy="365036"/>
              </a:xfrm>
            </p:grpSpPr>
            <p:sp>
              <p:nvSpPr>
                <p:cNvPr id="10" name="Rectangle 9">
                  <a:extLst>
                    <a:ext uri="{FF2B5EF4-FFF2-40B4-BE49-F238E27FC236}">
                      <a16:creationId xmlns:a16="http://schemas.microsoft.com/office/drawing/2014/main" id="{676CDCD1-7373-4752-9EF8-D9B11C3E98E6}"/>
                    </a:ext>
                  </a:extLst>
                </p:cNvPr>
                <p:cNvSpPr/>
                <p:nvPr/>
              </p:nvSpPr>
              <p:spPr>
                <a:xfrm>
                  <a:off x="6573970" y="2447692"/>
                  <a:ext cx="45719" cy="192970"/>
                </a:xfrm>
                <a:prstGeom prst="rect">
                  <a:avLst/>
                </a:prstGeom>
                <a:solidFill>
                  <a:schemeClr val="accent2"/>
                </a:solidFill>
                <a:ln w="571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11" name="Freeform 21">
                  <a:extLst>
                    <a:ext uri="{FF2B5EF4-FFF2-40B4-BE49-F238E27FC236}">
                      <a16:creationId xmlns:a16="http://schemas.microsoft.com/office/drawing/2014/main" id="{4F1DEC48-B505-41AC-B3F2-E30AED59C261}"/>
                    </a:ext>
                  </a:extLst>
                </p:cNvPr>
                <p:cNvSpPr/>
                <p:nvPr/>
              </p:nvSpPr>
              <p:spPr>
                <a:xfrm>
                  <a:off x="6619689" y="2365710"/>
                  <a:ext cx="447861" cy="356934"/>
                </a:xfrm>
                <a:custGeom>
                  <a:avLst/>
                  <a:gdLst>
                    <a:gd name="connsiteX0" fmla="*/ 282761 w 282761"/>
                    <a:gd name="connsiteY0" fmla="*/ 0 h 349914"/>
                    <a:gd name="connsiteX1" fmla="*/ 282761 w 282761"/>
                    <a:gd name="connsiteY1" fmla="*/ 349914 h 349914"/>
                    <a:gd name="connsiteX2" fmla="*/ 0 w 282761"/>
                    <a:gd name="connsiteY2" fmla="*/ 239975 h 349914"/>
                    <a:gd name="connsiteX3" fmla="*/ 0 w 282761"/>
                    <a:gd name="connsiteY3" fmla="*/ 109940 h 349914"/>
                    <a:gd name="connsiteX4" fmla="*/ 282761 w 282761"/>
                    <a:gd name="connsiteY4" fmla="*/ 0 h 349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761" h="349914">
                      <a:moveTo>
                        <a:pt x="282761" y="0"/>
                      </a:moveTo>
                      <a:lnTo>
                        <a:pt x="282761" y="349914"/>
                      </a:lnTo>
                      <a:lnTo>
                        <a:pt x="0" y="239975"/>
                      </a:lnTo>
                      <a:lnTo>
                        <a:pt x="0" y="109940"/>
                      </a:lnTo>
                      <a:lnTo>
                        <a:pt x="282761" y="0"/>
                      </a:lnTo>
                      <a:close/>
                    </a:path>
                  </a:pathLst>
                </a:custGeom>
                <a:solidFill>
                  <a:schemeClr val="accent2"/>
                </a:solidFill>
                <a:ln w="571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12" name="Oval 15">
                  <a:extLst>
                    <a:ext uri="{FF2B5EF4-FFF2-40B4-BE49-F238E27FC236}">
                      <a16:creationId xmlns:a16="http://schemas.microsoft.com/office/drawing/2014/main" id="{14EE299F-CA53-4122-B280-021071F0A4A0}"/>
                    </a:ext>
                  </a:extLst>
                </p:cNvPr>
                <p:cNvSpPr/>
                <p:nvPr/>
              </p:nvSpPr>
              <p:spPr>
                <a:xfrm rot="934555">
                  <a:off x="6731258" y="2656721"/>
                  <a:ext cx="148049" cy="74025"/>
                </a:xfrm>
                <a:custGeom>
                  <a:avLst/>
                  <a:gdLst>
                    <a:gd name="connsiteX0" fmla="*/ 0 w 225425"/>
                    <a:gd name="connsiteY0" fmla="*/ 112713 h 225425"/>
                    <a:gd name="connsiteX1" fmla="*/ 112713 w 225425"/>
                    <a:gd name="connsiteY1" fmla="*/ 0 h 225425"/>
                    <a:gd name="connsiteX2" fmla="*/ 225426 w 225425"/>
                    <a:gd name="connsiteY2" fmla="*/ 112713 h 225425"/>
                    <a:gd name="connsiteX3" fmla="*/ 112713 w 225425"/>
                    <a:gd name="connsiteY3" fmla="*/ 225426 h 225425"/>
                    <a:gd name="connsiteX4" fmla="*/ 0 w 225425"/>
                    <a:gd name="connsiteY4" fmla="*/ 112713 h 225425"/>
                    <a:gd name="connsiteX0" fmla="*/ 112713 w 225426"/>
                    <a:gd name="connsiteY0" fmla="*/ 0 h 225426"/>
                    <a:gd name="connsiteX1" fmla="*/ 225426 w 225426"/>
                    <a:gd name="connsiteY1" fmla="*/ 112713 h 225426"/>
                    <a:gd name="connsiteX2" fmla="*/ 112713 w 225426"/>
                    <a:gd name="connsiteY2" fmla="*/ 225426 h 225426"/>
                    <a:gd name="connsiteX3" fmla="*/ 0 w 225426"/>
                    <a:gd name="connsiteY3" fmla="*/ 112713 h 225426"/>
                    <a:gd name="connsiteX4" fmla="*/ 204153 w 225426"/>
                    <a:gd name="connsiteY4" fmla="*/ 91440 h 225426"/>
                    <a:gd name="connsiteX0" fmla="*/ 112713 w 225426"/>
                    <a:gd name="connsiteY0" fmla="*/ 0 h 225426"/>
                    <a:gd name="connsiteX1" fmla="*/ 225426 w 225426"/>
                    <a:gd name="connsiteY1" fmla="*/ 112713 h 225426"/>
                    <a:gd name="connsiteX2" fmla="*/ 112713 w 225426"/>
                    <a:gd name="connsiteY2" fmla="*/ 225426 h 225426"/>
                    <a:gd name="connsiteX3" fmla="*/ 0 w 225426"/>
                    <a:gd name="connsiteY3" fmla="*/ 112713 h 225426"/>
                    <a:gd name="connsiteX0" fmla="*/ 225426 w 225426"/>
                    <a:gd name="connsiteY0" fmla="*/ 0 h 112713"/>
                    <a:gd name="connsiteX1" fmla="*/ 112713 w 225426"/>
                    <a:gd name="connsiteY1" fmla="*/ 112713 h 112713"/>
                    <a:gd name="connsiteX2" fmla="*/ 0 w 225426"/>
                    <a:gd name="connsiteY2" fmla="*/ 0 h 112713"/>
                  </a:gdLst>
                  <a:ahLst/>
                  <a:cxnLst>
                    <a:cxn ang="0">
                      <a:pos x="connsiteX0" y="connsiteY0"/>
                    </a:cxn>
                    <a:cxn ang="0">
                      <a:pos x="connsiteX1" y="connsiteY1"/>
                    </a:cxn>
                    <a:cxn ang="0">
                      <a:pos x="connsiteX2" y="connsiteY2"/>
                    </a:cxn>
                  </a:cxnLst>
                  <a:rect l="l" t="t" r="r" b="b"/>
                  <a:pathLst>
                    <a:path w="225426" h="112713">
                      <a:moveTo>
                        <a:pt x="225426" y="0"/>
                      </a:moveTo>
                      <a:cubicBezTo>
                        <a:pt x="225426" y="62250"/>
                        <a:pt x="174963" y="112713"/>
                        <a:pt x="112713" y="112713"/>
                      </a:cubicBezTo>
                      <a:cubicBezTo>
                        <a:pt x="50463" y="112713"/>
                        <a:pt x="0" y="62250"/>
                        <a:pt x="0" y="0"/>
                      </a:cubicBezTo>
                    </a:path>
                  </a:pathLst>
                </a:custGeom>
                <a:noFill/>
                <a:ln w="57150" cap="flat" cmpd="sng" algn="ctr">
                  <a:solidFill>
                    <a:schemeClr val="accent2"/>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grpSp>
          <p:grpSp>
            <p:nvGrpSpPr>
              <p:cNvPr id="7" name="Group 6">
                <a:extLst>
                  <a:ext uri="{FF2B5EF4-FFF2-40B4-BE49-F238E27FC236}">
                    <a16:creationId xmlns:a16="http://schemas.microsoft.com/office/drawing/2014/main" id="{3E7E3808-FBAF-4F9A-9630-00D793DD1F94}"/>
                  </a:ext>
                </a:extLst>
              </p:cNvPr>
              <p:cNvGrpSpPr/>
              <p:nvPr/>
            </p:nvGrpSpPr>
            <p:grpSpPr>
              <a:xfrm rot="2700000">
                <a:off x="7031203" y="2386420"/>
                <a:ext cx="288813" cy="286706"/>
                <a:chOff x="6066285" y="1939474"/>
                <a:chExt cx="217487" cy="215900"/>
              </a:xfrm>
            </p:grpSpPr>
            <p:sp>
              <p:nvSpPr>
                <p:cNvPr id="8" name="Freeform 297">
                  <a:extLst>
                    <a:ext uri="{FF2B5EF4-FFF2-40B4-BE49-F238E27FC236}">
                      <a16:creationId xmlns:a16="http://schemas.microsoft.com/office/drawing/2014/main" id="{D6D03CD9-B8B0-4543-A0B0-FC5D97C21580}"/>
                    </a:ext>
                  </a:extLst>
                </p:cNvPr>
                <p:cNvSpPr>
                  <a:spLocks/>
                </p:cNvSpPr>
                <p:nvPr/>
              </p:nvSpPr>
              <p:spPr bwMode="auto">
                <a:xfrm>
                  <a:off x="6066285" y="1939474"/>
                  <a:ext cx="217487" cy="215900"/>
                </a:xfrm>
                <a:custGeom>
                  <a:avLst/>
                  <a:gdLst>
                    <a:gd name="T0" fmla="*/ 55 w 55"/>
                    <a:gd name="T1" fmla="*/ 55 h 55"/>
                    <a:gd name="T2" fmla="*/ 0 w 55"/>
                    <a:gd name="T3" fmla="*/ 0 h 55"/>
                  </a:gdLst>
                  <a:ahLst/>
                  <a:cxnLst>
                    <a:cxn ang="0">
                      <a:pos x="T0" y="T1"/>
                    </a:cxn>
                    <a:cxn ang="0">
                      <a:pos x="T2" y="T3"/>
                    </a:cxn>
                  </a:cxnLst>
                  <a:rect l="0" t="0" r="r" b="b"/>
                  <a:pathLst>
                    <a:path w="55" h="55">
                      <a:moveTo>
                        <a:pt x="55" y="55"/>
                      </a:moveTo>
                      <a:cubicBezTo>
                        <a:pt x="55" y="25"/>
                        <a:pt x="30" y="0"/>
                        <a:pt x="0" y="0"/>
                      </a:cubicBezTo>
                    </a:path>
                  </a:pathLst>
                </a:custGeom>
                <a:solidFill>
                  <a:srgbClr val="FFFFFF"/>
                </a:solidFill>
                <a:ln w="57150" cap="flat">
                  <a:solidFill>
                    <a:schemeClr val="accent3"/>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endParaRPr>
                </a:p>
              </p:txBody>
            </p:sp>
            <p:sp>
              <p:nvSpPr>
                <p:cNvPr id="9" name="Freeform 298">
                  <a:extLst>
                    <a:ext uri="{FF2B5EF4-FFF2-40B4-BE49-F238E27FC236}">
                      <a16:creationId xmlns:a16="http://schemas.microsoft.com/office/drawing/2014/main" id="{9766874B-7421-4830-975C-AE74157CCD3B}"/>
                    </a:ext>
                  </a:extLst>
                </p:cNvPr>
                <p:cNvSpPr>
                  <a:spLocks/>
                </p:cNvSpPr>
                <p:nvPr/>
              </p:nvSpPr>
              <p:spPr bwMode="auto">
                <a:xfrm>
                  <a:off x="6084881" y="2003428"/>
                  <a:ext cx="133350" cy="133350"/>
                </a:xfrm>
                <a:custGeom>
                  <a:avLst/>
                  <a:gdLst>
                    <a:gd name="T0" fmla="*/ 34 w 34"/>
                    <a:gd name="T1" fmla="*/ 34 h 34"/>
                    <a:gd name="T2" fmla="*/ 0 w 34"/>
                    <a:gd name="T3" fmla="*/ 0 h 34"/>
                  </a:gdLst>
                  <a:ahLst/>
                  <a:cxnLst>
                    <a:cxn ang="0">
                      <a:pos x="T0" y="T1"/>
                    </a:cxn>
                    <a:cxn ang="0">
                      <a:pos x="T2" y="T3"/>
                    </a:cxn>
                  </a:cxnLst>
                  <a:rect l="0" t="0" r="r" b="b"/>
                  <a:pathLst>
                    <a:path w="34" h="34">
                      <a:moveTo>
                        <a:pt x="34" y="34"/>
                      </a:moveTo>
                      <a:cubicBezTo>
                        <a:pt x="34" y="15"/>
                        <a:pt x="19" y="0"/>
                        <a:pt x="0" y="0"/>
                      </a:cubicBezTo>
                    </a:path>
                  </a:pathLst>
                </a:custGeom>
                <a:noFill/>
                <a:ln w="5715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endParaRPr>
                </a:p>
              </p:txBody>
            </p:sp>
          </p:grpSp>
        </p:grpSp>
      </p:grpSp>
      <p:sp>
        <p:nvSpPr>
          <p:cNvPr id="13" name="TextBox 12">
            <a:extLst>
              <a:ext uri="{FF2B5EF4-FFF2-40B4-BE49-F238E27FC236}">
                <a16:creationId xmlns:a16="http://schemas.microsoft.com/office/drawing/2014/main" id="{3A02E2CB-411C-47D9-B3C0-EED3ECB03500}"/>
              </a:ext>
            </a:extLst>
          </p:cNvPr>
          <p:cNvSpPr txBox="1"/>
          <p:nvPr userDrawn="1"/>
        </p:nvSpPr>
        <p:spPr>
          <a:xfrm>
            <a:off x="4619895" y="2910443"/>
            <a:ext cx="2952210" cy="584775"/>
          </a:xfrm>
          <a:prstGeom prst="rect">
            <a:avLst/>
          </a:prstGeom>
          <a:noFill/>
        </p:spPr>
        <p:txBody>
          <a:bodyPr wrap="square" lIns="91440" tIns="45720" rIns="91440" bIns="45720" rtlCol="0">
            <a:spAutoFit/>
          </a:bodyPr>
          <a:lstStyle/>
          <a:p>
            <a:pPr algn="ctr" defTabSz="896386" fontAlgn="base">
              <a:spcBef>
                <a:spcPct val="0"/>
              </a:spcBef>
              <a:spcAft>
                <a:spcPts val="1200"/>
              </a:spcAft>
              <a:defRPr/>
            </a:pPr>
            <a:r>
              <a:rPr lang="en-US" sz="3200" kern="0" dirty="0">
                <a:ln w="3175">
                  <a:noFill/>
                </a:ln>
                <a:gradFill>
                  <a:gsLst>
                    <a:gs pos="0">
                      <a:srgbClr val="FFFFFF"/>
                    </a:gs>
                    <a:gs pos="100000">
                      <a:srgbClr val="FFFFFF"/>
                    </a:gs>
                  </a:gsLst>
                  <a:lin ang="5400000" scaled="0"/>
                </a:gradFill>
                <a:cs typeface="Segoe UI" panose="020B0502040204020203" pitchFamily="34" charset="0"/>
              </a:rPr>
              <a:t> </a:t>
            </a:r>
            <a:r>
              <a:rPr lang="en-US" sz="3200" kern="0" dirty="0">
                <a:ln w="3175">
                  <a:noFill/>
                </a:ln>
                <a:gradFill>
                  <a:gsLst>
                    <a:gs pos="0">
                      <a:srgbClr val="FFFFFF"/>
                    </a:gs>
                    <a:gs pos="100000">
                      <a:srgbClr val="FFFFFF"/>
                    </a:gs>
                  </a:gsLst>
                  <a:lin ang="5400000" scaled="0"/>
                </a:gradFill>
                <a:cs typeface="Segoe UI Semibold" panose="020B0702040204020203" pitchFamily="34" charset="0"/>
              </a:rPr>
              <a:t>Announcing</a:t>
            </a:r>
          </a:p>
        </p:txBody>
      </p:sp>
      <p:sp>
        <p:nvSpPr>
          <p:cNvPr id="14" name="Title 13">
            <a:extLst>
              <a:ext uri="{FF2B5EF4-FFF2-40B4-BE49-F238E27FC236}">
                <a16:creationId xmlns:a16="http://schemas.microsoft.com/office/drawing/2014/main" id="{E43DC0B8-B96B-490B-AC9B-1292DB0651E5}"/>
              </a:ext>
            </a:extLst>
          </p:cNvPr>
          <p:cNvSpPr>
            <a:spLocks noGrp="1"/>
          </p:cNvSpPr>
          <p:nvPr>
            <p:ph type="title"/>
          </p:nvPr>
        </p:nvSpPr>
        <p:spPr>
          <a:xfrm>
            <a:off x="586740" y="3617137"/>
            <a:ext cx="11018520" cy="553998"/>
          </a:xfrm>
        </p:spPr>
        <p:txBody>
          <a:bodyPr/>
          <a:lstStyle>
            <a:lvl1pPr algn="ctr">
              <a:defRPr sz="3600">
                <a:solidFill>
                  <a:schemeClr val="bg1"/>
                </a:solidFill>
              </a:defRPr>
            </a:lvl1pPr>
          </a:lstStyle>
          <a:p>
            <a:r>
              <a:rPr lang="en-US" dirty="0"/>
              <a:t>Click to edit Master title style</a:t>
            </a:r>
          </a:p>
        </p:txBody>
      </p:sp>
      <p:sp>
        <p:nvSpPr>
          <p:cNvPr id="16" name="Text Placeholder 15">
            <a:extLst>
              <a:ext uri="{FF2B5EF4-FFF2-40B4-BE49-F238E27FC236}">
                <a16:creationId xmlns:a16="http://schemas.microsoft.com/office/drawing/2014/main" id="{E0FE0BD3-D221-4B45-9BAF-F141101B2571}"/>
              </a:ext>
            </a:extLst>
          </p:cNvPr>
          <p:cNvSpPr>
            <a:spLocks noGrp="1"/>
          </p:cNvSpPr>
          <p:nvPr>
            <p:ph type="body" sz="quarter" idx="10"/>
          </p:nvPr>
        </p:nvSpPr>
        <p:spPr>
          <a:xfrm>
            <a:off x="4426200" y="4258844"/>
            <a:ext cx="3339600" cy="276999"/>
          </a:xfrm>
        </p:spPr>
        <p:txBody>
          <a:bodyPr>
            <a:spAutoFit/>
          </a:bodyPr>
          <a:lstStyle>
            <a:lvl1pPr marL="0" indent="0" algn="ctr">
              <a:buNone/>
              <a:defRPr sz="1800">
                <a:solidFill>
                  <a:schemeClr val="bg1"/>
                </a:solidFill>
              </a:defRPr>
            </a:lvl1pPr>
            <a:lvl2pPr marL="228600" indent="0" algn="ctr">
              <a:buNone/>
              <a:defRPr>
                <a:solidFill>
                  <a:schemeClr val="bg1"/>
                </a:solidFill>
              </a:defRPr>
            </a:lvl2pPr>
            <a:lvl3pPr marL="457200" indent="0" algn="ctr">
              <a:buNone/>
              <a:defRPr>
                <a:solidFill>
                  <a:schemeClr val="bg1"/>
                </a:solidFill>
              </a:defRPr>
            </a:lvl3pPr>
            <a:lvl4pPr marL="661988" indent="0" algn="ctr">
              <a:buNone/>
              <a:defRPr>
                <a:solidFill>
                  <a:schemeClr val="bg1"/>
                </a:solidFill>
              </a:defRPr>
            </a:lvl4pPr>
            <a:lvl5pPr marL="855663" indent="0" algn="ctr">
              <a:buNone/>
              <a:defRPr>
                <a:solidFill>
                  <a:schemeClr val="bg1"/>
                </a:solidFill>
              </a:defRPr>
            </a:lvl5pPr>
          </a:lstStyle>
          <a:p>
            <a:pPr lvl="0"/>
            <a:r>
              <a:rPr lang="en-US" dirty="0"/>
              <a:t>Edit Master text styles</a:t>
            </a:r>
          </a:p>
        </p:txBody>
      </p:sp>
    </p:spTree>
    <p:extLst>
      <p:ext uri="{BB962C8B-B14F-4D97-AF65-F5344CB8AC3E}">
        <p14:creationId xmlns:p14="http://schemas.microsoft.com/office/powerpoint/2010/main" val="354952421"/>
      </p:ext>
    </p:extLst>
  </p:cSld>
  <p:clrMapOvr>
    <a:masterClrMapping/>
  </p:clrMapOvr>
  <p:transition>
    <p:fade/>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withEffect" p14:presetBounceEnd="50000">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14:bounceEnd="50000">
                                          <p:cBhvr additive="base">
                                            <p:cTn id="7" dur="500" fill="hold"/>
                                            <p:tgtEl>
                                              <p:spTgt spid="3"/>
                                            </p:tgtEl>
                                            <p:attrNameLst>
                                              <p:attrName>ppt_x</p:attrName>
                                            </p:attrNameLst>
                                          </p:cBhvr>
                                          <p:tavLst>
                                            <p:tav tm="0">
                                              <p:val>
                                                <p:strVal val="#ppt_x"/>
                                              </p:val>
                                            </p:tav>
                                            <p:tav tm="100000">
                                              <p:val>
                                                <p:strVal val="#ppt_x"/>
                                              </p:val>
                                            </p:tav>
                                          </p:tavLst>
                                        </p:anim>
                                        <p:anim calcmode="lin" valueType="num" p14:bounceEnd="50000">
                                          <p:cBhvr additive="base">
                                            <p:cTn id="8" dur="500" fill="hold"/>
                                            <p:tgtEl>
                                              <p:spTgt spid="3"/>
                                            </p:tgtEl>
                                            <p:attrNameLst>
                                              <p:attrName>ppt_y</p:attrName>
                                            </p:attrNameLst>
                                          </p:cBhvr>
                                          <p:tavLst>
                                            <p:tav tm="0">
                                              <p:val>
                                                <p:strVal val="0-#ppt_h/2"/>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500"/>
                                            <p:tgtEl>
                                              <p:spTgt spid="13"/>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14"/>
                                            </p:tgtEl>
                                            <p:attrNameLst>
                                              <p:attrName>style.visibility</p:attrName>
                                            </p:attrNameLst>
                                          </p:cBhvr>
                                          <p:to>
                                            <p:strVal val="visible"/>
                                          </p:to>
                                        </p:set>
                                        <p:animEffect transition="in" filter="fade">
                                          <p:cBhvr>
                                            <p:cTn id="14" dur="500"/>
                                            <p:tgtEl>
                                              <p:spTgt spid="14"/>
                                            </p:tgtEl>
                                          </p:cBhvr>
                                        </p:animEffect>
                                      </p:childTnLst>
                                    </p:cTn>
                                  </p:par>
                                  <p:par>
                                    <p:cTn id="15" presetID="10" presetClass="entr" presetSubtype="0" fill="hold" grpId="0" nodeType="withEffect">
                                      <p:stCondLst>
                                        <p:cond delay="200"/>
                                      </p:stCondLst>
                                      <p:childTnLst>
                                        <p:set>
                                          <p:cBhvr>
                                            <p:cTn id="16" dur="1" fill="hold">
                                              <p:stCondLst>
                                                <p:cond delay="0"/>
                                              </p:stCondLst>
                                            </p:cTn>
                                            <p:tgtEl>
                                              <p:spTgt spid="16">
                                                <p:txEl>
                                                  <p:pRg st="0" end="0"/>
                                                </p:txEl>
                                              </p:spTgt>
                                            </p:tgtEl>
                                            <p:attrNameLst>
                                              <p:attrName>style.visibility</p:attrName>
                                            </p:attrNameLst>
                                          </p:cBhvr>
                                          <p:to>
                                            <p:strVal val="visible"/>
                                          </p:to>
                                        </p:set>
                                        <p:animEffect transition="in" filter="fade">
                                          <p:cBhvr>
                                            <p:cTn id="17" dur="500"/>
                                            <p:tgtEl>
                                              <p:spTgt spid="1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6" grpId="0" build="p">
            <p:tmplLst>
              <p:tmpl lvl="1">
                <p:tnLst>
                  <p:par>
                    <p:cTn presetID="10" presetClass="entr" presetSubtype="0" fill="hold" nodeType="withEffect">
                      <p:stCondLst>
                        <p:cond delay="2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0-#ppt_h/2"/>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500"/>
                                            <p:tgtEl>
                                              <p:spTgt spid="13"/>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14"/>
                                            </p:tgtEl>
                                            <p:attrNameLst>
                                              <p:attrName>style.visibility</p:attrName>
                                            </p:attrNameLst>
                                          </p:cBhvr>
                                          <p:to>
                                            <p:strVal val="visible"/>
                                          </p:to>
                                        </p:set>
                                        <p:animEffect transition="in" filter="fade">
                                          <p:cBhvr>
                                            <p:cTn id="14" dur="500"/>
                                            <p:tgtEl>
                                              <p:spTgt spid="14"/>
                                            </p:tgtEl>
                                          </p:cBhvr>
                                        </p:animEffect>
                                      </p:childTnLst>
                                    </p:cTn>
                                  </p:par>
                                  <p:par>
                                    <p:cTn id="15" presetID="10" presetClass="entr" presetSubtype="0" fill="hold" grpId="0" nodeType="withEffect">
                                      <p:stCondLst>
                                        <p:cond delay="200"/>
                                      </p:stCondLst>
                                      <p:childTnLst>
                                        <p:set>
                                          <p:cBhvr>
                                            <p:cTn id="16" dur="1" fill="hold">
                                              <p:stCondLst>
                                                <p:cond delay="0"/>
                                              </p:stCondLst>
                                            </p:cTn>
                                            <p:tgtEl>
                                              <p:spTgt spid="16">
                                                <p:txEl>
                                                  <p:pRg st="0" end="0"/>
                                                </p:txEl>
                                              </p:spTgt>
                                            </p:tgtEl>
                                            <p:attrNameLst>
                                              <p:attrName>style.visibility</p:attrName>
                                            </p:attrNameLst>
                                          </p:cBhvr>
                                          <p:to>
                                            <p:strVal val="visible"/>
                                          </p:to>
                                        </p:set>
                                        <p:animEffect transition="in" filter="fade">
                                          <p:cBhvr>
                                            <p:cTn id="17" dur="500"/>
                                            <p:tgtEl>
                                              <p:spTgt spid="1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6" grpId="0" build="p">
            <p:tmplLst>
              <p:tmpl lvl="1">
                <p:tnLst>
                  <p:par>
                    <p:cTn presetID="10" presetClass="entr" presetSubtype="0" fill="hold" nodeType="withEffect">
                      <p:stCondLst>
                        <p:cond delay="2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Fallback>
  </mc:AlternateContent>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50/50 spli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A7B43C2-C40B-401A-92F0-391A3194C2DD}"/>
              </a:ext>
            </a:extLst>
          </p:cNvPr>
          <p:cNvSpPr/>
          <p:nvPr userDrawn="1"/>
        </p:nvSpPr>
        <p:spPr bwMode="auto">
          <a:xfrm>
            <a:off x="0" y="0"/>
            <a:ext cx="6096000" cy="6858000"/>
          </a:xfrm>
          <a:prstGeom prst="rect">
            <a:avLst/>
          </a:prstGeom>
          <a:solidFill>
            <a:schemeClr val="accent2"/>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a:extLst>
              <a:ext uri="{FF2B5EF4-FFF2-40B4-BE49-F238E27FC236}">
                <a16:creationId xmlns:a16="http://schemas.microsoft.com/office/drawing/2014/main" id="{9DB76D19-656B-42E2-8D39-931AA8991436}"/>
              </a:ext>
            </a:extLst>
          </p:cNvPr>
          <p:cNvSpPr>
            <a:spLocks noGrp="1"/>
          </p:cNvSpPr>
          <p:nvPr>
            <p:ph type="title"/>
          </p:nvPr>
        </p:nvSpPr>
        <p:spPr>
          <a:xfrm>
            <a:off x="588263" y="2875002"/>
            <a:ext cx="4967806" cy="1107996"/>
          </a:xfrm>
        </p:spPr>
        <p:txBody>
          <a:bodyPr anchor="b"/>
          <a:lstStyle>
            <a:lvl1pPr>
              <a:defRPr sz="36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D4D7CEB9-19A7-40E6-B009-4587AFBBD5E8}"/>
              </a:ext>
            </a:extLst>
          </p:cNvPr>
          <p:cNvSpPr>
            <a:spLocks noGrp="1"/>
          </p:cNvSpPr>
          <p:nvPr>
            <p:ph type="body" sz="quarter" idx="10"/>
          </p:nvPr>
        </p:nvSpPr>
        <p:spPr>
          <a:xfrm>
            <a:off x="588963" y="3982998"/>
            <a:ext cx="4967106" cy="276999"/>
          </a:xfrm>
        </p:spPr>
        <p:txBody>
          <a:bodyPr/>
          <a:lstStyle>
            <a:lvl1pPr marL="0" indent="0">
              <a:buNone/>
              <a:defRPr sz="1800">
                <a:solidFill>
                  <a:schemeClr val="bg1"/>
                </a:solidFill>
              </a:defRPr>
            </a:lvl1pPr>
            <a:lvl2pPr marL="22860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p:txBody>
      </p:sp>
    </p:spTree>
    <p:extLst>
      <p:ext uri="{BB962C8B-B14F-4D97-AF65-F5344CB8AC3E}">
        <p14:creationId xmlns:p14="http://schemas.microsoft.com/office/powerpoint/2010/main" val="227290784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1573103"/>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Blan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9192108"/>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955687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3722916"/>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5884585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6105902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spcBef>
                <a:spcPts val="1200"/>
              </a:spcBef>
              <a:defRPr/>
            </a:lvl1pPr>
          </a:lstStyle>
          <a:p>
            <a:r>
              <a:rPr lang="en-US"/>
              <a:t>Click to edit Master title style</a:t>
            </a:r>
          </a:p>
        </p:txBody>
      </p:sp>
      <p:sp>
        <p:nvSpPr>
          <p:cNvPr id="3" name="Text Placeholder 2"/>
          <p:cNvSpPr>
            <a:spLocks noGrp="1"/>
          </p:cNvSpPr>
          <p:nvPr>
            <p:ph type="body" sz="quarter" idx="10"/>
          </p:nvPr>
        </p:nvSpPr>
        <p:spPr>
          <a:xfrm>
            <a:off x="584200" y="1435497"/>
            <a:ext cx="11018520" cy="1489639"/>
          </a:xfrm>
        </p:spPr>
        <p:txBody>
          <a:bodyPr/>
          <a:lstStyle>
            <a:lvl1pPr>
              <a:spcBef>
                <a:spcPts val="1000"/>
              </a:spcBef>
              <a:defRPr sz="2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9849772"/>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Light">
    <p:bg bwMode="gray">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48586" y="6121376"/>
            <a:ext cx="1254995" cy="269134"/>
          </a:xfrm>
          <a:prstGeom prst="rect">
            <a:avLst/>
          </a:prstGeom>
        </p:spPr>
      </p:pic>
      <p:sp>
        <p:nvSpPr>
          <p:cNvPr id="7" name="Text Placeholder 14"/>
          <p:cNvSpPr>
            <a:spLocks noGrp="1"/>
          </p:cNvSpPr>
          <p:nvPr>
            <p:ph type="body" sz="quarter" idx="15" hasCustomPrompt="1"/>
          </p:nvPr>
        </p:nvSpPr>
        <p:spPr>
          <a:xfrm>
            <a:off x="267682" y="291070"/>
            <a:ext cx="3587256" cy="567015"/>
          </a:xfrm>
        </p:spPr>
        <p:txBody>
          <a:bodyPr lIns="182880" tIns="146304" rIns="182880" bIns="146304"/>
          <a:lstStyle>
            <a:lvl1pPr marL="0" indent="0">
              <a:buNone/>
              <a:defRPr sz="1961">
                <a:gradFill>
                  <a:gsLst>
                    <a:gs pos="0">
                      <a:schemeClr val="tx1"/>
                    </a:gs>
                    <a:gs pos="100000">
                      <a:schemeClr val="tx1"/>
                    </a:gs>
                  </a:gsLst>
                  <a:lin ang="5400000" scaled="0"/>
                </a:gradFill>
                <a:latin typeface="+mn-lt"/>
              </a:defRPr>
            </a:lvl1pPr>
          </a:lstStyle>
          <a:p>
            <a:pPr lvl="0"/>
            <a:r>
              <a:rPr lang="en-US" dirty="0"/>
              <a:t>Session Code</a:t>
            </a:r>
          </a:p>
        </p:txBody>
      </p:sp>
    </p:spTree>
    <p:extLst>
      <p:ext uri="{BB962C8B-B14F-4D97-AF65-F5344CB8AC3E}">
        <p14:creationId xmlns:p14="http://schemas.microsoft.com/office/powerpoint/2010/main" val="33891191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Dark">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54819" y="6116754"/>
            <a:ext cx="1248592" cy="268966"/>
          </a:xfrm>
          <a:prstGeom prst="rect">
            <a:avLst/>
          </a:prstGeom>
        </p:spPr>
      </p:pic>
      <p:sp>
        <p:nvSpPr>
          <p:cNvPr id="6" name="Text Placeholder 14"/>
          <p:cNvSpPr>
            <a:spLocks noGrp="1"/>
          </p:cNvSpPr>
          <p:nvPr>
            <p:ph type="body" sz="quarter" idx="15" hasCustomPrompt="1"/>
          </p:nvPr>
        </p:nvSpPr>
        <p:spPr>
          <a:xfrm>
            <a:off x="267682" y="291070"/>
            <a:ext cx="3587256" cy="567015"/>
          </a:xfrm>
        </p:spPr>
        <p:txBody>
          <a:bodyPr lIns="182880" tIns="146304" rIns="182880" bIns="146304"/>
          <a:lstStyle>
            <a:lvl1pPr marL="0" indent="0">
              <a:buNone/>
              <a:defRPr sz="1961">
                <a:gradFill>
                  <a:gsLst>
                    <a:gs pos="0">
                      <a:schemeClr val="tx1"/>
                    </a:gs>
                    <a:gs pos="100000">
                      <a:schemeClr val="tx1"/>
                    </a:gs>
                  </a:gsLst>
                  <a:lin ang="5400000" scaled="0"/>
                </a:gradFill>
                <a:latin typeface="+mn-lt"/>
              </a:defRPr>
            </a:lvl1pPr>
          </a:lstStyle>
          <a:p>
            <a:pPr lvl="0"/>
            <a:r>
              <a:rPr lang="en-US" dirty="0"/>
              <a:t>Session Code</a:t>
            </a:r>
          </a:p>
        </p:txBody>
      </p:sp>
    </p:spTree>
    <p:extLst>
      <p:ext uri="{BB962C8B-B14F-4D97-AF65-F5344CB8AC3E}">
        <p14:creationId xmlns:p14="http://schemas.microsoft.com/office/powerpoint/2010/main" val="41767102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13B48C3B-2CDD-41BD-82BC-F143BCAFB7BC}"/>
              </a:ext>
            </a:extLst>
          </p:cNvPr>
          <p:cNvSpPr txBox="1">
            <a:spLocks/>
          </p:cNvSpPr>
          <p:nvPr userDrawn="1"/>
        </p:nvSpPr>
        <p:spPr>
          <a:xfrm>
            <a:off x="0" y="0"/>
            <a:ext cx="5399314" cy="6858000"/>
          </a:xfrm>
          <a:prstGeom prst="rect">
            <a:avLst/>
          </a:prstGeom>
          <a:solidFill>
            <a:srgbClr val="0078D7"/>
          </a:solidFill>
        </p:spPr>
        <p:txBody>
          <a:bodyPr vert="horz" wrap="square" lIns="91414" tIns="45706" rIns="91414" bIns="45706" rtlCol="0" anchor="ctr">
            <a:norm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14192">
              <a:lnSpc>
                <a:spcPct val="70000"/>
              </a:lnSpc>
            </a:pPr>
            <a:endParaRPr sz="3528" b="1" spc="0" dirty="0">
              <a:solidFill>
                <a:srgbClr val="00BCF2"/>
              </a:solidFill>
              <a:latin typeface="Segoe UI Semilight"/>
            </a:endParaRPr>
          </a:p>
        </p:txBody>
      </p:sp>
      <p:sp>
        <p:nvSpPr>
          <p:cNvPr id="2" name="Title 1">
            <a:extLst>
              <a:ext uri="{FF2B5EF4-FFF2-40B4-BE49-F238E27FC236}">
                <a16:creationId xmlns:a16="http://schemas.microsoft.com/office/drawing/2014/main" id="{FC399A4E-A611-49AC-AC72-6257819D2BFA}"/>
              </a:ext>
            </a:extLst>
          </p:cNvPr>
          <p:cNvSpPr>
            <a:spLocks noGrp="1"/>
          </p:cNvSpPr>
          <p:nvPr>
            <p:ph type="title"/>
          </p:nvPr>
        </p:nvSpPr>
        <p:spPr>
          <a:xfrm>
            <a:off x="269241" y="2771578"/>
            <a:ext cx="5130074" cy="1314847"/>
          </a:xfrm>
        </p:spPr>
        <p:txBody>
          <a:bodyPr vert="horz" wrap="square" lIns="146304" tIns="91440" rIns="146304" bIns="91440" rtlCol="0" anchor="ctr" anchorCtr="0">
            <a:spAutoFit/>
          </a:bodyPr>
          <a:lstStyle>
            <a:lvl1pPr>
              <a:defRPr lang="en-US" sz="3600" b="1" spc="0">
                <a:solidFill>
                  <a:schemeClr val="bg2">
                    <a:lumMod val="10000"/>
                  </a:schemeClr>
                </a:solidFill>
                <a:latin typeface="Segoe UI Semibold" charset="0"/>
                <a:ea typeface="Segoe UI Semibold" charset="0"/>
                <a:cs typeface="Segoe UI Semibold" charset="0"/>
              </a:defRPr>
            </a:lvl1pPr>
          </a:lstStyle>
          <a:p>
            <a:pPr marL="0" lvl="0">
              <a:lnSpc>
                <a:spcPct val="100000"/>
              </a:lnSpc>
            </a:pPr>
            <a:r>
              <a:rPr lang="en-US" dirty="0"/>
              <a:t>Click to edit Master title style</a:t>
            </a:r>
          </a:p>
        </p:txBody>
      </p:sp>
      <p:sp>
        <p:nvSpPr>
          <p:cNvPr id="14" name="Text Placeholder 13">
            <a:extLst>
              <a:ext uri="{FF2B5EF4-FFF2-40B4-BE49-F238E27FC236}">
                <a16:creationId xmlns:a16="http://schemas.microsoft.com/office/drawing/2014/main" id="{C201B679-1DA6-45FD-9570-713EF3F4903A}"/>
              </a:ext>
            </a:extLst>
          </p:cNvPr>
          <p:cNvSpPr>
            <a:spLocks noGrp="1"/>
          </p:cNvSpPr>
          <p:nvPr>
            <p:ph type="body" sz="quarter" idx="11"/>
          </p:nvPr>
        </p:nvSpPr>
        <p:spPr>
          <a:xfrm>
            <a:off x="6350000" y="1436125"/>
            <a:ext cx="4700858" cy="1562912"/>
          </a:xfrm>
        </p:spPr>
        <p:txBody>
          <a:bodyPr/>
          <a:lstStyle>
            <a:lvl1pPr>
              <a:defRPr sz="2400"/>
            </a:lvl1pPr>
            <a:lvl2pPr>
              <a:defRPr sz="1800">
                <a:latin typeface="+mj-lt"/>
              </a:defRPr>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28666461"/>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608647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FFFFFF"/>
              </a:solidFill>
            </a:endParaRPr>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289511"/>
            <a:ext cx="5021217"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225">
              <a:lnSpc>
                <a:spcPct val="100000"/>
              </a:lnSpc>
            </a:pPr>
            <a:r>
              <a:rPr lang="en-US" dirty="0"/>
              <a:t>Click to edit Master title style</a:t>
            </a:r>
          </a:p>
        </p:txBody>
      </p:sp>
    </p:spTree>
    <p:extLst>
      <p:ext uri="{BB962C8B-B14F-4D97-AF65-F5344CB8AC3E}">
        <p14:creationId xmlns:p14="http://schemas.microsoft.com/office/powerpoint/2010/main" val="296360598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84654576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7"/>
            <a:ext cx="11653523" cy="201493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5381851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7"/>
            <a:ext cx="11653523" cy="2014938"/>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3703199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78309"/>
          </a:xfrm>
        </p:spPr>
        <p:txBody>
          <a:bodyPr>
            <a:spAutoFit/>
          </a:bodyPr>
          <a:lstStyle>
            <a:lvl1pPr>
              <a:defRPr sz="3920">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373914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78309"/>
          </a:xfrm>
        </p:spPr>
        <p:txBody>
          <a:bodyPr>
            <a:spAutoFit/>
          </a:bodyPr>
          <a:lstStyle>
            <a:lvl1pPr>
              <a:defRPr sz="392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4819446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710084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05001211"/>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24885984"/>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5480313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5722435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4536163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9775701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1301629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946793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893715"/>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01929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defRPr/>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83252"/>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615244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978123"/>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4"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4" y="3083652"/>
            <a:ext cx="3227129" cy="692057"/>
          </a:xfrm>
          <a:prstGeom prst="rect">
            <a:avLst/>
          </a:prstGeom>
        </p:spPr>
      </p:pic>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defRPr/>
            </a:pPr>
            <a:r>
              <a:rPr lang="en-US" sz="686" dirty="0">
                <a:gradFill>
                  <a:gsLst>
                    <a:gs pos="0">
                      <a:srgbClr val="505050"/>
                    </a:gs>
                    <a:gs pos="100000">
                      <a:srgbClr val="505050"/>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191045723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985541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Customer Stor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76A074B-9067-4E0C-B635-DF2C72A048EE}"/>
              </a:ext>
            </a:extLst>
          </p:cNvPr>
          <p:cNvSpPr txBox="1">
            <a:spLocks/>
          </p:cNvSpPr>
          <p:nvPr userDrawn="1"/>
        </p:nvSpPr>
        <p:spPr>
          <a:xfrm>
            <a:off x="-2" y="1"/>
            <a:ext cx="5114927" cy="899665"/>
          </a:xfrm>
          <a:prstGeom prst="rect">
            <a:avLst/>
          </a:prstGeom>
        </p:spPr>
        <p:txBody>
          <a:bodyPr lIns="548562" tIns="548562">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spcBef>
                <a:spcPts val="1200"/>
              </a:spcBef>
              <a:defRPr/>
            </a:pPr>
            <a:r>
              <a:rPr sz="2800" cap="all" spc="500" dirty="0">
                <a:solidFill>
                  <a:srgbClr val="000000"/>
                </a:solidFill>
                <a:latin typeface="Segoe UI Semilight" charset="0"/>
                <a:ea typeface="Segoe UI Semilight" charset="0"/>
                <a:cs typeface="Segoe UI Semilight" charset="0"/>
              </a:rPr>
              <a:t>Customer story</a:t>
            </a:r>
          </a:p>
        </p:txBody>
      </p:sp>
      <p:sp>
        <p:nvSpPr>
          <p:cNvPr id="10" name="Title 9">
            <a:extLst>
              <a:ext uri="{FF2B5EF4-FFF2-40B4-BE49-F238E27FC236}">
                <a16:creationId xmlns:a16="http://schemas.microsoft.com/office/drawing/2014/main" id="{E674C08C-0E75-426C-AB87-5D56A74CB306}"/>
              </a:ext>
            </a:extLst>
          </p:cNvPr>
          <p:cNvSpPr>
            <a:spLocks noGrp="1"/>
          </p:cNvSpPr>
          <p:nvPr>
            <p:ph type="title"/>
          </p:nvPr>
        </p:nvSpPr>
        <p:spPr>
          <a:xfrm>
            <a:off x="405311" y="3027269"/>
            <a:ext cx="11655840" cy="899665"/>
          </a:xfrm>
        </p:spPr>
        <p:txBody>
          <a:bodyPr/>
          <a:lstStyle>
            <a:lvl1pPr>
              <a:defRPr lang="en-US" sz="4800" b="1" kern="1200" cap="none" spc="0" baseline="0" dirty="0" smtClean="0">
                <a:ln w="3175">
                  <a:noFill/>
                </a:ln>
                <a:solidFill>
                  <a:srgbClr val="353535"/>
                </a:solidFill>
                <a:effectLst/>
                <a:latin typeface="Segoe UI Semibold" charset="0"/>
                <a:ea typeface="Segoe UI Semibold" charset="0"/>
                <a:cs typeface="Segoe UI Semibold" charset="0"/>
              </a:defRPr>
            </a:lvl1pPr>
          </a:lstStyle>
          <a:p>
            <a:r>
              <a:rPr lang="en-US" dirty="0"/>
              <a:t>Click to edit Master title style</a:t>
            </a:r>
          </a:p>
        </p:txBody>
      </p:sp>
    </p:spTree>
    <p:extLst>
      <p:ext uri="{BB962C8B-B14F-4D97-AF65-F5344CB8AC3E}">
        <p14:creationId xmlns:p14="http://schemas.microsoft.com/office/powerpoint/2010/main" val="4360839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Demo slide">
    <p:bg>
      <p:bgPr>
        <a:solidFill>
          <a:schemeClr val="accent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B9A9BEB-D709-49FE-A6F9-AB9E06C6ED0D}"/>
              </a:ext>
            </a:extLst>
          </p:cNvPr>
          <p:cNvSpPr txBox="1">
            <a:spLocks/>
          </p:cNvSpPr>
          <p:nvPr userDrawn="1"/>
        </p:nvSpPr>
        <p:spPr>
          <a:xfrm>
            <a:off x="-1" y="1"/>
            <a:ext cx="3813171" cy="899665"/>
          </a:xfrm>
          <a:prstGeom prst="rect">
            <a:avLst/>
          </a:prstGeom>
        </p:spPr>
        <p:txBody>
          <a:bodyPr lIns="548562" tIns="548562">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spcBef>
                <a:spcPts val="1200"/>
              </a:spcBef>
              <a:defRPr/>
            </a:pPr>
            <a:r>
              <a:rPr sz="2800" cap="all" spc="500" dirty="0">
                <a:solidFill>
                  <a:srgbClr val="FFFFFF"/>
                </a:solidFill>
                <a:latin typeface="Segoe UI Semilight" charset="0"/>
                <a:ea typeface="Segoe UI Semilight" charset="0"/>
                <a:cs typeface="Segoe UI Semilight" charset="0"/>
              </a:rPr>
              <a:t>DEMO</a:t>
            </a:r>
          </a:p>
        </p:txBody>
      </p:sp>
      <p:sp>
        <p:nvSpPr>
          <p:cNvPr id="7" name="Title 1">
            <a:extLst>
              <a:ext uri="{FF2B5EF4-FFF2-40B4-BE49-F238E27FC236}">
                <a16:creationId xmlns:a16="http://schemas.microsoft.com/office/drawing/2014/main" id="{D6404DEB-A2FD-47E2-863C-BC52EB636058}"/>
              </a:ext>
            </a:extLst>
          </p:cNvPr>
          <p:cNvSpPr>
            <a:spLocks noGrp="1"/>
          </p:cNvSpPr>
          <p:nvPr>
            <p:ph type="title" hasCustomPrompt="1"/>
          </p:nvPr>
        </p:nvSpPr>
        <p:spPr>
          <a:xfrm>
            <a:off x="269240" y="3084533"/>
            <a:ext cx="9859116" cy="738664"/>
          </a:xfrm>
          <a:noFill/>
        </p:spPr>
        <p:txBody>
          <a:bodyPr tIns="91440" bIns="91440" anchor="t" anchorCtr="0">
            <a:spAutoFit/>
          </a:bodyPr>
          <a:lstStyle>
            <a:lvl1pPr>
              <a:defRPr lang="en-US" sz="40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Demo title</a:t>
            </a:r>
          </a:p>
        </p:txBody>
      </p:sp>
    </p:spTree>
    <p:extLst>
      <p:ext uri="{BB962C8B-B14F-4D97-AF65-F5344CB8AC3E}">
        <p14:creationId xmlns:p14="http://schemas.microsoft.com/office/powerpoint/2010/main" val="16946909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4"/>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4" y="2914178"/>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2"/>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2"/>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4" y="2059076"/>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10"/>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40"/>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4" y="1203974"/>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8"/>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8"/>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4" y="348872"/>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6"/>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2"/>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4" y="6334586"/>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2"/>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50"/>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4" y="5479484"/>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8"/>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8"/>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4" y="4624382"/>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6"/>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6"/>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4" y="3769280"/>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4"/>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0919662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Light">
    <p:bg bwMode="gray">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6" y="6121376"/>
            <a:ext cx="1254995" cy="269134"/>
          </a:xfrm>
          <a:prstGeom prst="rect">
            <a:avLst/>
          </a:prstGeom>
        </p:spPr>
      </p:pic>
      <p:sp>
        <p:nvSpPr>
          <p:cNvPr id="7" name="Text Placeholder 14"/>
          <p:cNvSpPr>
            <a:spLocks noGrp="1"/>
          </p:cNvSpPr>
          <p:nvPr>
            <p:ph type="body" sz="quarter" idx="15" hasCustomPrompt="1"/>
          </p:nvPr>
        </p:nvSpPr>
        <p:spPr>
          <a:xfrm>
            <a:off x="267682" y="291070"/>
            <a:ext cx="3587256" cy="567015"/>
          </a:xfrm>
        </p:spPr>
        <p:txBody>
          <a:bodyPr lIns="182880" tIns="146304" rIns="182880" bIns="146304"/>
          <a:lstStyle>
            <a:lvl1pPr marL="0" indent="0">
              <a:buNone/>
              <a:defRPr sz="1961">
                <a:gradFill>
                  <a:gsLst>
                    <a:gs pos="0">
                      <a:schemeClr val="tx1"/>
                    </a:gs>
                    <a:gs pos="100000">
                      <a:schemeClr val="tx1"/>
                    </a:gs>
                  </a:gsLst>
                  <a:lin ang="5400000" scaled="0"/>
                </a:gradFill>
                <a:latin typeface="+mn-lt"/>
              </a:defRPr>
            </a:lvl1pPr>
          </a:lstStyle>
          <a:p>
            <a:pPr lvl="0"/>
            <a:r>
              <a:rPr lang="en-US"/>
              <a:t>Session Code</a:t>
            </a:r>
          </a:p>
        </p:txBody>
      </p:sp>
    </p:spTree>
    <p:extLst>
      <p:ext uri="{BB962C8B-B14F-4D97-AF65-F5344CB8AC3E}">
        <p14:creationId xmlns:p14="http://schemas.microsoft.com/office/powerpoint/2010/main" val="41595793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Dark">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54819" y="6116754"/>
            <a:ext cx="1248592" cy="268966"/>
          </a:xfrm>
          <a:prstGeom prst="rect">
            <a:avLst/>
          </a:prstGeom>
        </p:spPr>
      </p:pic>
      <p:sp>
        <p:nvSpPr>
          <p:cNvPr id="6" name="Text Placeholder 14"/>
          <p:cNvSpPr>
            <a:spLocks noGrp="1"/>
          </p:cNvSpPr>
          <p:nvPr>
            <p:ph type="body" sz="quarter" idx="15" hasCustomPrompt="1"/>
          </p:nvPr>
        </p:nvSpPr>
        <p:spPr>
          <a:xfrm>
            <a:off x="267682" y="291070"/>
            <a:ext cx="3587256" cy="567015"/>
          </a:xfrm>
        </p:spPr>
        <p:txBody>
          <a:bodyPr lIns="182880" tIns="146304" rIns="182880" bIns="146304"/>
          <a:lstStyle>
            <a:lvl1pPr marL="0" indent="0">
              <a:buNone/>
              <a:defRPr sz="1961">
                <a:gradFill>
                  <a:gsLst>
                    <a:gs pos="0">
                      <a:schemeClr val="tx1"/>
                    </a:gs>
                    <a:gs pos="100000">
                      <a:schemeClr val="tx1"/>
                    </a:gs>
                  </a:gsLst>
                  <a:lin ang="5400000" scaled="0"/>
                </a:gradFill>
                <a:latin typeface="+mn-lt"/>
              </a:defRPr>
            </a:lvl1pPr>
          </a:lstStyle>
          <a:p>
            <a:pPr lvl="0"/>
            <a:r>
              <a:rPr lang="en-US"/>
              <a:t>Session Code</a:t>
            </a:r>
          </a:p>
        </p:txBody>
      </p:sp>
    </p:spTree>
    <p:extLst>
      <p:ext uri="{BB962C8B-B14F-4D97-AF65-F5344CB8AC3E}">
        <p14:creationId xmlns:p14="http://schemas.microsoft.com/office/powerpoint/2010/main" val="40390382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13B48C3B-2CDD-41BD-82BC-F143BCAFB7BC}"/>
              </a:ext>
            </a:extLst>
          </p:cNvPr>
          <p:cNvSpPr txBox="1">
            <a:spLocks/>
          </p:cNvSpPr>
          <p:nvPr userDrawn="1"/>
        </p:nvSpPr>
        <p:spPr>
          <a:xfrm>
            <a:off x="0" y="0"/>
            <a:ext cx="5399314" cy="6858000"/>
          </a:xfrm>
          <a:prstGeom prst="rect">
            <a:avLst/>
          </a:prstGeom>
          <a:solidFill>
            <a:srgbClr val="0078D7"/>
          </a:solidFill>
        </p:spPr>
        <p:txBody>
          <a:bodyPr vert="horz" wrap="square" lIns="91414" tIns="45706" rIns="91414" bIns="45706" rtlCol="0" anchor="ctr">
            <a:norm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14192">
              <a:lnSpc>
                <a:spcPct val="70000"/>
              </a:lnSpc>
            </a:pPr>
            <a:endParaRPr sz="3528" b="1" spc="0" dirty="0">
              <a:solidFill>
                <a:srgbClr val="00BCF2"/>
              </a:solidFill>
              <a:latin typeface="Segoe UI Semilight"/>
            </a:endParaRPr>
          </a:p>
        </p:txBody>
      </p:sp>
      <p:sp>
        <p:nvSpPr>
          <p:cNvPr id="2" name="Title 1">
            <a:extLst>
              <a:ext uri="{FF2B5EF4-FFF2-40B4-BE49-F238E27FC236}">
                <a16:creationId xmlns:a16="http://schemas.microsoft.com/office/drawing/2014/main" id="{FC399A4E-A611-49AC-AC72-6257819D2BFA}"/>
              </a:ext>
            </a:extLst>
          </p:cNvPr>
          <p:cNvSpPr>
            <a:spLocks noGrp="1"/>
          </p:cNvSpPr>
          <p:nvPr>
            <p:ph type="title"/>
          </p:nvPr>
        </p:nvSpPr>
        <p:spPr>
          <a:xfrm>
            <a:off x="269241" y="2771578"/>
            <a:ext cx="5130074" cy="1314847"/>
          </a:xfrm>
        </p:spPr>
        <p:txBody>
          <a:bodyPr vert="horz" wrap="square" lIns="146304" tIns="91440" rIns="146304" bIns="91440" rtlCol="0" anchor="ctr" anchorCtr="0">
            <a:spAutoFit/>
          </a:bodyPr>
          <a:lstStyle>
            <a:lvl1pPr>
              <a:defRPr lang="en-US" sz="3600" b="1" spc="0">
                <a:solidFill>
                  <a:schemeClr val="bg2">
                    <a:lumMod val="10000"/>
                  </a:schemeClr>
                </a:solidFill>
                <a:latin typeface="Segoe UI Semibold" charset="0"/>
                <a:ea typeface="Segoe UI Semibold" charset="0"/>
                <a:cs typeface="Segoe UI Semibold" charset="0"/>
              </a:defRPr>
            </a:lvl1pPr>
          </a:lstStyle>
          <a:p>
            <a:pPr marL="0" lvl="0">
              <a:lnSpc>
                <a:spcPct val="100000"/>
              </a:lnSpc>
            </a:pPr>
            <a:r>
              <a:rPr lang="en-US"/>
              <a:t>Click to edit Master title style</a:t>
            </a:r>
          </a:p>
        </p:txBody>
      </p:sp>
      <p:sp>
        <p:nvSpPr>
          <p:cNvPr id="14" name="Text Placeholder 13">
            <a:extLst>
              <a:ext uri="{FF2B5EF4-FFF2-40B4-BE49-F238E27FC236}">
                <a16:creationId xmlns:a16="http://schemas.microsoft.com/office/drawing/2014/main" id="{C201B679-1DA6-45FD-9570-713EF3F4903A}"/>
              </a:ext>
            </a:extLst>
          </p:cNvPr>
          <p:cNvSpPr>
            <a:spLocks noGrp="1"/>
          </p:cNvSpPr>
          <p:nvPr>
            <p:ph type="body" sz="quarter" idx="11"/>
          </p:nvPr>
        </p:nvSpPr>
        <p:spPr>
          <a:xfrm>
            <a:off x="6350000" y="1436125"/>
            <a:ext cx="4700858" cy="1562912"/>
          </a:xfrm>
        </p:spPr>
        <p:txBody>
          <a:bodyPr/>
          <a:lstStyle>
            <a:lvl1pPr>
              <a:defRPr sz="2400"/>
            </a:lvl1pPr>
            <a:lvl2pPr>
              <a:defRPr sz="1800">
                <a:latin typeface="+mj-lt"/>
              </a:defRPr>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09732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608647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FFFFFF"/>
              </a:solidFill>
            </a:endParaRPr>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289511"/>
            <a:ext cx="5021217"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225">
              <a:lnSpc>
                <a:spcPct val="100000"/>
              </a:lnSpc>
            </a:pPr>
            <a:r>
              <a:rPr lang="en-US"/>
              <a:t>Click to edit Master title style</a:t>
            </a:r>
          </a:p>
        </p:txBody>
      </p:sp>
    </p:spTree>
    <p:extLst>
      <p:ext uri="{BB962C8B-B14F-4D97-AF65-F5344CB8AC3E}">
        <p14:creationId xmlns:p14="http://schemas.microsoft.com/office/powerpoint/2010/main" val="321998137"/>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386611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28182801"/>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7"/>
            <a:ext cx="11653523" cy="201493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141486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7"/>
            <a:ext cx="11653523" cy="2014938"/>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22053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78309"/>
          </a:xfrm>
        </p:spPr>
        <p:txBody>
          <a:bodyPr>
            <a:spAutoFit/>
          </a:bodyPr>
          <a:lstStyle>
            <a:lvl1pPr>
              <a:defRPr sz="392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6605910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78309"/>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87095858"/>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8729069"/>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7947248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01041556"/>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030434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8698664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9206749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0235523"/>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28795700"/>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509377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5985394"/>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85703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defRPr/>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83252"/>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2140124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0204" y="3083652"/>
            <a:ext cx="3227129" cy="692057"/>
          </a:xfrm>
          <a:prstGeom prst="rect">
            <a:avLst/>
          </a:prstGeom>
        </p:spPr>
      </p:pic>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0204" y="3083652"/>
            <a:ext cx="3227129" cy="692057"/>
          </a:xfrm>
          <a:prstGeom prst="rect">
            <a:avLst/>
          </a:prstGeom>
        </p:spPr>
      </p:pic>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defRPr/>
            </a:pPr>
            <a:r>
              <a:rPr lang="en-US" sz="686" dirty="0">
                <a:gradFill>
                  <a:gsLst>
                    <a:gs pos="0">
                      <a:srgbClr val="505050"/>
                    </a:gs>
                    <a:gs pos="100000">
                      <a:srgbClr val="505050"/>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1095031946"/>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Demo slide">
    <p:bg>
      <p:bgPr>
        <a:solidFill>
          <a:schemeClr val="accent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B9A9BEB-D709-49FE-A6F9-AB9E06C6ED0D}"/>
              </a:ext>
            </a:extLst>
          </p:cNvPr>
          <p:cNvSpPr txBox="1">
            <a:spLocks/>
          </p:cNvSpPr>
          <p:nvPr userDrawn="1"/>
        </p:nvSpPr>
        <p:spPr>
          <a:xfrm>
            <a:off x="-1" y="1"/>
            <a:ext cx="3813171" cy="899665"/>
          </a:xfrm>
          <a:prstGeom prst="rect">
            <a:avLst/>
          </a:prstGeom>
        </p:spPr>
        <p:txBody>
          <a:bodyPr lIns="548562" tIns="548562">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spcBef>
                <a:spcPts val="1200"/>
              </a:spcBef>
              <a:defRPr/>
            </a:pPr>
            <a:r>
              <a:rPr sz="2800" cap="all" spc="500" dirty="0">
                <a:solidFill>
                  <a:srgbClr val="FFFFFF"/>
                </a:solidFill>
                <a:latin typeface="Segoe UI Semilight" charset="0"/>
                <a:ea typeface="Segoe UI Semilight" charset="0"/>
                <a:cs typeface="Segoe UI Semilight" charset="0"/>
              </a:rPr>
              <a:t>DEMO</a:t>
            </a:r>
          </a:p>
        </p:txBody>
      </p:sp>
      <p:sp>
        <p:nvSpPr>
          <p:cNvPr id="7" name="Title 1">
            <a:extLst>
              <a:ext uri="{FF2B5EF4-FFF2-40B4-BE49-F238E27FC236}">
                <a16:creationId xmlns:a16="http://schemas.microsoft.com/office/drawing/2014/main" id="{D6404DEB-A2FD-47E2-863C-BC52EB636058}"/>
              </a:ext>
            </a:extLst>
          </p:cNvPr>
          <p:cNvSpPr>
            <a:spLocks noGrp="1"/>
          </p:cNvSpPr>
          <p:nvPr>
            <p:ph type="title" hasCustomPrompt="1"/>
          </p:nvPr>
        </p:nvSpPr>
        <p:spPr>
          <a:xfrm>
            <a:off x="269240" y="3084533"/>
            <a:ext cx="9859116" cy="738664"/>
          </a:xfrm>
          <a:noFill/>
        </p:spPr>
        <p:txBody>
          <a:bodyPr tIns="91440" bIns="91440" anchor="t" anchorCtr="0">
            <a:spAutoFit/>
          </a:bodyPr>
          <a:lstStyle>
            <a:lvl1pPr>
              <a:defRPr lang="en-US" sz="40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Demo title</a:t>
            </a:r>
          </a:p>
        </p:txBody>
      </p:sp>
    </p:spTree>
    <p:extLst>
      <p:ext uri="{BB962C8B-B14F-4D97-AF65-F5344CB8AC3E}">
        <p14:creationId xmlns:p14="http://schemas.microsoft.com/office/powerpoint/2010/main" val="11040933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lgn="l">
              <a:defRPr sz="5292" cap="none" spc="-98" baseline="0">
                <a:solidFill>
                  <a:schemeClr val="tx1"/>
                </a:solidFill>
                <a:latin typeface="+mj-lt"/>
              </a:defRPr>
            </a:lvl1pPr>
          </a:lstStyle>
          <a:p>
            <a:r>
              <a:rPr lang="en-US"/>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solidFill>
                  <a:schemeClr val="tx1"/>
                </a:solidFill>
                <a:latin typeface="+mj-lt"/>
              </a:defRPr>
            </a:lvl1pPr>
          </a:lstStyle>
          <a:p>
            <a:pPr lvl="0"/>
            <a:r>
              <a:rPr lang="en-US"/>
              <a:t>Speaker Name</a:t>
            </a:r>
          </a:p>
        </p:txBody>
      </p:sp>
      <p:pic>
        <p:nvPicPr>
          <p:cNvPr id="7" name="Picture 6">
            <a:extLst>
              <a:ext uri="{FF2B5EF4-FFF2-40B4-BE49-F238E27FC236}">
                <a16:creationId xmlns:a16="http://schemas.microsoft.com/office/drawing/2014/main" id="{150AB176-51D8-4F62-99AE-0733A8959B74}"/>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5950182"/>
            <a:ext cx="2025444" cy="907818"/>
          </a:xfrm>
          <a:prstGeom prst="rect">
            <a:avLst/>
          </a:prstGeom>
        </p:spPr>
      </p:pic>
    </p:spTree>
    <p:extLst>
      <p:ext uri="{BB962C8B-B14F-4D97-AF65-F5344CB8AC3E}">
        <p14:creationId xmlns:p14="http://schemas.microsoft.com/office/powerpoint/2010/main" val="41824242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8"/>
            <a:ext cx="11653523" cy="201493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5049471"/>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78184"/>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1382800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123109232"/>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78184"/>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20132040"/>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1214160"/>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3262748"/>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8"/>
            <a:ext cx="5378548" cy="1946751"/>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8"/>
            <a:ext cx="5378548" cy="1946751"/>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537248"/>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8"/>
            <a:ext cx="5378548" cy="1946751"/>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8"/>
            <a:ext cx="5378548" cy="1946751"/>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6090276"/>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890417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433912"/>
            <a:ext cx="11655840" cy="573479"/>
          </a:xfrm>
        </p:spPr>
        <p:txBody>
          <a:bodyPr/>
          <a:lstStyle/>
          <a:p>
            <a:r>
              <a:rPr lang="en-US"/>
              <a:t>Click to edit Master title style</a:t>
            </a:r>
          </a:p>
        </p:txBody>
      </p:sp>
      <p:sp>
        <p:nvSpPr>
          <p:cNvPr id="14" name="Text Placeholder 12">
            <a:extLst>
              <a:ext uri="{FF2B5EF4-FFF2-40B4-BE49-F238E27FC236}">
                <a16:creationId xmlns:a16="http://schemas.microsoft.com/office/drawing/2014/main" id="{9AED70E7-6D0E-B249-AABC-7525B3F4EE57}"/>
              </a:ext>
            </a:extLst>
          </p:cNvPr>
          <p:cNvSpPr>
            <a:spLocks noGrp="1"/>
          </p:cNvSpPr>
          <p:nvPr>
            <p:ph type="body" sz="quarter" idx="13"/>
          </p:nvPr>
        </p:nvSpPr>
        <p:spPr>
          <a:xfrm>
            <a:off x="269876" y="863951"/>
            <a:ext cx="11655425" cy="433965"/>
          </a:xfrm>
        </p:spPr>
        <p:txBody>
          <a:bodyPr lIns="146304"/>
          <a:lstStyle>
            <a:lvl1pPr marL="0" indent="0">
              <a:buNone/>
              <a:defRPr sz="1800" b="1" i="0">
                <a:solidFill>
                  <a:schemeClr val="tx2"/>
                </a:solidFill>
                <a:latin typeface="Segoe UI Semibold" panose="020B0502040204020203" pitchFamily="34" charset="0"/>
                <a:cs typeface="Segoe UI Semibold"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639497187"/>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E9C9A30-AF21-4061-AAF7-F1550C0E2120}"/>
              </a:ext>
            </a:extLst>
          </p:cNvPr>
          <p:cNvSpPr>
            <a:spLocks noGrp="1"/>
          </p:cNvSpPr>
          <p:nvPr>
            <p:ph type="pic" sz="quarter" idx="10"/>
          </p:nvPr>
        </p:nvSpPr>
        <p:spPr>
          <a:xfrm>
            <a:off x="6096000" y="-3821"/>
            <a:ext cx="6095999" cy="735123"/>
          </a:xfrm>
        </p:spPr>
        <p:txBody>
          <a:bodyPr/>
          <a:lstStyle/>
          <a:p>
            <a:endParaRPr lang="en-US" dirty="0"/>
          </a:p>
        </p:txBody>
      </p:sp>
      <p:sp>
        <p:nvSpPr>
          <p:cNvPr id="9" name="Text Placeholder 8">
            <a:extLst>
              <a:ext uri="{FF2B5EF4-FFF2-40B4-BE49-F238E27FC236}">
                <a16:creationId xmlns:a16="http://schemas.microsoft.com/office/drawing/2014/main" id="{852BF53E-A85C-4215-A542-5CFED282A83B}"/>
              </a:ext>
            </a:extLst>
          </p:cNvPr>
          <p:cNvSpPr>
            <a:spLocks noGrp="1"/>
          </p:cNvSpPr>
          <p:nvPr>
            <p:ph type="body" sz="quarter" idx="11"/>
          </p:nvPr>
        </p:nvSpPr>
        <p:spPr>
          <a:xfrm>
            <a:off x="467538" y="2045659"/>
            <a:ext cx="4763234" cy="1428083"/>
          </a:xfrm>
        </p:spPr>
        <p:txBody>
          <a:bodyPr/>
          <a:lstStyle>
            <a:lvl1pPr marL="0" indent="0">
              <a:lnSpc>
                <a:spcPct val="100000"/>
              </a:lnSpc>
              <a:buNone/>
              <a:defRPr lang="en-US" sz="1600" b="1" kern="1200" dirty="0" smtClean="0">
                <a:ln w="3175">
                  <a:noFill/>
                </a:ln>
                <a:solidFill>
                  <a:srgbClr val="0078D7"/>
                </a:solidFill>
                <a:latin typeface="Segoe UI Semibold" charset="0"/>
                <a:ea typeface="+mn-ea"/>
                <a:cs typeface="Segoe UI Semibold" charset="0"/>
              </a:defRPr>
            </a:lvl1pPr>
            <a:lvl2pPr marL="287283" indent="-285695">
              <a:lnSpc>
                <a:spcPct val="100000"/>
              </a:lnSpc>
              <a:buClr>
                <a:schemeClr val="tx2"/>
              </a:buClr>
              <a:buFont typeface="Arial" panose="020B0604020202020204" pitchFamily="34" charset="0"/>
              <a:buChar char="•"/>
              <a:defRPr lang="en-US" sz="1600" kern="1200" dirty="0" smtClean="0">
                <a:solidFill>
                  <a:srgbClr val="505050"/>
                </a:solidFill>
                <a:latin typeface="+mj-lt"/>
                <a:ea typeface="+mn-ea"/>
                <a:cs typeface="Segoe UI" panose="020B0502040204020203" pitchFamily="34" charset="0"/>
              </a:defRPr>
            </a:lvl2pPr>
            <a:lvl3pPr marL="569803" indent="-223795">
              <a:lnSpc>
                <a:spcPct val="100000"/>
              </a:lnSpc>
              <a:buClr>
                <a:schemeClr val="tx2"/>
              </a:buClr>
              <a:defRPr sz="1400"/>
            </a:lvl3pPr>
            <a:lvl4pPr marL="914225" indent="-223795">
              <a:lnSpc>
                <a:spcPct val="100000"/>
              </a:lnSpc>
              <a:buClr>
                <a:schemeClr val="tx2"/>
              </a:buClr>
              <a:defRPr sz="1200"/>
            </a:lvl4pPr>
            <a:lvl5pPr>
              <a:lnSpc>
                <a:spcPct val="100000"/>
              </a:lnSpc>
              <a:buClr>
                <a:schemeClr val="tx2"/>
              </a:buCl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3">
            <a:extLst>
              <a:ext uri="{FF2B5EF4-FFF2-40B4-BE49-F238E27FC236}">
                <a16:creationId xmlns:a16="http://schemas.microsoft.com/office/drawing/2014/main" id="{FC24F05B-D917-43E9-8B6D-60449CCE91CD}"/>
              </a:ext>
            </a:extLst>
          </p:cNvPr>
          <p:cNvSpPr>
            <a:spLocks noGrp="1"/>
          </p:cNvSpPr>
          <p:nvPr>
            <p:ph type="title"/>
          </p:nvPr>
        </p:nvSpPr>
        <p:spPr>
          <a:xfrm>
            <a:off x="467536" y="289512"/>
            <a:ext cx="5581874" cy="899665"/>
          </a:xfrm>
        </p:spPr>
        <p:txBody>
          <a:bodyPr/>
          <a:lstStyle>
            <a:lvl1pPr algn="l">
              <a:defRPr sz="2800" spc="800" baseline="0">
                <a:solidFill>
                  <a:schemeClr val="tx2"/>
                </a:solidFill>
                <a:latin typeface="Segoe UI Semilight" panose="020B0402040204020203" pitchFamily="34" charset="0"/>
                <a:cs typeface="Segoe UI Semilight" panose="020B0402040204020203" pitchFamily="34" charset="0"/>
              </a:defRPr>
            </a:lvl1pPr>
          </a:lstStyle>
          <a:p>
            <a:r>
              <a:rPr lang="en-US"/>
              <a:t>Click to edit Master title style</a:t>
            </a:r>
          </a:p>
        </p:txBody>
      </p:sp>
    </p:spTree>
    <p:extLst>
      <p:ext uri="{BB962C8B-B14F-4D97-AF65-F5344CB8AC3E}">
        <p14:creationId xmlns:p14="http://schemas.microsoft.com/office/powerpoint/2010/main" val="2238266201"/>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289511"/>
            <a:ext cx="4770846" cy="1046440"/>
          </a:xfrm>
        </p:spPr>
        <p:txBody>
          <a:bodyPr vert="horz" wrap="square" lIns="146304" tIns="91440" rIns="146304" bIns="91440" rtlCol="0" anchor="t">
            <a:noAutofit/>
          </a:bodyPr>
          <a:lstStyle>
            <a:lvl1pPr algn="l">
              <a:defRPr lang="en-US" sz="2800" cap="all" spc="500">
                <a:solidFill>
                  <a:schemeClr val="bg1"/>
                </a:solidFill>
                <a:latin typeface="Segoe UI Semilight" charset="0"/>
                <a:cs typeface="Segoe UI Semilight" charset="0"/>
              </a:defRPr>
            </a:lvl1pPr>
          </a:lstStyle>
          <a:p>
            <a:pPr marL="0" lvl="0" defTabSz="914225">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2" y="1881188"/>
            <a:ext cx="4770845" cy="1212640"/>
          </a:xfrm>
        </p:spPr>
        <p:txBody>
          <a:bodyPr/>
          <a:lstStyle>
            <a:lvl1pPr marL="0" indent="0">
              <a:lnSpc>
                <a:spcPct val="100000"/>
              </a:lnSpc>
              <a:spcBef>
                <a:spcPts val="1400"/>
              </a:spcBef>
              <a:buFont typeface="Arial" panose="020B0604020202020204" pitchFamily="34" charset="0"/>
              <a:buNone/>
              <a:defRPr lang="en-US" sz="1400" kern="1200" spc="100" dirty="0" smtClean="0">
                <a:solidFill>
                  <a:schemeClr val="bg1"/>
                </a:solidFill>
                <a:latin typeface="Segoe UI Semilight" charset="0"/>
                <a:ea typeface="Segoe UI Semilight" charset="0"/>
                <a:cs typeface="Segoe UI Semilight" charset="0"/>
              </a:defRPr>
            </a:lvl1pPr>
            <a:lvl2pPr marL="336080" indent="0">
              <a:buFont typeface="Arial" panose="020B0604020202020204" pitchFamily="34" charset="0"/>
              <a:buNone/>
              <a:defRPr sz="1400">
                <a:solidFill>
                  <a:schemeClr val="bg1"/>
                </a:solidFill>
              </a:defRPr>
            </a:lvl2pPr>
            <a:lvl3pPr marL="560134" indent="0">
              <a:buFont typeface="Arial" panose="020B0604020202020204" pitchFamily="34" charset="0"/>
              <a:buNone/>
              <a:defRPr sz="1200">
                <a:solidFill>
                  <a:schemeClr val="bg1"/>
                </a:solidFill>
              </a:defRPr>
            </a:lvl3pPr>
            <a:lvl4pPr marL="784187" indent="0">
              <a:buFont typeface="Arial" panose="020B0604020202020204" pitchFamily="34" charset="0"/>
              <a:buNone/>
              <a:defRPr sz="1100">
                <a:solidFill>
                  <a:schemeClr val="bg1"/>
                </a:solidFill>
              </a:defRPr>
            </a:lvl4pPr>
            <a:lvl5pPr marL="1008241" indent="0">
              <a:buFont typeface="Arial" panose="020B0604020202020204" pitchFamily="34" charse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2764494"/>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69242" y="3877278"/>
            <a:ext cx="9860674" cy="627864"/>
          </a:xfrm>
          <a:noFill/>
        </p:spPr>
        <p:txBody>
          <a:bodyPr lIns="182880" tIns="146304" rIns="182880" bIns="146304">
            <a:spAutoFit/>
          </a:bodyPr>
          <a:lstStyle>
            <a:lvl1pPr marL="0" indent="0">
              <a:spcBef>
                <a:spcPts val="0"/>
              </a:spcBef>
              <a:buNone/>
              <a:defRPr lang="en-US" sz="2400" b="0" kern="1200" cap="none" spc="300" baseline="0" dirty="0">
                <a:ln w="3175">
                  <a:noFill/>
                </a:ln>
                <a:solidFill>
                  <a:srgbClr val="0078D7"/>
                </a:solidFill>
                <a:effectLst/>
                <a:latin typeface="Segoe UI Semilight" charset="0"/>
                <a:ea typeface="Segoe UI Semilight" charset="0"/>
                <a:cs typeface="Segoe UI Semilight" charset="0"/>
              </a:defRPr>
            </a:lvl1pPr>
          </a:lstStyle>
          <a:p>
            <a:pPr lvl="0"/>
            <a:r>
              <a:rPr lang="en-US"/>
              <a:t>Speaker Name</a:t>
            </a:r>
          </a:p>
        </p:txBody>
      </p:sp>
      <p:sp>
        <p:nvSpPr>
          <p:cNvPr id="3" name="Title 2">
            <a:extLst>
              <a:ext uri="{FF2B5EF4-FFF2-40B4-BE49-F238E27FC236}">
                <a16:creationId xmlns:a16="http://schemas.microsoft.com/office/drawing/2014/main" id="{205C18F7-1306-4898-A808-64CF52939F6B}"/>
              </a:ext>
            </a:extLst>
          </p:cNvPr>
          <p:cNvSpPr>
            <a:spLocks noGrp="1"/>
          </p:cNvSpPr>
          <p:nvPr>
            <p:ph type="title"/>
          </p:nvPr>
        </p:nvSpPr>
        <p:spPr>
          <a:xfrm>
            <a:off x="269240" y="3028516"/>
            <a:ext cx="11655840" cy="751163"/>
          </a:xfrm>
        </p:spPr>
        <p:txBody>
          <a:bodyPr/>
          <a:lstStyle>
            <a:lvl1pPr algn="l">
              <a:defRPr lang="en-US" sz="3600" b="0" kern="1200" cap="all" spc="500" baseline="0" dirty="0" smtClean="0">
                <a:ln w="3175">
                  <a:noFill/>
                </a:ln>
                <a:solidFill>
                  <a:srgbClr val="0078D7"/>
                </a:solidFill>
                <a:effectLst/>
                <a:latin typeface="Segoe UI Semilight" charset="0"/>
                <a:ea typeface="Segoe UI Semilight" charset="0"/>
                <a:cs typeface="Segoe UI Semilight" charset="0"/>
              </a:defRPr>
            </a:lvl1pPr>
          </a:lstStyle>
          <a:p>
            <a:r>
              <a:rPr lang="en-US"/>
              <a:t>Click to edit Master title style</a:t>
            </a:r>
          </a:p>
        </p:txBody>
      </p:sp>
    </p:spTree>
    <p:extLst>
      <p:ext uri="{BB962C8B-B14F-4D97-AF65-F5344CB8AC3E}">
        <p14:creationId xmlns:p14="http://schemas.microsoft.com/office/powerpoint/2010/main" val="22139694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3" Type="http://schemas.openxmlformats.org/officeDocument/2006/relationships/slideLayout" Target="../slideLayouts/slideLayout23.xml"/><Relationship Id="rId21" Type="http://schemas.openxmlformats.org/officeDocument/2006/relationships/image" Target="../media/image1.emf"/><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theme" Target="../theme/theme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26" Type="http://schemas.openxmlformats.org/officeDocument/2006/relationships/theme" Target="../theme/theme3.xml"/><Relationship Id="rId3" Type="http://schemas.openxmlformats.org/officeDocument/2006/relationships/slideLayout" Target="../slideLayouts/slideLayout42.xml"/><Relationship Id="rId21" Type="http://schemas.openxmlformats.org/officeDocument/2006/relationships/slideLayout" Target="../slideLayouts/slideLayout60.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slideLayout" Target="../slideLayouts/slideLayout64.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slideLayout" Target="../slideLayouts/slideLayout59.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slideLayout" Target="../slideLayouts/slideLayout63.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slideLayout" Target="../slideLayouts/slideLayout62.xml"/><Relationship Id="rId10" Type="http://schemas.openxmlformats.org/officeDocument/2006/relationships/slideLayout" Target="../slideLayouts/slideLayout49.xml"/><Relationship Id="rId19" Type="http://schemas.openxmlformats.org/officeDocument/2006/relationships/slideLayout" Target="../slideLayouts/slideLayout58.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slideLayout" Target="../slideLayouts/slideLayout61.xml"/><Relationship Id="rId27" Type="http://schemas.openxmlformats.org/officeDocument/2006/relationships/image" Target="../media/image8.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slideLayout" Target="../slideLayouts/slideLayout82.xml"/><Relationship Id="rId3" Type="http://schemas.openxmlformats.org/officeDocument/2006/relationships/slideLayout" Target="../slideLayouts/slideLayout67.xml"/><Relationship Id="rId21" Type="http://schemas.openxmlformats.org/officeDocument/2006/relationships/slideLayout" Target="../slideLayouts/slideLayout85.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slideLayout" Target="../slideLayouts/slideLayout84.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24" Type="http://schemas.openxmlformats.org/officeDocument/2006/relationships/image" Target="../media/image8.png"/><Relationship Id="rId5" Type="http://schemas.openxmlformats.org/officeDocument/2006/relationships/slideLayout" Target="../slideLayouts/slideLayout69.xml"/><Relationship Id="rId15" Type="http://schemas.openxmlformats.org/officeDocument/2006/relationships/slideLayout" Target="../slideLayouts/slideLayout79.xml"/><Relationship Id="rId23" Type="http://schemas.openxmlformats.org/officeDocument/2006/relationships/theme" Target="../theme/theme4.xml"/><Relationship Id="rId10" Type="http://schemas.openxmlformats.org/officeDocument/2006/relationships/slideLayout" Target="../slideLayouts/slideLayout74.xml"/><Relationship Id="rId19" Type="http://schemas.openxmlformats.org/officeDocument/2006/relationships/slideLayout" Target="../slideLayouts/slideLayout83.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 Id="rId22" Type="http://schemas.openxmlformats.org/officeDocument/2006/relationships/slideLayout" Target="../slideLayouts/slideLayout8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3" Type="http://schemas.openxmlformats.org/officeDocument/2006/relationships/slideLayout" Target="../slideLayouts/slideLayout89.xml"/><Relationship Id="rId21" Type="http://schemas.openxmlformats.org/officeDocument/2006/relationships/theme" Target="../theme/theme5.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 Id="rId22" Type="http://schemas.openxmlformats.org/officeDocument/2006/relationships/image" Target="../media/image1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2">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37626204"/>
      </p:ext>
    </p:extLst>
  </p:cSld>
  <p:clrMap bg1="lt1" tx1="dk1" bg2="lt2" tx2="dk2" accent1="accent1" accent2="accent2" accent3="accent3" accent4="accent4" accent5="accent5" accent6="accent6" hlink="hlink" folHlink="folHlink"/>
  <p:sldLayoutIdLst>
    <p:sldLayoutId id="2147484715" r:id="rId1"/>
    <p:sldLayoutId id="2147484673" r:id="rId2"/>
    <p:sldLayoutId id="2147484679" r:id="rId3"/>
    <p:sldLayoutId id="2147484680" r:id="rId4"/>
    <p:sldLayoutId id="2147484681" r:id="rId5"/>
    <p:sldLayoutId id="2147484682" r:id="rId6"/>
    <p:sldLayoutId id="2147484683" r:id="rId7"/>
    <p:sldLayoutId id="2147484684" r:id="rId8"/>
    <p:sldLayoutId id="2147484685" r:id="rId9"/>
    <p:sldLayoutId id="2147484717" r:id="rId10"/>
    <p:sldLayoutId id="2147484728" r:id="rId11"/>
    <p:sldLayoutId id="2147484690" r:id="rId12"/>
    <p:sldLayoutId id="2147484692" r:id="rId13"/>
    <p:sldLayoutId id="2147484694" r:id="rId14"/>
    <p:sldLayoutId id="2147484695" r:id="rId15"/>
    <p:sldLayoutId id="2147484697" r:id="rId16"/>
    <p:sldLayoutId id="2147484698" r:id="rId17"/>
    <p:sldLayoutId id="2147484699" r:id="rId18"/>
    <p:sldLayoutId id="2147484766" r:id="rId19"/>
    <p:sldLayoutId id="2147484767" r:id="rId20"/>
  </p:sldLayoutIdLst>
  <p:transition>
    <p:fade/>
  </p:transition>
  <p:hf sldNum="0" hdr="0" ftr="0" dt="0"/>
  <p:txStyles>
    <p:titleStyle>
      <a:lvl1pPr algn="l" defTabSz="932742" rtl="0" eaLnBrk="1" latinLnBrk="0" hangingPunct="1">
        <a:lnSpc>
          <a:spcPct val="100000"/>
        </a:lnSpc>
        <a:spcBef>
          <a:spcPct val="0"/>
        </a:spcBef>
        <a:spcAft>
          <a:spcPts val="1200"/>
        </a:spcAft>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492443"/>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1">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6332742"/>
      </p:ext>
    </p:extLst>
  </p:cSld>
  <p:clrMap bg1="lt1" tx1="dk1" bg2="lt2" tx2="dk2" accent1="accent1" accent2="accent2" accent3="accent3" accent4="accent4" accent5="accent5" accent6="accent6" hlink="hlink" folHlink="folHlink"/>
  <p:sldLayoutIdLst>
    <p:sldLayoutId id="2147484746" r:id="rId1"/>
    <p:sldLayoutId id="2147484747" r:id="rId2"/>
    <p:sldLayoutId id="2147484748" r:id="rId3"/>
    <p:sldLayoutId id="2147484749" r:id="rId4"/>
    <p:sldLayoutId id="2147484750" r:id="rId5"/>
    <p:sldLayoutId id="2147484751" r:id="rId6"/>
    <p:sldLayoutId id="2147484752" r:id="rId7"/>
    <p:sldLayoutId id="2147484753" r:id="rId8"/>
    <p:sldLayoutId id="2147484754" r:id="rId9"/>
    <p:sldLayoutId id="2147484755" r:id="rId10"/>
    <p:sldLayoutId id="2147484756" r:id="rId11"/>
    <p:sldLayoutId id="2147484757" r:id="rId12"/>
    <p:sldLayoutId id="2147484758" r:id="rId13"/>
    <p:sldLayoutId id="2147484759" r:id="rId14"/>
    <p:sldLayoutId id="2147484760" r:id="rId15"/>
    <p:sldLayoutId id="2147484761" r:id="rId16"/>
    <p:sldLayoutId id="2147484762" r:id="rId17"/>
    <p:sldLayoutId id="2147484763" r:id="rId18"/>
    <p:sldLayoutId id="2147484764" r:id="rId19"/>
  </p:sldLayoutIdLst>
  <p:transition>
    <p:fade/>
  </p:transition>
  <p:hf sldNum="0" hdr="0" ftr="0" dt="0"/>
  <p:txStyles>
    <p:titleStyle>
      <a:lvl1pPr algn="l" defTabSz="932742" rtl="0" eaLnBrk="1" latinLnBrk="0" hangingPunct="1">
        <a:lnSpc>
          <a:spcPct val="100000"/>
        </a:lnSpc>
        <a:spcBef>
          <a:spcPct val="0"/>
        </a:spcBef>
        <a:buNone/>
        <a:defRPr lang="en-US" sz="32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8"/>
            <a:ext cx="11653521" cy="2074286"/>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7"/>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545764285"/>
      </p:ext>
    </p:extLst>
  </p:cSld>
  <p:clrMap bg1="lt1" tx1="dk1" bg2="lt2" tx2="dk2" accent1="accent1" accent2="accent2" accent3="accent3" accent4="accent4" accent5="accent5" accent6="accent6" hlink="hlink" folHlink="folHlink"/>
  <p:sldLayoutIdLst>
    <p:sldLayoutId id="2147484769" r:id="rId1"/>
    <p:sldLayoutId id="2147484770" r:id="rId2"/>
    <p:sldLayoutId id="2147484771" r:id="rId3"/>
    <p:sldLayoutId id="2147484772" r:id="rId4"/>
    <p:sldLayoutId id="2147484773" r:id="rId5"/>
    <p:sldLayoutId id="2147484774" r:id="rId6"/>
    <p:sldLayoutId id="2147484775" r:id="rId7"/>
    <p:sldLayoutId id="2147484776" r:id="rId8"/>
    <p:sldLayoutId id="2147484777" r:id="rId9"/>
    <p:sldLayoutId id="2147484778" r:id="rId10"/>
    <p:sldLayoutId id="2147484779" r:id="rId11"/>
    <p:sldLayoutId id="2147484780" r:id="rId12"/>
    <p:sldLayoutId id="2147484781" r:id="rId13"/>
    <p:sldLayoutId id="2147484782" r:id="rId14"/>
    <p:sldLayoutId id="2147484783" r:id="rId15"/>
    <p:sldLayoutId id="2147484784" r:id="rId16"/>
    <p:sldLayoutId id="2147484785" r:id="rId17"/>
    <p:sldLayoutId id="2147484786" r:id="rId18"/>
    <p:sldLayoutId id="2147484787" r:id="rId19"/>
    <p:sldLayoutId id="2147484788" r:id="rId20"/>
    <p:sldLayoutId id="2147484789" r:id="rId21"/>
    <p:sldLayoutId id="2147484790" r:id="rId22"/>
    <p:sldLayoutId id="2147484791" r:id="rId23"/>
    <p:sldLayoutId id="2147484792" r:id="rId24"/>
    <p:sldLayoutId id="2147484794" r:id="rId25"/>
  </p:sldLayoutIdLst>
  <p:transition>
    <p:fade/>
  </p:transition>
  <p:txStyles>
    <p:titleStyle>
      <a:lvl1pPr algn="l" defTabSz="914192" rtl="0" eaLnBrk="1" latinLnBrk="0" hangingPunct="1">
        <a:lnSpc>
          <a:spcPct val="90000"/>
        </a:lnSpc>
        <a:spcBef>
          <a:spcPct val="0"/>
        </a:spcBef>
        <a:buNone/>
        <a:defRPr lang="en-US" sz="4800" b="0" kern="1200" cap="none" spc="-100" baseline="0" dirty="0" smtClean="0">
          <a:ln w="3175">
            <a:noFill/>
          </a:ln>
          <a:solidFill>
            <a:srgbClr val="505050"/>
          </a:soli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74286"/>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4">
            <a:extLst>
              <a:ext uri="{28A0092B-C50C-407E-A947-70E740481C1C}">
                <a14:useLocalDpi xmlns:a14="http://schemas.microsoft.com/office/drawing/2010/main" val="0"/>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1920659585"/>
      </p:ext>
    </p:extLst>
  </p:cSld>
  <p:clrMap bg1="lt1" tx1="dk1" bg2="lt2" tx2="dk2" accent1="accent1" accent2="accent2" accent3="accent3" accent4="accent4" accent5="accent5" accent6="accent6" hlink="hlink" folHlink="folHlink"/>
  <p:sldLayoutIdLst>
    <p:sldLayoutId id="2147484796" r:id="rId1"/>
    <p:sldLayoutId id="2147484797" r:id="rId2"/>
    <p:sldLayoutId id="2147484798" r:id="rId3"/>
    <p:sldLayoutId id="2147484799" r:id="rId4"/>
    <p:sldLayoutId id="2147484800" r:id="rId5"/>
    <p:sldLayoutId id="2147484801" r:id="rId6"/>
    <p:sldLayoutId id="2147484802" r:id="rId7"/>
    <p:sldLayoutId id="2147484803" r:id="rId8"/>
    <p:sldLayoutId id="2147484804" r:id="rId9"/>
    <p:sldLayoutId id="2147484805" r:id="rId10"/>
    <p:sldLayoutId id="2147484806" r:id="rId11"/>
    <p:sldLayoutId id="2147484807" r:id="rId12"/>
    <p:sldLayoutId id="2147484808" r:id="rId13"/>
    <p:sldLayoutId id="2147484809" r:id="rId14"/>
    <p:sldLayoutId id="2147484810" r:id="rId15"/>
    <p:sldLayoutId id="2147484811" r:id="rId16"/>
    <p:sldLayoutId id="2147484812" r:id="rId17"/>
    <p:sldLayoutId id="2147484813" r:id="rId18"/>
    <p:sldLayoutId id="2147484814" r:id="rId19"/>
    <p:sldLayoutId id="2147484815" r:id="rId20"/>
    <p:sldLayoutId id="2147484816" r:id="rId21"/>
    <p:sldLayoutId id="2147484817" r:id="rId22"/>
  </p:sldLayoutIdLst>
  <p:transition>
    <p:fade/>
  </p:transition>
  <p:txStyles>
    <p:titleStyle>
      <a:lvl1pPr algn="l" defTabSz="914192" rtl="0" eaLnBrk="1" latinLnBrk="0" hangingPunct="1">
        <a:lnSpc>
          <a:spcPct val="90000"/>
        </a:lnSpc>
        <a:spcBef>
          <a:spcPct val="0"/>
        </a:spcBef>
        <a:buNone/>
        <a:defRPr lang="en-US" sz="4800" b="0" kern="1200" cap="none" spc="-100" baseline="0" dirty="0" smtClean="0">
          <a:ln w="3175">
            <a:noFill/>
          </a:ln>
          <a:solidFill>
            <a:srgbClr val="505050"/>
          </a:soli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433912"/>
            <a:ext cx="11655840" cy="751163"/>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74286"/>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2" cstate="screen">
            <a:extLst>
              <a:ext uri="{28A0092B-C50C-407E-A947-70E740481C1C}">
                <a14:useLocalDpi xmlns:a14="http://schemas.microsoft.com/office/drawing/2010/main" val="0"/>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002249361"/>
      </p:ext>
    </p:extLst>
  </p:cSld>
  <p:clrMap bg1="lt1" tx1="dk1" bg2="lt2" tx2="dk2" accent1="accent1" accent2="accent2" accent3="accent3" accent4="accent4" accent5="accent5" accent6="accent6" hlink="hlink" folHlink="folHlink"/>
  <p:sldLayoutIdLst>
    <p:sldLayoutId id="2147484820" r:id="rId1"/>
    <p:sldLayoutId id="2147484821" r:id="rId2"/>
    <p:sldLayoutId id="2147484822" r:id="rId3"/>
    <p:sldLayoutId id="2147484823" r:id="rId4"/>
    <p:sldLayoutId id="2147484824" r:id="rId5"/>
    <p:sldLayoutId id="2147484825" r:id="rId6"/>
    <p:sldLayoutId id="2147484826" r:id="rId7"/>
    <p:sldLayoutId id="2147484827" r:id="rId8"/>
    <p:sldLayoutId id="2147484828" r:id="rId9"/>
    <p:sldLayoutId id="2147484829" r:id="rId10"/>
    <p:sldLayoutId id="2147484830" r:id="rId11"/>
    <p:sldLayoutId id="2147484831" r:id="rId12"/>
    <p:sldLayoutId id="2147484832" r:id="rId13"/>
    <p:sldLayoutId id="2147484833" r:id="rId14"/>
    <p:sldLayoutId id="2147484834" r:id="rId15"/>
    <p:sldLayoutId id="2147484835" r:id="rId16"/>
    <p:sldLayoutId id="2147484836" r:id="rId17"/>
    <p:sldLayoutId id="2147484837" r:id="rId18"/>
    <p:sldLayoutId id="2147484838" r:id="rId19"/>
    <p:sldLayoutId id="2147484839" r:id="rId20"/>
  </p:sldLayoutIdLst>
  <p:transition>
    <p:fade/>
  </p:transition>
  <p:txStyles>
    <p:titleStyle>
      <a:lvl1pPr algn="l" defTabSz="914192" rtl="0" eaLnBrk="1" latinLnBrk="0" hangingPunct="1">
        <a:lnSpc>
          <a:spcPct val="90000"/>
        </a:lnSpc>
        <a:spcBef>
          <a:spcPct val="0"/>
        </a:spcBef>
        <a:buNone/>
        <a:defRPr lang="en-US" sz="2800" b="1" i="0" kern="1200" cap="none" spc="0" baseline="0" dirty="0">
          <a:ln w="3175">
            <a:noFill/>
          </a:ln>
          <a:solidFill>
            <a:schemeClr val="accent1"/>
          </a:solidFill>
          <a:effectLst/>
          <a:latin typeface="Segoe UI Semibold" panose="020B0502040204020203" pitchFamily="34" charset="0"/>
          <a:ea typeface="+mn-ea"/>
          <a:cs typeface="Segoe UI Semibold" panose="020B0502040204020203"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accent1"/>
          </a:soli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accent1"/>
          </a:solidFill>
          <a:latin typeface="Segoe UI Semilight" panose="020B0402040204020203" pitchFamily="34" charset="0"/>
          <a:ea typeface="+mn-ea"/>
          <a:cs typeface="Segoe UI Semilight" panose="020B04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accent1"/>
          </a:solidFill>
          <a:latin typeface="Segoe UI Semilight" panose="020B0402040204020203" pitchFamily="34" charset="0"/>
          <a:ea typeface="+mn-ea"/>
          <a:cs typeface="Segoe UI Semilight" panose="020B04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accent1"/>
          </a:solidFill>
          <a:latin typeface="Segoe UI Semilight" panose="020B0402040204020203" pitchFamily="34" charset="0"/>
          <a:ea typeface="+mn-ea"/>
          <a:cs typeface="Segoe UI Semilight" panose="020B04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accent1"/>
          </a:solidFill>
          <a:latin typeface="Segoe UI Semilight" panose="020B0402040204020203" pitchFamily="34" charset="0"/>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aka.ms/sqlworkshops" TargetMode="External"/><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hyperlink" Target="https://aka.ms/bobsqldemos" TargetMode="External"/><Relationship Id="rId4" Type="http://schemas.openxmlformats.org/officeDocument/2006/relationships/hyperlink" Target="https://aka.ms/bobwardms"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3.xml"/><Relationship Id="rId1" Type="http://schemas.openxmlformats.org/officeDocument/2006/relationships/slideLayout" Target="../slideLayouts/slideLayout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30.png"/><Relationship Id="rId2" Type="http://schemas.openxmlformats.org/officeDocument/2006/relationships/diagramData" Target="../diagrams/data3.xml"/><Relationship Id="rId1" Type="http://schemas.openxmlformats.org/officeDocument/2006/relationships/slideLayout" Target="../slideLayouts/slideLayout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8" Type="http://schemas.openxmlformats.org/officeDocument/2006/relationships/diagramLayout" Target="../diagrams/layout5.xml"/><Relationship Id="rId3" Type="http://schemas.openxmlformats.org/officeDocument/2006/relationships/diagramLayout" Target="../diagrams/layout4.xml"/><Relationship Id="rId7" Type="http://schemas.openxmlformats.org/officeDocument/2006/relationships/diagramData" Target="../diagrams/data5.xml"/><Relationship Id="rId2" Type="http://schemas.openxmlformats.org/officeDocument/2006/relationships/diagramData" Target="../diagrams/data4.xml"/><Relationship Id="rId1" Type="http://schemas.openxmlformats.org/officeDocument/2006/relationships/slideLayout" Target="../slideLayouts/slideLayout4.xml"/><Relationship Id="rId6" Type="http://schemas.microsoft.com/office/2007/relationships/diagramDrawing" Target="../diagrams/drawing4.xml"/><Relationship Id="rId11" Type="http://schemas.microsoft.com/office/2007/relationships/diagramDrawing" Target="../diagrams/drawing5.xml"/><Relationship Id="rId5" Type="http://schemas.openxmlformats.org/officeDocument/2006/relationships/diagramColors" Target="../diagrams/colors4.xml"/><Relationship Id="rId10" Type="http://schemas.openxmlformats.org/officeDocument/2006/relationships/diagramColors" Target="../diagrams/colors5.xml"/><Relationship Id="rId4" Type="http://schemas.openxmlformats.org/officeDocument/2006/relationships/diagramQuickStyle" Target="../diagrams/quickStyle4.xml"/><Relationship Id="rId9" Type="http://schemas.openxmlformats.org/officeDocument/2006/relationships/diagramQuickStyle" Target="../diagrams/quickStyle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4.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image" Target="../media/image35.png"/><Relationship Id="rId1" Type="http://schemas.openxmlformats.org/officeDocument/2006/relationships/slideLayout" Target="../slideLayouts/slideLayout4.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32.xml.rels><?xml version="1.0" encoding="UTF-8" standalone="yes"?>
<Relationships xmlns="http://schemas.openxmlformats.org/package/2006/relationships"><Relationship Id="rId8" Type="http://schemas.microsoft.com/office/2007/relationships/diagramDrawing" Target="../diagrams/drawing8.xml"/><Relationship Id="rId3" Type="http://schemas.openxmlformats.org/officeDocument/2006/relationships/image" Target="../media/image36.png"/><Relationship Id="rId7" Type="http://schemas.openxmlformats.org/officeDocument/2006/relationships/diagramColors" Target="../diagrams/colors8.xml"/><Relationship Id="rId2" Type="http://schemas.openxmlformats.org/officeDocument/2006/relationships/notesSlide" Target="../notesSlides/notesSlide20.xml"/><Relationship Id="rId1" Type="http://schemas.openxmlformats.org/officeDocument/2006/relationships/slideLayout" Target="../slideLayouts/slideLayout4.xml"/><Relationship Id="rId6" Type="http://schemas.openxmlformats.org/officeDocument/2006/relationships/diagramQuickStyle" Target="../diagrams/quickStyle8.xml"/><Relationship Id="rId5" Type="http://schemas.openxmlformats.org/officeDocument/2006/relationships/diagramLayout" Target="../diagrams/layout8.xml"/><Relationship Id="rId4" Type="http://schemas.openxmlformats.org/officeDocument/2006/relationships/diagramData" Target="../diagrams/data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3.xml"/><Relationship Id="rId1" Type="http://schemas.openxmlformats.org/officeDocument/2006/relationships/slideLayout" Target="../slideLayouts/slideLayout4.xml"/><Relationship Id="rId4" Type="http://schemas.openxmlformats.org/officeDocument/2006/relationships/image" Target="../media/image20.emf"/></Relationships>
</file>

<file path=ppt/slides/_rels/slide37.xml.rels><?xml version="1.0" encoding="UTF-8" standalone="yes"?>
<Relationships xmlns="http://schemas.openxmlformats.org/package/2006/relationships"><Relationship Id="rId3" Type="http://schemas.openxmlformats.org/officeDocument/2006/relationships/hyperlink" Target="https://docs.microsoft.com/en-us/sql/relational-databases/graphs/sql-graph-sample" TargetMode="External"/><Relationship Id="rId2" Type="http://schemas.openxmlformats.org/officeDocument/2006/relationships/image" Target="../media/image37.png"/><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8" Type="http://schemas.openxmlformats.org/officeDocument/2006/relationships/diagramColors" Target="../diagrams/colors9.xml"/><Relationship Id="rId3" Type="http://schemas.openxmlformats.org/officeDocument/2006/relationships/image" Target="../media/image26.png"/><Relationship Id="rId7" Type="http://schemas.openxmlformats.org/officeDocument/2006/relationships/diagramQuickStyle" Target="../diagrams/quickStyle9.xml"/><Relationship Id="rId2" Type="http://schemas.openxmlformats.org/officeDocument/2006/relationships/notesSlide" Target="../notesSlides/notesSlide24.xml"/><Relationship Id="rId1" Type="http://schemas.openxmlformats.org/officeDocument/2006/relationships/slideLayout" Target="../slideLayouts/slideLayout4.xml"/><Relationship Id="rId6" Type="http://schemas.openxmlformats.org/officeDocument/2006/relationships/diagramLayout" Target="../diagrams/layout9.xml"/><Relationship Id="rId5" Type="http://schemas.openxmlformats.org/officeDocument/2006/relationships/diagramData" Target="../diagrams/data9.xml"/><Relationship Id="rId4" Type="http://schemas.openxmlformats.org/officeDocument/2006/relationships/image" Target="../media/image20.emf"/><Relationship Id="rId9" Type="http://schemas.microsoft.com/office/2007/relationships/diagramDrawing" Target="../diagrams/drawing9.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0.xml"/><Relationship Id="rId1" Type="http://schemas.openxmlformats.org/officeDocument/2006/relationships/tags" Target="../tags/tag1.xml"/><Relationship Id="rId4" Type="http://schemas.openxmlformats.org/officeDocument/2006/relationships/hyperlink" Target="http://www.support.microsoft.com/lifecycle/" TargetMode="Externa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8" Type="http://schemas.openxmlformats.org/officeDocument/2006/relationships/diagramData" Target="../diagrams/data11.xml"/><Relationship Id="rId13" Type="http://schemas.openxmlformats.org/officeDocument/2006/relationships/image" Target="../media/image38.jpeg"/><Relationship Id="rId3" Type="http://schemas.openxmlformats.org/officeDocument/2006/relationships/diagramData" Target="../diagrams/data10.xml"/><Relationship Id="rId7" Type="http://schemas.microsoft.com/office/2007/relationships/diagramDrawing" Target="../diagrams/drawing10.xml"/><Relationship Id="rId12" Type="http://schemas.microsoft.com/office/2007/relationships/diagramDrawing" Target="../diagrams/drawing11.xml"/><Relationship Id="rId17" Type="http://schemas.openxmlformats.org/officeDocument/2006/relationships/image" Target="../media/image42.jpeg"/><Relationship Id="rId2" Type="http://schemas.openxmlformats.org/officeDocument/2006/relationships/notesSlide" Target="../notesSlides/notesSlide27.xml"/><Relationship Id="rId16" Type="http://schemas.openxmlformats.org/officeDocument/2006/relationships/image" Target="../media/image41.jpeg"/><Relationship Id="rId1" Type="http://schemas.openxmlformats.org/officeDocument/2006/relationships/slideLayout" Target="../slideLayouts/slideLayout7.xml"/><Relationship Id="rId6" Type="http://schemas.openxmlformats.org/officeDocument/2006/relationships/diagramColors" Target="../diagrams/colors10.xml"/><Relationship Id="rId11" Type="http://schemas.openxmlformats.org/officeDocument/2006/relationships/diagramColors" Target="../diagrams/colors11.xml"/><Relationship Id="rId5" Type="http://schemas.openxmlformats.org/officeDocument/2006/relationships/diagramQuickStyle" Target="../diagrams/quickStyle10.xml"/><Relationship Id="rId15" Type="http://schemas.openxmlformats.org/officeDocument/2006/relationships/image" Target="../media/image40.jpeg"/><Relationship Id="rId10" Type="http://schemas.openxmlformats.org/officeDocument/2006/relationships/diagramQuickStyle" Target="../diagrams/quickStyle11.xml"/><Relationship Id="rId4" Type="http://schemas.openxmlformats.org/officeDocument/2006/relationships/diagramLayout" Target="../diagrams/layout10.xml"/><Relationship Id="rId9" Type="http://schemas.openxmlformats.org/officeDocument/2006/relationships/diagramLayout" Target="../diagrams/layout11.xml"/><Relationship Id="rId14" Type="http://schemas.openxmlformats.org/officeDocument/2006/relationships/image" Target="../media/image39.jpe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8" Type="http://schemas.microsoft.com/office/2007/relationships/diagramDrawing" Target="../diagrams/drawing12.xml"/><Relationship Id="rId3" Type="http://schemas.openxmlformats.org/officeDocument/2006/relationships/notesSlide" Target="../notesSlides/notesSlide30.xml"/><Relationship Id="rId7" Type="http://schemas.openxmlformats.org/officeDocument/2006/relationships/diagramColors" Target="../diagrams/colors12.xml"/><Relationship Id="rId2" Type="http://schemas.openxmlformats.org/officeDocument/2006/relationships/slideLayout" Target="../slideLayouts/slideLayout7.xml"/><Relationship Id="rId1" Type="http://schemas.openxmlformats.org/officeDocument/2006/relationships/tags" Target="../tags/tag2.xml"/><Relationship Id="rId6" Type="http://schemas.openxmlformats.org/officeDocument/2006/relationships/diagramQuickStyle" Target="../diagrams/quickStyle12.xml"/><Relationship Id="rId11" Type="http://schemas.openxmlformats.org/officeDocument/2006/relationships/image" Target="../media/image45.png"/><Relationship Id="rId5" Type="http://schemas.openxmlformats.org/officeDocument/2006/relationships/diagramLayout" Target="../diagrams/layout12.xml"/><Relationship Id="rId10" Type="http://schemas.openxmlformats.org/officeDocument/2006/relationships/image" Target="../media/image44.png"/><Relationship Id="rId4" Type="http://schemas.openxmlformats.org/officeDocument/2006/relationships/diagramData" Target="../diagrams/data12.xml"/><Relationship Id="rId9" Type="http://schemas.openxmlformats.org/officeDocument/2006/relationships/image" Target="../media/image43.png"/></Relationships>
</file>

<file path=ppt/slides/_rels/slide46.xml.rels><?xml version="1.0" encoding="UTF-8" standalone="yes"?>
<Relationships xmlns="http://schemas.openxmlformats.org/package/2006/relationships"><Relationship Id="rId8" Type="http://schemas.microsoft.com/office/2007/relationships/diagramDrawing" Target="../diagrams/drawing13.xml"/><Relationship Id="rId13" Type="http://schemas.microsoft.com/office/2007/relationships/diagramDrawing" Target="../diagrams/drawing14.xml"/><Relationship Id="rId3" Type="http://schemas.openxmlformats.org/officeDocument/2006/relationships/notesSlide" Target="../notesSlides/notesSlide31.xml"/><Relationship Id="rId7" Type="http://schemas.openxmlformats.org/officeDocument/2006/relationships/diagramColors" Target="../diagrams/colors13.xml"/><Relationship Id="rId12" Type="http://schemas.openxmlformats.org/officeDocument/2006/relationships/diagramColors" Target="../diagrams/colors14.xml"/><Relationship Id="rId2" Type="http://schemas.openxmlformats.org/officeDocument/2006/relationships/slideLayout" Target="../slideLayouts/slideLayout7.xml"/><Relationship Id="rId1" Type="http://schemas.openxmlformats.org/officeDocument/2006/relationships/tags" Target="../tags/tag3.xml"/><Relationship Id="rId6" Type="http://schemas.openxmlformats.org/officeDocument/2006/relationships/diagramQuickStyle" Target="../diagrams/quickStyle13.xml"/><Relationship Id="rId11" Type="http://schemas.openxmlformats.org/officeDocument/2006/relationships/diagramQuickStyle" Target="../diagrams/quickStyle14.xml"/><Relationship Id="rId5" Type="http://schemas.openxmlformats.org/officeDocument/2006/relationships/diagramLayout" Target="../diagrams/layout13.xml"/><Relationship Id="rId10" Type="http://schemas.openxmlformats.org/officeDocument/2006/relationships/diagramLayout" Target="../diagrams/layout14.xml"/><Relationship Id="rId4" Type="http://schemas.openxmlformats.org/officeDocument/2006/relationships/diagramData" Target="../diagrams/data13.xml"/><Relationship Id="rId9" Type="http://schemas.openxmlformats.org/officeDocument/2006/relationships/diagramData" Target="../diagrams/data14.xml"/></Relationships>
</file>

<file path=ppt/slides/_rels/slide4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2.xml"/><Relationship Id="rId1" Type="http://schemas.openxmlformats.org/officeDocument/2006/relationships/slideLayout" Target="../slideLayouts/slideLayout96.xml"/><Relationship Id="rId4" Type="http://schemas.openxmlformats.org/officeDocument/2006/relationships/image" Target="../media/image47.png"/></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4.xml"/></Relationships>
</file>

<file path=ppt/slides/_rels/slide49.xml.rels><?xml version="1.0" encoding="UTF-8" standalone="yes"?>
<Relationships xmlns="http://schemas.openxmlformats.org/package/2006/relationships"><Relationship Id="rId3" Type="http://schemas.openxmlformats.org/officeDocument/2006/relationships/hyperlink" Target="https://github.com/Microsoft/sql-server-samples/tree/master/samples/containers" TargetMode="External"/><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16.png"/><Relationship Id="rId1" Type="http://schemas.openxmlformats.org/officeDocument/2006/relationships/slideLayout" Target="../slideLayouts/slideLayout4.xml"/><Relationship Id="rId6" Type="http://schemas.openxmlformats.org/officeDocument/2006/relationships/image" Target="../media/image20.emf"/><Relationship Id="rId5" Type="http://schemas.openxmlformats.org/officeDocument/2006/relationships/image" Target="../media/image19.png"/><Relationship Id="rId4" Type="http://schemas.openxmlformats.org/officeDocument/2006/relationships/image" Target="../media/image18.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emf"/><Relationship Id="rId1" Type="http://schemas.openxmlformats.org/officeDocument/2006/relationships/slideLayout" Target="../slideLayouts/slideLayout3.xml"/><Relationship Id="rId4" Type="http://schemas.openxmlformats.org/officeDocument/2006/relationships/hyperlink" Target="https://www.yosoytumadre.com/category/ystm/" TargetMode="External"/></Relationships>
</file>

<file path=ppt/slides/_rels/slide53.xml.rels><?xml version="1.0" encoding="UTF-8" standalone="yes"?>
<Relationships xmlns="http://schemas.openxmlformats.org/package/2006/relationships"><Relationship Id="rId8" Type="http://schemas.openxmlformats.org/officeDocument/2006/relationships/diagramLayout" Target="../diagrams/layout16.xml"/><Relationship Id="rId3" Type="http://schemas.openxmlformats.org/officeDocument/2006/relationships/diagramLayout" Target="../diagrams/layout15.xml"/><Relationship Id="rId7" Type="http://schemas.openxmlformats.org/officeDocument/2006/relationships/diagramData" Target="../diagrams/data16.xml"/><Relationship Id="rId2" Type="http://schemas.openxmlformats.org/officeDocument/2006/relationships/diagramData" Target="../diagrams/data15.xml"/><Relationship Id="rId1" Type="http://schemas.openxmlformats.org/officeDocument/2006/relationships/slideLayout" Target="../slideLayouts/slideLayout4.xml"/><Relationship Id="rId6" Type="http://schemas.microsoft.com/office/2007/relationships/diagramDrawing" Target="../diagrams/drawing15.xml"/><Relationship Id="rId11" Type="http://schemas.microsoft.com/office/2007/relationships/diagramDrawing" Target="../diagrams/drawing16.xml"/><Relationship Id="rId5" Type="http://schemas.openxmlformats.org/officeDocument/2006/relationships/diagramColors" Target="../diagrams/colors15.xml"/><Relationship Id="rId10" Type="http://schemas.openxmlformats.org/officeDocument/2006/relationships/diagramColors" Target="../diagrams/colors16.xml"/><Relationship Id="rId4" Type="http://schemas.openxmlformats.org/officeDocument/2006/relationships/diagramQuickStyle" Target="../diagrams/quickStyle15.xml"/><Relationship Id="rId9" Type="http://schemas.openxmlformats.org/officeDocument/2006/relationships/diagramQuickStyle" Target="../diagrams/quickStyle16.xml"/></Relationships>
</file>

<file path=ppt/slides/_rels/slide54.xml.rels><?xml version="1.0" encoding="UTF-8" standalone="yes"?>
<Relationships xmlns="http://schemas.openxmlformats.org/package/2006/relationships"><Relationship Id="rId8" Type="http://schemas.openxmlformats.org/officeDocument/2006/relationships/diagramQuickStyle" Target="../diagrams/quickStyle17.xml"/><Relationship Id="rId3" Type="http://schemas.openxmlformats.org/officeDocument/2006/relationships/hyperlink" Target="https://hub.docker.com/" TargetMode="External"/><Relationship Id="rId7" Type="http://schemas.openxmlformats.org/officeDocument/2006/relationships/diagramLayout" Target="../diagrams/layout17.xml"/><Relationship Id="rId2" Type="http://schemas.openxmlformats.org/officeDocument/2006/relationships/notesSlide" Target="../notesSlides/notesSlide36.xml"/><Relationship Id="rId1" Type="http://schemas.openxmlformats.org/officeDocument/2006/relationships/slideLayout" Target="../slideLayouts/slideLayout3.xml"/><Relationship Id="rId6" Type="http://schemas.openxmlformats.org/officeDocument/2006/relationships/diagramData" Target="../diagrams/data17.xml"/><Relationship Id="rId5" Type="http://schemas.openxmlformats.org/officeDocument/2006/relationships/hyperlink" Target="mcr.microsoft.com/" TargetMode="External"/><Relationship Id="rId10" Type="http://schemas.microsoft.com/office/2007/relationships/diagramDrawing" Target="../diagrams/drawing17.xml"/><Relationship Id="rId4" Type="http://schemas.openxmlformats.org/officeDocument/2006/relationships/hyperlink" Target="https://access.redhat.com/containers" TargetMode="External"/><Relationship Id="rId9" Type="http://schemas.openxmlformats.org/officeDocument/2006/relationships/diagramColors" Target="../diagrams/colors17.xml"/></Relationships>
</file>

<file path=ppt/slides/_rels/slide55.xml.rels><?xml version="1.0" encoding="UTF-8" standalone="yes"?>
<Relationships xmlns="http://schemas.openxmlformats.org/package/2006/relationships"><Relationship Id="rId3" Type="http://schemas.openxmlformats.org/officeDocument/2006/relationships/hyperlink" Target="https://docs.microsoft.com/en-us/sql/linux/sql-server-linux-configure-environment-variables?view=sql-server-2017" TargetMode="External"/><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3" Type="http://schemas.openxmlformats.org/officeDocument/2006/relationships/hyperlink" Target="https://docs.microsoft.com/en-us/sql/linux/sql-server-linux-configure-environment-variables?view=sql-server-2017" TargetMode="External"/><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3" Type="http://schemas.openxmlformats.org/officeDocument/2006/relationships/hyperlink" Target="https://github.com/Microsoft/mssql-docker/tree/master/linux/preview/examples/mssql-agent-fts-ha-tools" TargetMode="External"/><Relationship Id="rId2" Type="http://schemas.openxmlformats.org/officeDocument/2006/relationships/notesSlide" Target="../notesSlides/notesSlide39.xml"/><Relationship Id="rId1" Type="http://schemas.openxmlformats.org/officeDocument/2006/relationships/slideLayout" Target="../slideLayouts/slideLayout3.xml"/><Relationship Id="rId4" Type="http://schemas.openxmlformats.org/officeDocument/2006/relationships/hyperlink" Target="https://docs.docker.com/compose/" TargetMode="Externa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2.xml"/><Relationship Id="rId1" Type="http://schemas.openxmlformats.org/officeDocument/2006/relationships/slideLayout" Target="../slideLayouts/slideLayout3.xml"/><Relationship Id="rId6" Type="http://schemas.openxmlformats.org/officeDocument/2006/relationships/image" Target="../media/image18.png"/><Relationship Id="rId5" Type="http://schemas.openxmlformats.org/officeDocument/2006/relationships/hyperlink" Target="http://openclipart.org/detail/180867/server-by-rdevries-180867" TargetMode="External"/><Relationship Id="rId4" Type="http://schemas.openxmlformats.org/officeDocument/2006/relationships/image" Target="../media/image50.png"/></Relationships>
</file>

<file path=ppt/slides/_rels/slide6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hyperlink" Target="https://youtu.be/daVUONZqn88?list=PLLasX02E8BPCrIhFrc_ZiINhbRkYMKdPT" TargetMode="External"/><Relationship Id="rId1" Type="http://schemas.openxmlformats.org/officeDocument/2006/relationships/slideLayout" Target="../slideLayouts/slideLayout3.xml"/><Relationship Id="rId5" Type="http://schemas.openxmlformats.org/officeDocument/2006/relationships/hyperlink" Target="https://aka.ms/k8slearning" TargetMode="External"/><Relationship Id="rId4" Type="http://schemas.openxmlformats.org/officeDocument/2006/relationships/hyperlink" Target="https://github.com/vlele/k8onazure" TargetMode="External"/></Relationships>
</file>

<file path=ppt/slides/_rels/slide62.xml.rels><?xml version="1.0" encoding="UTF-8" standalone="yes"?>
<Relationships xmlns="http://schemas.openxmlformats.org/package/2006/relationships"><Relationship Id="rId3" Type="http://schemas.openxmlformats.org/officeDocument/2006/relationships/diagramLayout" Target="../diagrams/layout18.xml"/><Relationship Id="rId7" Type="http://schemas.openxmlformats.org/officeDocument/2006/relationships/hyperlink" Target="https://kubernetes.io/docs/setup/pick-right-solution/" TargetMode="External"/><Relationship Id="rId2" Type="http://schemas.openxmlformats.org/officeDocument/2006/relationships/diagramData" Target="../diagrams/data18.xml"/><Relationship Id="rId1" Type="http://schemas.openxmlformats.org/officeDocument/2006/relationships/slideLayout" Target="../slideLayouts/slideLayout3.xml"/><Relationship Id="rId6" Type="http://schemas.microsoft.com/office/2007/relationships/diagramDrawing" Target="../diagrams/drawing18.xml"/><Relationship Id="rId5" Type="http://schemas.openxmlformats.org/officeDocument/2006/relationships/diagramColors" Target="../diagrams/colors18.xml"/><Relationship Id="rId4" Type="http://schemas.openxmlformats.org/officeDocument/2006/relationships/diagramQuickStyle" Target="../diagrams/quickStyle18.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4.xml"/></Relationships>
</file>

<file path=ppt/slides/_rels/slide66.xml.rels><?xml version="1.0" encoding="UTF-8" standalone="yes"?>
<Relationships xmlns="http://schemas.openxmlformats.org/package/2006/relationships"><Relationship Id="rId8" Type="http://schemas.openxmlformats.org/officeDocument/2006/relationships/image" Target="../media/image52.png"/><Relationship Id="rId13" Type="http://schemas.microsoft.com/office/2007/relationships/hdphoto" Target="../media/hdphoto5.wdp"/><Relationship Id="rId3" Type="http://schemas.openxmlformats.org/officeDocument/2006/relationships/image" Target="../media/image23.png"/><Relationship Id="rId7" Type="http://schemas.microsoft.com/office/2007/relationships/hdphoto" Target="../media/hdphoto2.wdp"/><Relationship Id="rId12" Type="http://schemas.openxmlformats.org/officeDocument/2006/relationships/image" Target="../media/image54.png"/><Relationship Id="rId2" Type="http://schemas.openxmlformats.org/officeDocument/2006/relationships/notesSlide" Target="../notesSlides/notesSlide46.xml"/><Relationship Id="rId1" Type="http://schemas.openxmlformats.org/officeDocument/2006/relationships/slideLayout" Target="../slideLayouts/slideLayout7.xml"/><Relationship Id="rId6" Type="http://schemas.openxmlformats.org/officeDocument/2006/relationships/image" Target="../media/image24.png"/><Relationship Id="rId11" Type="http://schemas.microsoft.com/office/2007/relationships/hdphoto" Target="../media/hdphoto4.wdp"/><Relationship Id="rId5" Type="http://schemas.openxmlformats.org/officeDocument/2006/relationships/image" Target="../media/image27.png"/><Relationship Id="rId15" Type="http://schemas.openxmlformats.org/officeDocument/2006/relationships/image" Target="../media/image55.png"/><Relationship Id="rId10" Type="http://schemas.openxmlformats.org/officeDocument/2006/relationships/image" Target="../media/image53.png"/><Relationship Id="rId4" Type="http://schemas.microsoft.com/office/2007/relationships/hdphoto" Target="../media/hdphoto1.wdp"/><Relationship Id="rId9" Type="http://schemas.microsoft.com/office/2007/relationships/hdphoto" Target="../media/hdphoto3.wdp"/><Relationship Id="rId14" Type="http://schemas.openxmlformats.org/officeDocument/2006/relationships/image" Target="../media/image16.png"/></Relationships>
</file>

<file path=ppt/slides/_rels/slide67.xml.rels><?xml version="1.0" encoding="UTF-8" standalone="yes"?>
<Relationships xmlns="http://schemas.openxmlformats.org/package/2006/relationships"><Relationship Id="rId3" Type="http://schemas.openxmlformats.org/officeDocument/2006/relationships/diagramData" Target="../diagrams/data19.xml"/><Relationship Id="rId7" Type="http://schemas.microsoft.com/office/2007/relationships/diagramDrawing" Target="../diagrams/drawing19.xml"/><Relationship Id="rId2" Type="http://schemas.openxmlformats.org/officeDocument/2006/relationships/notesSlide" Target="../notesSlides/notesSlide47.xml"/><Relationship Id="rId1" Type="http://schemas.openxmlformats.org/officeDocument/2006/relationships/slideLayout" Target="../slideLayouts/slideLayout3.xml"/><Relationship Id="rId6" Type="http://schemas.openxmlformats.org/officeDocument/2006/relationships/diagramColors" Target="../diagrams/colors19.xml"/><Relationship Id="rId5" Type="http://schemas.openxmlformats.org/officeDocument/2006/relationships/diagramQuickStyle" Target="../diagrams/quickStyle19.xml"/><Relationship Id="rId4" Type="http://schemas.openxmlformats.org/officeDocument/2006/relationships/diagramLayout" Target="../diagrams/layout19.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8" Type="http://schemas.openxmlformats.org/officeDocument/2006/relationships/image" Target="../media/image59.jpg"/><Relationship Id="rId13" Type="http://schemas.openxmlformats.org/officeDocument/2006/relationships/hyperlink" Target="https://blog.tfrichet.fr/sap-innojam-paris-2014-porte-ouverte-a-linnovation/" TargetMode="External"/><Relationship Id="rId3" Type="http://schemas.openxmlformats.org/officeDocument/2006/relationships/image" Target="../media/image56.png"/><Relationship Id="rId7" Type="http://schemas.openxmlformats.org/officeDocument/2006/relationships/image" Target="../media/image16.png"/><Relationship Id="rId12" Type="http://schemas.openxmlformats.org/officeDocument/2006/relationships/image" Target="../media/image61.png"/><Relationship Id="rId2" Type="http://schemas.openxmlformats.org/officeDocument/2006/relationships/notesSlide" Target="../notesSlides/notesSlide49.xml"/><Relationship Id="rId1" Type="http://schemas.openxmlformats.org/officeDocument/2006/relationships/slideLayout" Target="../slideLayouts/slideLayout3.xml"/><Relationship Id="rId6" Type="http://schemas.openxmlformats.org/officeDocument/2006/relationships/image" Target="../media/image58.svg"/><Relationship Id="rId11" Type="http://schemas.openxmlformats.org/officeDocument/2006/relationships/hyperlink" Target="http://wi-wiki.de/doku.php?id=bigdata:hadoop" TargetMode="External"/><Relationship Id="rId5" Type="http://schemas.openxmlformats.org/officeDocument/2006/relationships/image" Target="../media/image57.png"/><Relationship Id="rId10" Type="http://schemas.openxmlformats.org/officeDocument/2006/relationships/image" Target="../media/image60.png"/><Relationship Id="rId4" Type="http://schemas.openxmlformats.org/officeDocument/2006/relationships/hyperlink" Target="https://johnpapa.net/angular-cosmosdb-4/" TargetMode="External"/><Relationship Id="rId9" Type="http://schemas.openxmlformats.org/officeDocument/2006/relationships/hyperlink" Target="http://ipkitten.blogspot.com/2012/07/usedsoft-and-principle-of-exhaustion.html" TargetMode="External"/><Relationship Id="rId14" Type="http://schemas.openxmlformats.org/officeDocument/2006/relationships/image" Target="../media/image17.png"/></Relationships>
</file>

<file path=ppt/slides/_rels/slide7.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7.xml"/></Relationships>
</file>

<file path=ppt/slides/_rels/slide73.xml.rels><?xml version="1.0" encoding="UTF-8" standalone="yes"?>
<Relationships xmlns="http://schemas.openxmlformats.org/package/2006/relationships"><Relationship Id="rId3" Type="http://schemas.openxmlformats.org/officeDocument/2006/relationships/image" Target="../media/image62.png"/><Relationship Id="rId7" Type="http://schemas.openxmlformats.org/officeDocument/2006/relationships/image" Target="../media/image66.png"/><Relationship Id="rId2" Type="http://schemas.openxmlformats.org/officeDocument/2006/relationships/notesSlide" Target="../notesSlides/notesSlide53.xml"/><Relationship Id="rId1" Type="http://schemas.openxmlformats.org/officeDocument/2006/relationships/slideLayout" Target="../slideLayouts/slideLayout7.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png"/></Relationships>
</file>

<file path=ppt/slides/_rels/slide74.xml.rels><?xml version="1.0" encoding="UTF-8" standalone="yes"?>
<Relationships xmlns="http://schemas.openxmlformats.org/package/2006/relationships"><Relationship Id="rId8" Type="http://schemas.openxmlformats.org/officeDocument/2006/relationships/diagramColors" Target="../diagrams/colors20.xml"/><Relationship Id="rId3" Type="http://schemas.openxmlformats.org/officeDocument/2006/relationships/image" Target="../media/image67.png"/><Relationship Id="rId7" Type="http://schemas.openxmlformats.org/officeDocument/2006/relationships/diagramQuickStyle" Target="../diagrams/quickStyle20.xml"/><Relationship Id="rId2" Type="http://schemas.openxmlformats.org/officeDocument/2006/relationships/hyperlink" Target="https://microsoft.github.io/prose/" TargetMode="External"/><Relationship Id="rId1" Type="http://schemas.openxmlformats.org/officeDocument/2006/relationships/slideLayout" Target="../slideLayouts/slideLayout3.xml"/><Relationship Id="rId6" Type="http://schemas.openxmlformats.org/officeDocument/2006/relationships/diagramLayout" Target="../diagrams/layout20.xml"/><Relationship Id="rId5" Type="http://schemas.openxmlformats.org/officeDocument/2006/relationships/diagramData" Target="../diagrams/data20.xml"/><Relationship Id="rId10" Type="http://schemas.openxmlformats.org/officeDocument/2006/relationships/image" Target="../media/image69.png"/><Relationship Id="rId4" Type="http://schemas.openxmlformats.org/officeDocument/2006/relationships/image" Target="../media/image68.png"/><Relationship Id="rId9" Type="http://schemas.microsoft.com/office/2007/relationships/diagramDrawing" Target="../diagrams/drawing20.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4.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4.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4.xml"/></Relationships>
</file>

<file path=ppt/slides/_rels/slide79.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image" Target="../media/image70.png"/><Relationship Id="rId7" Type="http://schemas.openxmlformats.org/officeDocument/2006/relationships/image" Target="../media/image74.png"/><Relationship Id="rId2" Type="http://schemas.openxmlformats.org/officeDocument/2006/relationships/notesSlide" Target="../notesSlides/notesSlide58.xml"/><Relationship Id="rId1" Type="http://schemas.openxmlformats.org/officeDocument/2006/relationships/slideLayout" Target="../slideLayouts/slideLayout4.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71.png"/></Relationships>
</file>

<file path=ppt/slides/_rels/slide8.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chart" Target="../charts/chart1.xml"/><Relationship Id="rId7" Type="http://schemas.openxmlformats.org/officeDocument/2006/relationships/hyperlink" Target="http://www.tpc.org/3321" TargetMode="External"/><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hyperlink" Target="http://www.tpc.org/3326" TargetMode="External"/><Relationship Id="rId5" Type="http://schemas.openxmlformats.org/officeDocument/2006/relationships/hyperlink" Target="http://www.tpc.org/3331" TargetMode="External"/><Relationship Id="rId10" Type="http://schemas.openxmlformats.org/officeDocument/2006/relationships/image" Target="../media/image22.png"/><Relationship Id="rId4" Type="http://schemas.openxmlformats.org/officeDocument/2006/relationships/hyperlink" Target="http://www.tpc.org/4081" TargetMode="External"/><Relationship Id="rId9" Type="http://schemas.openxmlformats.org/officeDocument/2006/relationships/image" Target="../media/image21.png"/></Relationships>
</file>

<file path=ppt/slides/_rels/slide80.xml.rels><?xml version="1.0" encoding="UTF-8" standalone="yes"?>
<Relationships xmlns="http://schemas.openxmlformats.org/package/2006/relationships"><Relationship Id="rId3" Type="http://schemas.openxmlformats.org/officeDocument/2006/relationships/diagramData" Target="../diagrams/data21.xml"/><Relationship Id="rId7" Type="http://schemas.microsoft.com/office/2007/relationships/diagramDrawing" Target="../diagrams/drawing21.xml"/><Relationship Id="rId2" Type="http://schemas.openxmlformats.org/officeDocument/2006/relationships/hyperlink" Target="http://aka.ms/dbcompat" TargetMode="External"/><Relationship Id="rId1" Type="http://schemas.openxmlformats.org/officeDocument/2006/relationships/slideLayout" Target="../slideLayouts/slideLayout4.xml"/><Relationship Id="rId6" Type="http://schemas.openxmlformats.org/officeDocument/2006/relationships/diagramColors" Target="../diagrams/colors21.xml"/><Relationship Id="rId5" Type="http://schemas.openxmlformats.org/officeDocument/2006/relationships/diagramQuickStyle" Target="../diagrams/quickStyle21.xml"/><Relationship Id="rId4" Type="http://schemas.openxmlformats.org/officeDocument/2006/relationships/diagramLayout" Target="../diagrams/layout21.xml"/></Relationships>
</file>

<file path=ppt/slides/_rels/slide81.xml.rels><?xml version="1.0" encoding="UTF-8" standalone="yes"?>
<Relationships xmlns="http://schemas.openxmlformats.org/package/2006/relationships"><Relationship Id="rId3" Type="http://schemas.openxmlformats.org/officeDocument/2006/relationships/diagramData" Target="../diagrams/data22.xml"/><Relationship Id="rId7" Type="http://schemas.microsoft.com/office/2007/relationships/diagramDrawing" Target="../diagrams/drawing22.xml"/><Relationship Id="rId2" Type="http://schemas.openxmlformats.org/officeDocument/2006/relationships/notesSlide" Target="../notesSlides/notesSlide59.xml"/><Relationship Id="rId1" Type="http://schemas.openxmlformats.org/officeDocument/2006/relationships/slideLayout" Target="../slideLayouts/slideLayout8.xml"/><Relationship Id="rId6" Type="http://schemas.openxmlformats.org/officeDocument/2006/relationships/diagramColors" Target="../diagrams/colors22.xml"/><Relationship Id="rId5" Type="http://schemas.openxmlformats.org/officeDocument/2006/relationships/diagramQuickStyle" Target="../diagrams/quickStyle22.xml"/><Relationship Id="rId4" Type="http://schemas.openxmlformats.org/officeDocument/2006/relationships/diagramLayout" Target="../diagrams/layout22.xml"/></Relationships>
</file>

<file path=ppt/slides/_rels/slide82.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60.xml"/><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12.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4.xml"/></Relationships>
</file>

<file path=ppt/slides/_rels/slide86.xml.rels><?xml version="1.0" encoding="UTF-8" standalone="yes"?>
<Relationships xmlns="http://schemas.openxmlformats.org/package/2006/relationships"><Relationship Id="rId8" Type="http://schemas.openxmlformats.org/officeDocument/2006/relationships/hyperlink" Target="http://aka.ms/sqllinuxlabs" TargetMode="External"/><Relationship Id="rId3" Type="http://schemas.openxmlformats.org/officeDocument/2006/relationships/image" Target="../media/image77.jpg"/><Relationship Id="rId7" Type="http://schemas.openxmlformats.org/officeDocument/2006/relationships/hyperlink" Target="https://aka.ms/sqlworkshops" TargetMode="External"/><Relationship Id="rId2" Type="http://schemas.openxmlformats.org/officeDocument/2006/relationships/notesSlide" Target="../notesSlides/notesSlide63.xml"/><Relationship Id="rId1" Type="http://schemas.openxmlformats.org/officeDocument/2006/relationships/slideLayout" Target="../slideLayouts/slideLayout4.xml"/><Relationship Id="rId6" Type="http://schemas.openxmlformats.org/officeDocument/2006/relationships/hyperlink" Target="http://aka.ms/sqllinuxbook" TargetMode="External"/><Relationship Id="rId11" Type="http://schemas.openxmlformats.org/officeDocument/2006/relationships/hyperlink" Target="https://aka.ms/eapsignup" TargetMode="External"/><Relationship Id="rId5" Type="http://schemas.openxmlformats.org/officeDocument/2006/relationships/hyperlink" Target="http://aka.ms/bobsqldemos" TargetMode="External"/><Relationship Id="rId10" Type="http://schemas.openxmlformats.org/officeDocument/2006/relationships/hyperlink" Target="https://docs.microsoft.com/en-us/sql/sql-server/what-s-new-in-sql-server-ver15?view=sqlallproducts-allversions" TargetMode="External"/><Relationship Id="rId4" Type="http://schemas.openxmlformats.org/officeDocument/2006/relationships/hyperlink" Target="http://aka.ms/bobwardms" TargetMode="External"/><Relationship Id="rId9" Type="http://schemas.openxmlformats.org/officeDocument/2006/relationships/hyperlink" Target="http://aka.ms/ss19" TargetMode="External"/></Relationships>
</file>

<file path=ppt/slides/_rels/slide9.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7.png"/><Relationship Id="rId3" Type="http://schemas.openxmlformats.org/officeDocument/2006/relationships/image" Target="../media/image20.emf"/><Relationship Id="rId7" Type="http://schemas.microsoft.com/office/2007/relationships/hdphoto" Target="../media/hdphoto1.wdp"/><Relationship Id="rId12" Type="http://schemas.openxmlformats.org/officeDocument/2006/relationships/image" Target="../media/image26.png"/><Relationship Id="rId2" Type="http://schemas.openxmlformats.org/officeDocument/2006/relationships/notesSlide" Target="../notesSlides/notesSlide8.xml"/><Relationship Id="rId1" Type="http://schemas.openxmlformats.org/officeDocument/2006/relationships/slideLayout" Target="../slideLayouts/slideLayout19.xml"/><Relationship Id="rId6" Type="http://schemas.openxmlformats.org/officeDocument/2006/relationships/image" Target="../media/image23.png"/><Relationship Id="rId11" Type="http://schemas.openxmlformats.org/officeDocument/2006/relationships/image" Target="../media/image25.png"/><Relationship Id="rId5" Type="http://schemas.openxmlformats.org/officeDocument/2006/relationships/image" Target="../media/image22.png"/><Relationship Id="rId10" Type="http://schemas.openxmlformats.org/officeDocument/2006/relationships/image" Target="../media/image16.png"/><Relationship Id="rId4" Type="http://schemas.openxmlformats.org/officeDocument/2006/relationships/image" Target="../media/image21.png"/><Relationship Id="rId9" Type="http://schemas.microsoft.com/office/2007/relationships/hdphoto" Target="../media/hdphoto2.wdp"/><Relationship Id="rId14"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CBB8B40-F3D1-4331-B430-E127860A693D}"/>
              </a:ext>
            </a:extLst>
          </p:cNvPr>
          <p:cNvSpPr>
            <a:spLocks noGrp="1"/>
          </p:cNvSpPr>
          <p:nvPr>
            <p:ph type="title"/>
          </p:nvPr>
        </p:nvSpPr>
        <p:spPr>
          <a:xfrm>
            <a:off x="588262" y="2425541"/>
            <a:ext cx="5943600" cy="1107996"/>
          </a:xfrm>
        </p:spPr>
        <p:txBody>
          <a:bodyPr/>
          <a:lstStyle/>
          <a:p>
            <a:r>
              <a:rPr lang="en-US" dirty="0"/>
              <a:t>Modernize your database with SQL Server 2019</a:t>
            </a:r>
          </a:p>
        </p:txBody>
      </p:sp>
      <p:sp>
        <p:nvSpPr>
          <p:cNvPr id="2" name="TextBox 1">
            <a:extLst>
              <a:ext uri="{FF2B5EF4-FFF2-40B4-BE49-F238E27FC236}">
                <a16:creationId xmlns:a16="http://schemas.microsoft.com/office/drawing/2014/main" id="{AF57CFD1-12DE-4287-8E0D-77F399553290}"/>
              </a:ext>
            </a:extLst>
          </p:cNvPr>
          <p:cNvSpPr txBox="1"/>
          <p:nvPr/>
        </p:nvSpPr>
        <p:spPr>
          <a:xfrm>
            <a:off x="588262" y="4826524"/>
            <a:ext cx="3248518" cy="923330"/>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hlinkClick r:id="rId3"/>
              </a:rPr>
              <a:t>https://aka.ms/sqlworkshops</a:t>
            </a:r>
            <a:endParaRPr lang="en-US" sz="2000" dirty="0">
              <a:gradFill>
                <a:gsLst>
                  <a:gs pos="2917">
                    <a:schemeClr val="tx1"/>
                  </a:gs>
                  <a:gs pos="30000">
                    <a:schemeClr val="tx1"/>
                  </a:gs>
                </a:gsLst>
                <a:lin ang="5400000" scaled="0"/>
              </a:gradFill>
            </a:endParaRPr>
          </a:p>
          <a:p>
            <a:pPr algn="l"/>
            <a:r>
              <a:rPr lang="en-US" sz="2000" dirty="0">
                <a:gradFill>
                  <a:gsLst>
                    <a:gs pos="2917">
                      <a:schemeClr val="tx1"/>
                    </a:gs>
                    <a:gs pos="30000">
                      <a:schemeClr val="tx1"/>
                    </a:gs>
                  </a:gsLst>
                  <a:lin ang="5400000" scaled="0"/>
                </a:gradFill>
                <a:hlinkClick r:id="rId4"/>
              </a:rPr>
              <a:t>https://aka.ms/bobwardms</a:t>
            </a:r>
            <a:endParaRPr lang="en-US" sz="2000" dirty="0">
              <a:gradFill>
                <a:gsLst>
                  <a:gs pos="2917">
                    <a:schemeClr val="tx1"/>
                  </a:gs>
                  <a:gs pos="30000">
                    <a:schemeClr val="tx1"/>
                  </a:gs>
                </a:gsLst>
                <a:lin ang="5400000" scaled="0"/>
              </a:gradFill>
            </a:endParaRPr>
          </a:p>
          <a:p>
            <a:pPr algn="l"/>
            <a:r>
              <a:rPr lang="en-US" sz="2000" dirty="0">
                <a:gradFill>
                  <a:gsLst>
                    <a:gs pos="2917">
                      <a:schemeClr val="tx1"/>
                    </a:gs>
                    <a:gs pos="30000">
                      <a:schemeClr val="tx1"/>
                    </a:gs>
                  </a:gsLst>
                  <a:lin ang="5400000" scaled="0"/>
                </a:gradFill>
                <a:hlinkClick r:id="rId5"/>
              </a:rPr>
              <a:t>https://aka.ms/bobsqldemos</a:t>
            </a:r>
            <a:endParaRPr lang="en-US" sz="2000" dirty="0">
              <a:gradFill>
                <a:gsLst>
                  <a:gs pos="2917">
                    <a:schemeClr val="tx1"/>
                  </a:gs>
                  <a:gs pos="30000">
                    <a:schemeClr val="tx1"/>
                  </a:gs>
                </a:gsLst>
                <a:lin ang="5400000" scaled="0"/>
              </a:gradFill>
            </a:endParaRPr>
          </a:p>
        </p:txBody>
      </p:sp>
      <p:sp>
        <p:nvSpPr>
          <p:cNvPr id="3" name="TextBox 2">
            <a:extLst>
              <a:ext uri="{FF2B5EF4-FFF2-40B4-BE49-F238E27FC236}">
                <a16:creationId xmlns:a16="http://schemas.microsoft.com/office/drawing/2014/main" id="{2E64FF85-A4F0-446F-8EFE-A2BE02881491}"/>
              </a:ext>
            </a:extLst>
          </p:cNvPr>
          <p:cNvSpPr txBox="1"/>
          <p:nvPr/>
        </p:nvSpPr>
        <p:spPr>
          <a:xfrm>
            <a:off x="588262" y="3855432"/>
            <a:ext cx="3550024" cy="615553"/>
          </a:xfrm>
          <a:prstGeom prst="rect">
            <a:avLst/>
          </a:prstGeom>
          <a:noFill/>
        </p:spPr>
        <p:txBody>
          <a:bodyPr wrap="square" lIns="0" tIns="0" rIns="0" bIns="0" rtlCol="0">
            <a:spAutoFit/>
          </a:bodyPr>
          <a:lstStyle/>
          <a:p>
            <a:pPr algn="l"/>
            <a:r>
              <a:rPr lang="en-US" sz="2000" dirty="0">
                <a:gradFill>
                  <a:gsLst>
                    <a:gs pos="2917">
                      <a:schemeClr val="tx1"/>
                    </a:gs>
                    <a:gs pos="30000">
                      <a:schemeClr val="tx1"/>
                    </a:gs>
                  </a:gsLst>
                  <a:lin ang="5400000" scaled="0"/>
                </a:gradFill>
              </a:rPr>
              <a:t>Bob Ward, Microsoft</a:t>
            </a:r>
          </a:p>
          <a:p>
            <a:pPr algn="l"/>
            <a:r>
              <a:rPr lang="en-US" sz="2000" dirty="0">
                <a:gradFill>
                  <a:gsLst>
                    <a:gs pos="2917">
                      <a:schemeClr val="tx1"/>
                    </a:gs>
                    <a:gs pos="30000">
                      <a:schemeClr val="tx1"/>
                    </a:gs>
                  </a:gsLst>
                  <a:lin ang="5400000" scaled="0"/>
                </a:gradFill>
              </a:rPr>
              <a:t>bobward@microsoft.com</a:t>
            </a:r>
          </a:p>
        </p:txBody>
      </p:sp>
    </p:spTree>
    <p:extLst>
      <p:ext uri="{BB962C8B-B14F-4D97-AF65-F5344CB8AC3E}">
        <p14:creationId xmlns:p14="http://schemas.microsoft.com/office/powerpoint/2010/main" val="18699993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8692D3C3-50C6-4567-9868-DDCAED99D45E}"/>
              </a:ext>
            </a:extLst>
          </p:cNvPr>
          <p:cNvSpPr/>
          <p:nvPr/>
        </p:nvSpPr>
        <p:spPr bwMode="auto">
          <a:xfrm>
            <a:off x="5656943" y="1680028"/>
            <a:ext cx="5949840" cy="3726543"/>
          </a:xfrm>
          <a:prstGeom prst="roundRect">
            <a:avLst>
              <a:gd name="adj" fmla="val 2877"/>
            </a:avLst>
          </a:prstGeom>
          <a:solidFill>
            <a:schemeClr val="tx1"/>
          </a:solidFill>
          <a:ln>
            <a:noFill/>
            <a:headEnd type="none" w="med" len="med"/>
            <a:tailEnd type="none" w="med" len="med"/>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D0E37A8B-817C-4BAF-97EA-57F6E0E697E8}"/>
              </a:ext>
            </a:extLst>
          </p:cNvPr>
          <p:cNvSpPr>
            <a:spLocks noGrp="1"/>
          </p:cNvSpPr>
          <p:nvPr>
            <p:ph type="title"/>
          </p:nvPr>
        </p:nvSpPr>
        <p:spPr>
          <a:xfrm>
            <a:off x="588263" y="180201"/>
            <a:ext cx="11018520" cy="553998"/>
          </a:xfrm>
        </p:spPr>
        <p:txBody>
          <a:bodyPr/>
          <a:lstStyle/>
          <a:p>
            <a:r>
              <a:rPr lang="en-US" dirty="0"/>
              <a:t>The Azure Data Studio tools experience </a:t>
            </a:r>
          </a:p>
        </p:txBody>
      </p:sp>
      <p:sp>
        <p:nvSpPr>
          <p:cNvPr id="4" name="TextBox 3">
            <a:extLst>
              <a:ext uri="{FF2B5EF4-FFF2-40B4-BE49-F238E27FC236}">
                <a16:creationId xmlns:a16="http://schemas.microsoft.com/office/drawing/2014/main" id="{044C4694-53A5-420E-9710-12BA2370BB34}"/>
              </a:ext>
            </a:extLst>
          </p:cNvPr>
          <p:cNvSpPr txBox="1"/>
          <p:nvPr/>
        </p:nvSpPr>
        <p:spPr>
          <a:xfrm>
            <a:off x="369834" y="1214797"/>
            <a:ext cx="4659366" cy="830997"/>
          </a:xfrm>
          <a:prstGeom prst="rect">
            <a:avLst/>
          </a:prstGeom>
          <a:noFill/>
        </p:spPr>
        <p:txBody>
          <a:bodyPr wrap="square" lIns="91440" tIns="45720" rIns="91440" bIns="45720" rtlCol="0">
            <a:spAutoFit/>
          </a:bodyPr>
          <a:lstStyle/>
          <a:p>
            <a:pPr marL="0" marR="0" lvl="0" indent="0" algn="l" defTabSz="914367" rtl="0" eaLnBrk="1" fontAlgn="base" latinLnBrk="0" hangingPunct="1">
              <a:lnSpc>
                <a:spcPct val="100000"/>
              </a:lnSpc>
              <a:spcBef>
                <a:spcPts val="0"/>
              </a:spcBef>
              <a:spcAft>
                <a:spcPts val="1200"/>
              </a:spcAft>
              <a:buClrTx/>
              <a:buSzTx/>
              <a:buFontTx/>
              <a:buNone/>
              <a:tabLst/>
              <a:defRPr/>
            </a:pPr>
            <a:r>
              <a:rPr kumimoji="0" lang="en-US" sz="1600" b="1" i="0" u="none" strike="noStrike" kern="1200" cap="none" spc="0" normalizeH="0" baseline="0" noProof="0" dirty="0">
                <a:ln>
                  <a:noFill/>
                </a:ln>
                <a:solidFill>
                  <a:srgbClr val="1A1A1A"/>
                </a:solidFill>
                <a:effectLst/>
                <a:uLnTx/>
                <a:uFillTx/>
                <a:latin typeface="Segoe UI"/>
                <a:ea typeface="+mn-ea"/>
                <a:cs typeface="+mn-cs"/>
              </a:rPr>
              <a:t>Azure Data Studio </a:t>
            </a:r>
            <a:r>
              <a:rPr kumimoji="0" lang="en-US" sz="1600" b="0" i="0" u="none" strike="noStrike" kern="1200" cap="none" spc="0" normalizeH="0" baseline="0" noProof="0" dirty="0">
                <a:ln>
                  <a:noFill/>
                </a:ln>
                <a:solidFill>
                  <a:srgbClr val="1A1A1A"/>
                </a:solidFill>
                <a:effectLst/>
                <a:uLnTx/>
                <a:uFillTx/>
                <a:latin typeface="Segoe UI"/>
                <a:ea typeface="+mn-ea"/>
                <a:cs typeface="+mn-cs"/>
              </a:rPr>
              <a:t>is a lightweight, open source, cross-platform graphical management tool and code editor</a:t>
            </a:r>
          </a:p>
        </p:txBody>
      </p:sp>
      <p:pic>
        <p:nvPicPr>
          <p:cNvPr id="7" name="Picture 6">
            <a:extLst>
              <a:ext uri="{FF2B5EF4-FFF2-40B4-BE49-F238E27FC236}">
                <a16:creationId xmlns:a16="http://schemas.microsoft.com/office/drawing/2014/main" id="{7F832545-BE0F-4FFB-A531-53C2670F6F36}"/>
              </a:ext>
            </a:extLst>
          </p:cNvPr>
          <p:cNvPicPr>
            <a:picLocks noChangeAspect="1"/>
          </p:cNvPicPr>
          <p:nvPr/>
        </p:nvPicPr>
        <p:blipFill>
          <a:blip r:embed="rId3"/>
          <a:stretch>
            <a:fillRect/>
          </a:stretch>
        </p:blipFill>
        <p:spPr>
          <a:xfrm>
            <a:off x="5796514" y="1828799"/>
            <a:ext cx="5670698" cy="3429000"/>
          </a:xfrm>
          <a:prstGeom prst="rect">
            <a:avLst/>
          </a:prstGeom>
        </p:spPr>
      </p:pic>
      <p:sp>
        <p:nvSpPr>
          <p:cNvPr id="6" name="Explosion: 8 Points 5">
            <a:extLst>
              <a:ext uri="{FF2B5EF4-FFF2-40B4-BE49-F238E27FC236}">
                <a16:creationId xmlns:a16="http://schemas.microsoft.com/office/drawing/2014/main" id="{A23D6328-E77C-45FB-A4D9-078BEA2F5558}"/>
              </a:ext>
            </a:extLst>
          </p:cNvPr>
          <p:cNvSpPr/>
          <p:nvPr/>
        </p:nvSpPr>
        <p:spPr bwMode="auto">
          <a:xfrm>
            <a:off x="246773" y="5406571"/>
            <a:ext cx="2452744" cy="1263170"/>
          </a:xfrm>
          <a:prstGeom prst="irregularSeal1">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rPr>
              <a:t>Static Data Masking</a:t>
            </a:r>
          </a:p>
        </p:txBody>
      </p:sp>
      <p:sp>
        <p:nvSpPr>
          <p:cNvPr id="8" name="Explosion: 8 Points 7">
            <a:extLst>
              <a:ext uri="{FF2B5EF4-FFF2-40B4-BE49-F238E27FC236}">
                <a16:creationId xmlns:a16="http://schemas.microsoft.com/office/drawing/2014/main" id="{C626E821-554F-41E9-859E-8E058436B065}"/>
              </a:ext>
            </a:extLst>
          </p:cNvPr>
          <p:cNvSpPr/>
          <p:nvPr/>
        </p:nvSpPr>
        <p:spPr bwMode="auto">
          <a:xfrm>
            <a:off x="2699517" y="5406571"/>
            <a:ext cx="2452744" cy="1263170"/>
          </a:xfrm>
          <a:prstGeom prst="irregularSeal1">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rPr>
              <a:t>Query Tuning Assistant</a:t>
            </a:r>
          </a:p>
        </p:txBody>
      </p:sp>
      <p:sp>
        <p:nvSpPr>
          <p:cNvPr id="9" name="TextBox 8">
            <a:extLst>
              <a:ext uri="{FF2B5EF4-FFF2-40B4-BE49-F238E27FC236}">
                <a16:creationId xmlns:a16="http://schemas.microsoft.com/office/drawing/2014/main" id="{3E16623D-57C3-4E04-B7E9-DF9C5F7679CE}"/>
              </a:ext>
            </a:extLst>
          </p:cNvPr>
          <p:cNvSpPr txBox="1"/>
          <p:nvPr/>
        </p:nvSpPr>
        <p:spPr>
          <a:xfrm>
            <a:off x="369834" y="4483066"/>
            <a:ext cx="4659366" cy="830997"/>
          </a:xfrm>
          <a:prstGeom prst="rect">
            <a:avLst/>
          </a:prstGeom>
          <a:noFill/>
        </p:spPr>
        <p:txBody>
          <a:bodyPr wrap="square" lIns="91440" tIns="45720" rIns="91440" bIns="45720" rtlCol="0">
            <a:spAutoFit/>
          </a:bodyPr>
          <a:lstStyle/>
          <a:p>
            <a:pPr marL="0" marR="0" lvl="0" indent="0" algn="l" defTabSz="914367" rtl="0" eaLnBrk="1" fontAlgn="base"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Use </a:t>
            </a:r>
            <a:r>
              <a:rPr kumimoji="0" lang="en-US" sz="1600" b="1"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SQL Server Management Studio 18.0 </a:t>
            </a:r>
            <a:r>
              <a:rPr kumimoji="0" lang="en-US" sz="16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Preview </a:t>
            </a:r>
            <a:r>
              <a:rPr kumimoji="0" lang="en-US" sz="1600" b="0" i="0" u="none" strike="noStrike" kern="1200" cap="none" spc="0" normalizeH="0" baseline="0" noProof="0" dirty="0">
                <a:ln>
                  <a:noFill/>
                </a:ln>
                <a:solidFill>
                  <a:srgbClr val="1A1A1A"/>
                </a:solidFill>
                <a:effectLst/>
                <a:uLnTx/>
                <a:uFillTx/>
                <a:latin typeface="Segoe UI"/>
                <a:ea typeface="+mn-ea"/>
                <a:cs typeface="+mn-cs"/>
              </a:rPr>
              <a:t>to access, configure, manage, and administer all SQL Server components</a:t>
            </a:r>
          </a:p>
        </p:txBody>
      </p:sp>
      <p:sp>
        <p:nvSpPr>
          <p:cNvPr id="10" name="TextBox 9">
            <a:extLst>
              <a:ext uri="{FF2B5EF4-FFF2-40B4-BE49-F238E27FC236}">
                <a16:creationId xmlns:a16="http://schemas.microsoft.com/office/drawing/2014/main" id="{D6AFEFB3-FF87-4947-B8F3-658EA40A4616}"/>
              </a:ext>
            </a:extLst>
          </p:cNvPr>
          <p:cNvSpPr txBox="1"/>
          <p:nvPr/>
        </p:nvSpPr>
        <p:spPr>
          <a:xfrm>
            <a:off x="369834" y="2079490"/>
            <a:ext cx="4659366" cy="2369880"/>
          </a:xfrm>
          <a:prstGeom prst="rect">
            <a:avLst/>
          </a:prstGeom>
          <a:noFill/>
        </p:spPr>
        <p:txBody>
          <a:bodyPr wrap="square" lIns="91440" tIns="45720" rIns="91440" bIns="45720" rtlCol="0">
            <a:spAutoFit/>
          </a:bodyPr>
          <a:lstStyle/>
          <a:p>
            <a:pPr marL="0" marR="0" lvl="0" indent="0" algn="l" defTabSz="914367" rtl="0" eaLnBrk="1" fontAlgn="base"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1A1A1A"/>
                </a:solidFill>
                <a:effectLst/>
                <a:uLnTx/>
                <a:uFillTx/>
                <a:latin typeface="Segoe UI"/>
                <a:ea typeface="+mn-ea"/>
                <a:cs typeface="+mn-cs"/>
              </a:rPr>
              <a:t>Enable a modern </a:t>
            </a:r>
            <a:r>
              <a:rPr kumimoji="0" lang="en-US" sz="1600" b="1" i="1" u="none" strike="noStrike" kern="1200" cap="none" spc="0" normalizeH="0" baseline="0" noProof="0" dirty="0">
                <a:ln>
                  <a:noFill/>
                </a:ln>
                <a:solidFill>
                  <a:srgbClr val="1A1A1A"/>
                </a:solidFill>
                <a:effectLst/>
                <a:uLnTx/>
                <a:uFillTx/>
                <a:latin typeface="Segoe UI"/>
                <a:ea typeface="+mn-ea"/>
                <a:cs typeface="+mn-cs"/>
              </a:rPr>
              <a:t>DevOps</a:t>
            </a:r>
            <a:r>
              <a:rPr kumimoji="0" lang="en-US" sz="1600" b="0" i="0" u="none" strike="noStrike" kern="1200" cap="none" spc="0" normalizeH="0" baseline="0" noProof="0" dirty="0">
                <a:ln>
                  <a:noFill/>
                </a:ln>
                <a:solidFill>
                  <a:srgbClr val="1A1A1A"/>
                </a:solidFill>
                <a:effectLst/>
                <a:uLnTx/>
                <a:uFillTx/>
                <a:latin typeface="Segoe UI"/>
                <a:ea typeface="+mn-ea"/>
                <a:cs typeface="+mn-cs"/>
              </a:rPr>
              <a:t> experience for database developers and DBAs on their platform of choice​</a:t>
            </a:r>
          </a:p>
          <a:p>
            <a:pPr marL="0" marR="0" lvl="0" indent="0" algn="l" defTabSz="914367" rtl="0" eaLnBrk="1" fontAlgn="base"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1A1A1A"/>
                </a:solidFill>
                <a:effectLst/>
                <a:uLnTx/>
                <a:uFillTx/>
                <a:latin typeface="Segoe UI"/>
                <a:ea typeface="+mn-ea"/>
                <a:cs typeface="+mn-cs"/>
              </a:rPr>
              <a:t>Simplify development, configuration, management, monitoring and troubleshooting for Data in private and public clouds.</a:t>
            </a:r>
          </a:p>
          <a:p>
            <a:pPr marL="0" marR="0" lvl="0" indent="0" algn="l" defTabSz="914367" rtl="0" eaLnBrk="1" fontAlgn="base" latinLnBrk="0" hangingPunct="1">
              <a:lnSpc>
                <a:spcPct val="100000"/>
              </a:lnSpc>
              <a:spcBef>
                <a:spcPts val="0"/>
              </a:spcBef>
              <a:spcAft>
                <a:spcPts val="1200"/>
              </a:spcAft>
              <a:buClrTx/>
              <a:buSzTx/>
              <a:buFontTx/>
              <a:buNone/>
              <a:tabLst/>
              <a:defRPr/>
            </a:pPr>
            <a:r>
              <a:rPr lang="en-US" sz="1600" dirty="0">
                <a:solidFill>
                  <a:srgbClr val="1A1A1A"/>
                </a:solidFill>
                <a:latin typeface="Segoe UI"/>
              </a:rPr>
              <a:t>Experience </a:t>
            </a:r>
            <a:r>
              <a:rPr lang="en-US" sz="1600" b="1" i="1" dirty="0">
                <a:solidFill>
                  <a:srgbClr val="1A1A1A"/>
                </a:solidFill>
                <a:latin typeface="Segoe UI"/>
              </a:rPr>
              <a:t>Notebooks</a:t>
            </a:r>
            <a:r>
              <a:rPr lang="en-US" sz="1600" dirty="0">
                <a:solidFill>
                  <a:srgbClr val="1A1A1A"/>
                </a:solidFill>
                <a:latin typeface="Segoe UI"/>
              </a:rPr>
              <a:t> as a new method for running queries, scripts, and jobs.</a:t>
            </a:r>
            <a:r>
              <a:rPr kumimoji="0" lang="en-US" sz="16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 </a:t>
            </a:r>
          </a:p>
        </p:txBody>
      </p:sp>
    </p:spTree>
    <p:extLst>
      <p:ext uri="{BB962C8B-B14F-4D97-AF65-F5344CB8AC3E}">
        <p14:creationId xmlns:p14="http://schemas.microsoft.com/office/powerpoint/2010/main" val="160063977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grpId="0" nodeType="clickEffect">
                                  <p:stCondLst>
                                    <p:cond delay="0"/>
                                  </p:stCondLst>
                                  <p:childTnLst>
                                    <p:animMotion origin="layout" path="M -4.16667E-6 -1.48148E-6 L 0.48803 -0.04537 " pathEditMode="relative" rAng="0" ptsTypes="AA">
                                      <p:cBhvr>
                                        <p:cTn id="6" dur="2000" fill="hold"/>
                                        <p:tgtEl>
                                          <p:spTgt spid="4"/>
                                        </p:tgtEl>
                                        <p:attrNameLst>
                                          <p:attrName>ppt_x</p:attrName>
                                          <p:attrName>ppt_y</p:attrName>
                                        </p:attrNameLst>
                                      </p:cBhvr>
                                      <p:rCtr x="24401" y="-2269"/>
                                    </p:animMotion>
                                  </p:childTnLst>
                                </p:cTn>
                              </p:par>
                              <p:par>
                                <p:cTn id="7" presetID="42" presetClass="path" presetSubtype="0" accel="50000" decel="50000" fill="hold" grpId="0" nodeType="withEffect">
                                  <p:stCondLst>
                                    <p:cond delay="0"/>
                                  </p:stCondLst>
                                  <p:childTnLst>
                                    <p:animMotion origin="layout" path="M -4.16667E-6 -3.7037E-7 L 0.48803 0.14491 " pathEditMode="relative" rAng="0" ptsTypes="AA">
                                      <p:cBhvr>
                                        <p:cTn id="8" dur="2000" fill="hold"/>
                                        <p:tgtEl>
                                          <p:spTgt spid="9"/>
                                        </p:tgtEl>
                                        <p:attrNameLst>
                                          <p:attrName>ppt_x</p:attrName>
                                          <p:attrName>ppt_y</p:attrName>
                                        </p:attrNameLst>
                                      </p:cBhvr>
                                      <p:rCtr x="24401" y="724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9"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DE104-D85B-43D4-AC99-58903696A798}"/>
              </a:ext>
            </a:extLst>
          </p:cNvPr>
          <p:cNvSpPr>
            <a:spLocks noGrp="1"/>
          </p:cNvSpPr>
          <p:nvPr>
            <p:ph type="title"/>
          </p:nvPr>
        </p:nvSpPr>
        <p:spPr>
          <a:xfrm>
            <a:off x="585216" y="2537210"/>
            <a:ext cx="6400800" cy="997196"/>
          </a:xfrm>
        </p:spPr>
        <p:txBody>
          <a:bodyPr/>
          <a:lstStyle/>
          <a:p>
            <a:r>
              <a:rPr lang="en-US" dirty="0"/>
              <a:t>Module 2: Intelligent Performance</a:t>
            </a:r>
          </a:p>
        </p:txBody>
      </p:sp>
    </p:spTree>
    <p:extLst>
      <p:ext uri="{BB962C8B-B14F-4D97-AF65-F5344CB8AC3E}">
        <p14:creationId xmlns:p14="http://schemas.microsoft.com/office/powerpoint/2010/main" val="1126219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bwMode="auto">
          <a:xfrm flipH="1">
            <a:off x="5286375" y="0"/>
            <a:ext cx="6905625" cy="6858000"/>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5" name="Title 1"/>
          <p:cNvSpPr txBox="1">
            <a:spLocks/>
          </p:cNvSpPr>
          <p:nvPr/>
        </p:nvSpPr>
        <p:spPr>
          <a:xfrm>
            <a:off x="269241" y="289511"/>
            <a:ext cx="4770846" cy="1046440"/>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2800" b="0" kern="1200" cap="all" spc="500" baseline="0">
                <a:ln w="3175">
                  <a:noFill/>
                </a:ln>
                <a:solidFill>
                  <a:schemeClr val="bg1"/>
                </a:solidFill>
                <a:effectLst/>
                <a:latin typeface="Segoe UI Semilight" charset="0"/>
                <a:ea typeface="+mn-ea"/>
                <a:cs typeface="Segoe UI Semilight" charset="0"/>
              </a:defRPr>
            </a:lvl1pPr>
          </a:lstStyle>
          <a:p>
            <a:pPr defTabSz="914225">
              <a:lnSpc>
                <a:spcPct val="100000"/>
              </a:lnSpc>
              <a:spcBef>
                <a:spcPts val="0"/>
              </a:spcBef>
              <a:defRPr/>
            </a:pPr>
            <a:r>
              <a:rPr lang="en-US" cap="none" spc="-50" dirty="0">
                <a:solidFill>
                  <a:schemeClr val="tx1"/>
                </a:solidFill>
                <a:latin typeface="+mj-lt"/>
                <a:cs typeface="Segoe UI" pitchFamily="34" charset="0"/>
              </a:rPr>
              <a:t>Automatically fix problems without tuning </a:t>
            </a:r>
          </a:p>
          <a:p>
            <a:pPr defTabSz="914225">
              <a:lnSpc>
                <a:spcPct val="100000"/>
              </a:lnSpc>
              <a:spcBef>
                <a:spcPts val="0"/>
              </a:spcBef>
              <a:defRPr/>
            </a:pPr>
            <a:r>
              <a:rPr lang="en-US" sz="1400" b="1" kern="0" cap="none" spc="100" dirty="0">
                <a:ln>
                  <a:noFill/>
                </a:ln>
                <a:solidFill>
                  <a:schemeClr val="accent1"/>
                </a:solidFill>
                <a:latin typeface="Segoe UI Semibold" charset="0"/>
                <a:cs typeface="Segoe UI Semibold" charset="0"/>
              </a:rPr>
              <a:t>Better performance with Automatic Plan Correction</a:t>
            </a:r>
            <a:endParaRPr kumimoji="0" lang="en-US" sz="1800" b="0" i="0" u="none" strike="noStrike" kern="1200" cap="all" spc="500" normalizeH="0" baseline="0" noProof="0" dirty="0">
              <a:ln w="3175">
                <a:noFill/>
              </a:ln>
              <a:solidFill>
                <a:schemeClr val="accent1"/>
              </a:solidFill>
              <a:effectLst/>
              <a:uLnTx/>
              <a:uFillTx/>
              <a:ea typeface=""/>
            </a:endParaRPr>
          </a:p>
        </p:txBody>
      </p:sp>
      <p:sp>
        <p:nvSpPr>
          <p:cNvPr id="16" name="Text Placeholder 14"/>
          <p:cNvSpPr txBox="1">
            <a:spLocks/>
          </p:cNvSpPr>
          <p:nvPr/>
        </p:nvSpPr>
        <p:spPr>
          <a:xfrm>
            <a:off x="270068" y="1881407"/>
            <a:ext cx="4674015" cy="1620957"/>
          </a:xfrm>
          <a:prstGeom prst="rect">
            <a:avLst/>
          </a:prstGeom>
        </p:spPr>
        <p:txBody>
          <a:bodyPr vert="horz" wrap="square" lIns="146304" tIns="91440" rIns="146304" bIns="91440" rtlCol="0">
            <a:spAutoFit/>
          </a:bodyPr>
          <a:lstStyle>
            <a:lvl1pPr marL="0" marR="0" indent="0" algn="l" defTabSz="914192" rtl="0" eaLnBrk="1" fontAlgn="auto" latinLnBrk="0" hangingPunct="1">
              <a:lnSpc>
                <a:spcPct val="100000"/>
              </a:lnSpc>
              <a:spcBef>
                <a:spcPts val="1400"/>
              </a:spcBef>
              <a:spcAft>
                <a:spcPts val="0"/>
              </a:spcAft>
              <a:buClr>
                <a:srgbClr val="0078D7"/>
              </a:buClr>
              <a:buSzPct val="90000"/>
              <a:buFont typeface="Arial" panose="020B0604020202020204" pitchFamily="34" charset="0"/>
              <a:buNone/>
              <a:tabLst/>
              <a:defRPr lang="en-US" sz="1400" kern="1200" spc="100" baseline="0" dirty="0" smtClean="0">
                <a:solidFill>
                  <a:schemeClr val="bg1"/>
                </a:solidFill>
                <a:latin typeface="Segoe UI Semilight" charset="0"/>
                <a:ea typeface="Segoe UI Semilight" charset="0"/>
                <a:cs typeface="Segoe UI Semilight" charset="0"/>
              </a:defRPr>
            </a:lvl1pPr>
            <a:lvl2pPr marL="336080" marR="0" indent="0" algn="l" defTabSz="914192" rtl="0" eaLnBrk="1" fontAlgn="auto" latinLnBrk="0" hangingPunct="1">
              <a:lnSpc>
                <a:spcPct val="90000"/>
              </a:lnSpc>
              <a:spcBef>
                <a:spcPct val="20000"/>
              </a:spcBef>
              <a:spcAft>
                <a:spcPts val="0"/>
              </a:spcAft>
              <a:buClr>
                <a:srgbClr val="0078D7"/>
              </a:buClr>
              <a:buSzPct val="90000"/>
              <a:buFont typeface="Arial" pitchFamily="34" charset="0"/>
              <a:buNone/>
              <a:tabLst/>
              <a:defRPr sz="1400" kern="1200" spc="0" baseline="0">
                <a:solidFill>
                  <a:schemeClr val="bg1"/>
                </a:solidFill>
                <a:latin typeface="+mn-lt"/>
                <a:ea typeface="+mn-ea"/>
                <a:cs typeface="+mn-cs"/>
              </a:defRPr>
            </a:lvl2pPr>
            <a:lvl3pPr marL="560134" marR="0" indent="0" algn="l" defTabSz="914192" rtl="0" eaLnBrk="1" fontAlgn="auto" latinLnBrk="0" hangingPunct="1">
              <a:lnSpc>
                <a:spcPct val="90000"/>
              </a:lnSpc>
              <a:spcBef>
                <a:spcPct val="20000"/>
              </a:spcBef>
              <a:spcAft>
                <a:spcPts val="0"/>
              </a:spcAft>
              <a:buClr>
                <a:srgbClr val="0078D7"/>
              </a:buClr>
              <a:buSzPct val="90000"/>
              <a:buFont typeface="Arial" pitchFamily="34" charset="0"/>
              <a:buNone/>
              <a:tabLst/>
              <a:defRPr sz="1200" kern="1200" spc="0" baseline="0">
                <a:solidFill>
                  <a:schemeClr val="bg1"/>
                </a:solidFill>
                <a:latin typeface="+mn-lt"/>
                <a:ea typeface="+mn-ea"/>
                <a:cs typeface="+mn-cs"/>
              </a:defRPr>
            </a:lvl3pPr>
            <a:lvl4pPr marL="784187" marR="0" indent="0" algn="l" defTabSz="914192" rtl="0" eaLnBrk="1" fontAlgn="auto" latinLnBrk="0" hangingPunct="1">
              <a:lnSpc>
                <a:spcPct val="90000"/>
              </a:lnSpc>
              <a:spcBef>
                <a:spcPct val="20000"/>
              </a:spcBef>
              <a:spcAft>
                <a:spcPts val="0"/>
              </a:spcAft>
              <a:buClr>
                <a:srgbClr val="0078D7"/>
              </a:buClr>
              <a:buSzPct val="90000"/>
              <a:buFont typeface="Arial" pitchFamily="34" charset="0"/>
              <a:buNone/>
              <a:tabLst/>
              <a:defRPr sz="1100" kern="1200" spc="0" baseline="0">
                <a:solidFill>
                  <a:schemeClr val="bg1"/>
                </a:solidFill>
                <a:latin typeface="+mn-lt"/>
                <a:ea typeface="+mn-ea"/>
                <a:cs typeface="+mn-cs"/>
              </a:defRPr>
            </a:lvl4pPr>
            <a:lvl5pPr marL="1008241" marR="0" indent="0" algn="l" defTabSz="914192" rtl="0" eaLnBrk="1" fontAlgn="auto" latinLnBrk="0" hangingPunct="1">
              <a:lnSpc>
                <a:spcPct val="90000"/>
              </a:lnSpc>
              <a:spcBef>
                <a:spcPct val="20000"/>
              </a:spcBef>
              <a:spcAft>
                <a:spcPts val="0"/>
              </a:spcAft>
              <a:buClr>
                <a:srgbClr val="0078D7"/>
              </a:buClr>
              <a:buSzPct val="90000"/>
              <a:buFont typeface="Arial" pitchFamily="34" charset="0"/>
              <a:buNone/>
              <a:tabLst/>
              <a:defRPr sz="1100" kern="1200" spc="0" baseline="0">
                <a:solidFill>
                  <a:schemeClr val="bg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r>
              <a:rPr lang="en-US" dirty="0">
                <a:solidFill>
                  <a:schemeClr val="tx1"/>
                </a:solidFill>
              </a:rPr>
              <a:t>Continuous performance plan monitoring and analysis</a:t>
            </a:r>
          </a:p>
          <a:p>
            <a:pPr lvl="0"/>
            <a:r>
              <a:rPr lang="en-US" dirty="0">
                <a:solidFill>
                  <a:schemeClr val="tx1"/>
                </a:solidFill>
              </a:rPr>
              <a:t>Detect problematic plans</a:t>
            </a:r>
          </a:p>
          <a:p>
            <a:pPr lvl="0"/>
            <a:r>
              <a:rPr lang="en-US" dirty="0">
                <a:solidFill>
                  <a:schemeClr val="tx1"/>
                </a:solidFill>
              </a:rPr>
              <a:t>Automatically fix performance problems caused by SQL plan choice regressions</a:t>
            </a:r>
          </a:p>
        </p:txBody>
      </p:sp>
      <p:sp>
        <p:nvSpPr>
          <p:cNvPr id="88" name="Rectangle 87">
            <a:extLst>
              <a:ext uri="{FF2B5EF4-FFF2-40B4-BE49-F238E27FC236}">
                <a16:creationId xmlns:a16="http://schemas.microsoft.com/office/drawing/2014/main" id="{51F908DF-AB8D-4576-9087-21E0F2DA90C9}"/>
              </a:ext>
            </a:extLst>
          </p:cNvPr>
          <p:cNvSpPr/>
          <p:nvPr/>
        </p:nvSpPr>
        <p:spPr bwMode="auto">
          <a:xfrm>
            <a:off x="5892097" y="4014982"/>
            <a:ext cx="130052" cy="934451"/>
          </a:xfrm>
          <a:prstGeom prst="rect">
            <a:avLst/>
          </a:prstGeom>
          <a:no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89" name="Rectangle 88">
            <a:extLst>
              <a:ext uri="{FF2B5EF4-FFF2-40B4-BE49-F238E27FC236}">
                <a16:creationId xmlns:a16="http://schemas.microsoft.com/office/drawing/2014/main" id="{73B688B3-BDCD-4566-9804-7BFCB3C8B1EF}"/>
              </a:ext>
            </a:extLst>
          </p:cNvPr>
          <p:cNvSpPr/>
          <p:nvPr/>
        </p:nvSpPr>
        <p:spPr bwMode="auto">
          <a:xfrm>
            <a:off x="6142469" y="4312935"/>
            <a:ext cx="130052" cy="636497"/>
          </a:xfrm>
          <a:prstGeom prst="rect">
            <a:avLst/>
          </a:prstGeom>
          <a:no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90" name="Rectangle 89">
            <a:extLst>
              <a:ext uri="{FF2B5EF4-FFF2-40B4-BE49-F238E27FC236}">
                <a16:creationId xmlns:a16="http://schemas.microsoft.com/office/drawing/2014/main" id="{355EDB3A-9198-4BEC-87BD-01CD825679BF}"/>
              </a:ext>
            </a:extLst>
          </p:cNvPr>
          <p:cNvSpPr/>
          <p:nvPr/>
        </p:nvSpPr>
        <p:spPr bwMode="auto">
          <a:xfrm>
            <a:off x="6392843" y="4438103"/>
            <a:ext cx="130052" cy="511329"/>
          </a:xfrm>
          <a:prstGeom prst="rect">
            <a:avLst/>
          </a:prstGeom>
          <a:no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91" name="Rectangle 90">
            <a:extLst>
              <a:ext uri="{FF2B5EF4-FFF2-40B4-BE49-F238E27FC236}">
                <a16:creationId xmlns:a16="http://schemas.microsoft.com/office/drawing/2014/main" id="{BEAF08D5-59AB-4E8B-9F67-F795A8E87DFA}"/>
              </a:ext>
            </a:extLst>
          </p:cNvPr>
          <p:cNvSpPr/>
          <p:nvPr/>
        </p:nvSpPr>
        <p:spPr bwMode="auto">
          <a:xfrm>
            <a:off x="6643216" y="4278923"/>
            <a:ext cx="130052" cy="670510"/>
          </a:xfrm>
          <a:prstGeom prst="rect">
            <a:avLst/>
          </a:prstGeom>
          <a:no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92" name="Rectangle 91">
            <a:extLst>
              <a:ext uri="{FF2B5EF4-FFF2-40B4-BE49-F238E27FC236}">
                <a16:creationId xmlns:a16="http://schemas.microsoft.com/office/drawing/2014/main" id="{B8F3EF0E-80A2-43E5-AEEF-BE53426A9BDF}"/>
              </a:ext>
            </a:extLst>
          </p:cNvPr>
          <p:cNvSpPr/>
          <p:nvPr/>
        </p:nvSpPr>
        <p:spPr bwMode="auto">
          <a:xfrm>
            <a:off x="6893590" y="4055797"/>
            <a:ext cx="130052" cy="893635"/>
          </a:xfrm>
          <a:prstGeom prst="rect">
            <a:avLst/>
          </a:prstGeom>
          <a:no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93" name="Rectangle 92">
            <a:extLst>
              <a:ext uri="{FF2B5EF4-FFF2-40B4-BE49-F238E27FC236}">
                <a16:creationId xmlns:a16="http://schemas.microsoft.com/office/drawing/2014/main" id="{DF233286-8C42-4BF8-8688-D44275A7D8C5}"/>
              </a:ext>
            </a:extLst>
          </p:cNvPr>
          <p:cNvSpPr/>
          <p:nvPr/>
        </p:nvSpPr>
        <p:spPr bwMode="auto">
          <a:xfrm>
            <a:off x="7143962" y="4344227"/>
            <a:ext cx="130052" cy="605205"/>
          </a:xfrm>
          <a:prstGeom prst="rect">
            <a:avLst/>
          </a:prstGeom>
          <a:no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94" name="Rectangle 93">
            <a:extLst>
              <a:ext uri="{FF2B5EF4-FFF2-40B4-BE49-F238E27FC236}">
                <a16:creationId xmlns:a16="http://schemas.microsoft.com/office/drawing/2014/main" id="{8C52554E-932C-4751-9254-9541B96706E9}"/>
              </a:ext>
            </a:extLst>
          </p:cNvPr>
          <p:cNvSpPr/>
          <p:nvPr/>
        </p:nvSpPr>
        <p:spPr bwMode="auto">
          <a:xfrm>
            <a:off x="7394336" y="4256787"/>
            <a:ext cx="130052" cy="692646"/>
          </a:xfrm>
          <a:prstGeom prst="rect">
            <a:avLst/>
          </a:prstGeom>
          <a:solidFill>
            <a:schemeClr val="accent1"/>
          </a:solidFill>
          <a:ln w="1270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95" name="Rectangle 94">
            <a:extLst>
              <a:ext uri="{FF2B5EF4-FFF2-40B4-BE49-F238E27FC236}">
                <a16:creationId xmlns:a16="http://schemas.microsoft.com/office/drawing/2014/main" id="{C99CFC12-A5E9-4314-BA18-D28BDA99E7C8}"/>
              </a:ext>
            </a:extLst>
          </p:cNvPr>
          <p:cNvSpPr/>
          <p:nvPr/>
        </p:nvSpPr>
        <p:spPr bwMode="auto">
          <a:xfrm>
            <a:off x="7644709" y="4422770"/>
            <a:ext cx="130052" cy="526662"/>
          </a:xfrm>
          <a:prstGeom prst="rect">
            <a:avLst/>
          </a:prstGeom>
          <a:solidFill>
            <a:schemeClr val="accent1"/>
          </a:solidFill>
          <a:ln w="1270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96" name="Rectangle 95">
            <a:extLst>
              <a:ext uri="{FF2B5EF4-FFF2-40B4-BE49-F238E27FC236}">
                <a16:creationId xmlns:a16="http://schemas.microsoft.com/office/drawing/2014/main" id="{3021AA62-F160-4BDB-B898-8D3A11D1DD49}"/>
              </a:ext>
            </a:extLst>
          </p:cNvPr>
          <p:cNvSpPr/>
          <p:nvPr/>
        </p:nvSpPr>
        <p:spPr bwMode="auto">
          <a:xfrm>
            <a:off x="7895083" y="4278921"/>
            <a:ext cx="130052" cy="670511"/>
          </a:xfrm>
          <a:prstGeom prst="rect">
            <a:avLst/>
          </a:prstGeom>
          <a:solidFill>
            <a:schemeClr val="accent1"/>
          </a:solidFill>
          <a:ln w="1270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97" name="Rectangle 96">
            <a:extLst>
              <a:ext uri="{FF2B5EF4-FFF2-40B4-BE49-F238E27FC236}">
                <a16:creationId xmlns:a16="http://schemas.microsoft.com/office/drawing/2014/main" id="{960DA571-BA2E-4C67-AD98-A24ED3365924}"/>
              </a:ext>
            </a:extLst>
          </p:cNvPr>
          <p:cNvSpPr/>
          <p:nvPr/>
        </p:nvSpPr>
        <p:spPr bwMode="auto">
          <a:xfrm>
            <a:off x="8145455" y="4496087"/>
            <a:ext cx="130052" cy="453345"/>
          </a:xfrm>
          <a:prstGeom prst="rect">
            <a:avLst/>
          </a:prstGeom>
          <a:solidFill>
            <a:schemeClr val="accent1"/>
          </a:solidFill>
          <a:ln w="1270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98" name="Rectangle 97">
            <a:extLst>
              <a:ext uri="{FF2B5EF4-FFF2-40B4-BE49-F238E27FC236}">
                <a16:creationId xmlns:a16="http://schemas.microsoft.com/office/drawing/2014/main" id="{09ED215A-49BC-4AF8-A2E5-0D091B600D4D}"/>
              </a:ext>
            </a:extLst>
          </p:cNvPr>
          <p:cNvSpPr/>
          <p:nvPr/>
        </p:nvSpPr>
        <p:spPr bwMode="auto">
          <a:xfrm>
            <a:off x="8395829" y="4278921"/>
            <a:ext cx="130052" cy="670511"/>
          </a:xfrm>
          <a:prstGeom prst="rect">
            <a:avLst/>
          </a:prstGeom>
          <a:solidFill>
            <a:schemeClr val="accent1"/>
          </a:solidFill>
          <a:ln w="1270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99" name="Rectangle 98">
            <a:extLst>
              <a:ext uri="{FF2B5EF4-FFF2-40B4-BE49-F238E27FC236}">
                <a16:creationId xmlns:a16="http://schemas.microsoft.com/office/drawing/2014/main" id="{E03A1EBB-548F-48C2-B71B-25B01B08C7A7}"/>
              </a:ext>
            </a:extLst>
          </p:cNvPr>
          <p:cNvSpPr/>
          <p:nvPr/>
        </p:nvSpPr>
        <p:spPr bwMode="auto">
          <a:xfrm>
            <a:off x="8646202" y="4106271"/>
            <a:ext cx="130052" cy="843161"/>
          </a:xfrm>
          <a:prstGeom prst="rect">
            <a:avLst/>
          </a:prstGeom>
          <a:solidFill>
            <a:schemeClr val="accent1"/>
          </a:solidFill>
          <a:ln w="1270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0" name="Rectangle 99">
            <a:extLst>
              <a:ext uri="{FF2B5EF4-FFF2-40B4-BE49-F238E27FC236}">
                <a16:creationId xmlns:a16="http://schemas.microsoft.com/office/drawing/2014/main" id="{7C6D9E4E-9F29-4760-8260-3452E04DD901}"/>
              </a:ext>
            </a:extLst>
          </p:cNvPr>
          <p:cNvSpPr/>
          <p:nvPr/>
        </p:nvSpPr>
        <p:spPr bwMode="auto">
          <a:xfrm>
            <a:off x="8896576" y="2257395"/>
            <a:ext cx="130052" cy="2692037"/>
          </a:xfrm>
          <a:prstGeom prst="rect">
            <a:avLst/>
          </a:prstGeom>
          <a:no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1" name="Rectangle 100">
            <a:extLst>
              <a:ext uri="{FF2B5EF4-FFF2-40B4-BE49-F238E27FC236}">
                <a16:creationId xmlns:a16="http://schemas.microsoft.com/office/drawing/2014/main" id="{7B45BE53-D6BD-45AD-AA61-6D0C7C0E3A97}"/>
              </a:ext>
            </a:extLst>
          </p:cNvPr>
          <p:cNvSpPr/>
          <p:nvPr/>
        </p:nvSpPr>
        <p:spPr bwMode="auto">
          <a:xfrm>
            <a:off x="9146949" y="1783535"/>
            <a:ext cx="130052" cy="3165900"/>
          </a:xfrm>
          <a:prstGeom prst="rect">
            <a:avLst/>
          </a:prstGeom>
          <a:no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2" name="Rectangle 101">
            <a:extLst>
              <a:ext uri="{FF2B5EF4-FFF2-40B4-BE49-F238E27FC236}">
                <a16:creationId xmlns:a16="http://schemas.microsoft.com/office/drawing/2014/main" id="{25788453-538E-4562-9AF6-D7FDF4F3F8F7}"/>
              </a:ext>
            </a:extLst>
          </p:cNvPr>
          <p:cNvSpPr/>
          <p:nvPr/>
        </p:nvSpPr>
        <p:spPr bwMode="auto">
          <a:xfrm>
            <a:off x="9397322" y="1397795"/>
            <a:ext cx="130052" cy="3551638"/>
          </a:xfrm>
          <a:prstGeom prst="rect">
            <a:avLst/>
          </a:prstGeom>
          <a:no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3" name="Rectangle 102">
            <a:extLst>
              <a:ext uri="{FF2B5EF4-FFF2-40B4-BE49-F238E27FC236}">
                <a16:creationId xmlns:a16="http://schemas.microsoft.com/office/drawing/2014/main" id="{D5C2057F-19E5-4F23-985D-52D6AD07C81D}"/>
              </a:ext>
            </a:extLst>
          </p:cNvPr>
          <p:cNvSpPr/>
          <p:nvPr/>
        </p:nvSpPr>
        <p:spPr bwMode="auto">
          <a:xfrm>
            <a:off x="9647695" y="1678786"/>
            <a:ext cx="130052" cy="3270648"/>
          </a:xfrm>
          <a:prstGeom prst="rect">
            <a:avLst/>
          </a:prstGeom>
          <a:no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4" name="Rectangle 103">
            <a:extLst>
              <a:ext uri="{FF2B5EF4-FFF2-40B4-BE49-F238E27FC236}">
                <a16:creationId xmlns:a16="http://schemas.microsoft.com/office/drawing/2014/main" id="{89D3C1A2-466F-4310-AAB3-CBC8057BDD59}"/>
              </a:ext>
            </a:extLst>
          </p:cNvPr>
          <p:cNvSpPr/>
          <p:nvPr/>
        </p:nvSpPr>
        <p:spPr bwMode="auto">
          <a:xfrm>
            <a:off x="9898069" y="1309674"/>
            <a:ext cx="130052" cy="3639760"/>
          </a:xfrm>
          <a:prstGeom prst="rect">
            <a:avLst/>
          </a:prstGeom>
          <a:no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5" name="Rectangle 104">
            <a:extLst>
              <a:ext uri="{FF2B5EF4-FFF2-40B4-BE49-F238E27FC236}">
                <a16:creationId xmlns:a16="http://schemas.microsoft.com/office/drawing/2014/main" id="{5A8E02E3-FD84-4233-8F9E-08AEFC3BCA1C}"/>
              </a:ext>
            </a:extLst>
          </p:cNvPr>
          <p:cNvSpPr/>
          <p:nvPr/>
        </p:nvSpPr>
        <p:spPr bwMode="auto">
          <a:xfrm>
            <a:off x="10148442" y="1186635"/>
            <a:ext cx="130052" cy="3762798"/>
          </a:xfrm>
          <a:prstGeom prst="rect">
            <a:avLst/>
          </a:prstGeom>
          <a:no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6" name="Rectangle 105">
            <a:extLst>
              <a:ext uri="{FF2B5EF4-FFF2-40B4-BE49-F238E27FC236}">
                <a16:creationId xmlns:a16="http://schemas.microsoft.com/office/drawing/2014/main" id="{85D7E002-F188-4416-9AED-497E74FE4074}"/>
              </a:ext>
            </a:extLst>
          </p:cNvPr>
          <p:cNvSpPr/>
          <p:nvPr/>
        </p:nvSpPr>
        <p:spPr bwMode="auto">
          <a:xfrm>
            <a:off x="10398815" y="4106271"/>
            <a:ext cx="130052" cy="843161"/>
          </a:xfrm>
          <a:prstGeom prst="rect">
            <a:avLst/>
          </a:prstGeom>
          <a:solidFill>
            <a:schemeClr val="accent1"/>
          </a:solidFill>
          <a:ln w="1270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7" name="Rectangle 106">
            <a:extLst>
              <a:ext uri="{FF2B5EF4-FFF2-40B4-BE49-F238E27FC236}">
                <a16:creationId xmlns:a16="http://schemas.microsoft.com/office/drawing/2014/main" id="{28BB09C3-AD30-4A3D-90A0-2D3DE2CCA159}"/>
              </a:ext>
            </a:extLst>
          </p:cNvPr>
          <p:cNvSpPr/>
          <p:nvPr/>
        </p:nvSpPr>
        <p:spPr bwMode="auto">
          <a:xfrm>
            <a:off x="10649188" y="4203727"/>
            <a:ext cx="130052" cy="745706"/>
          </a:xfrm>
          <a:prstGeom prst="rect">
            <a:avLst/>
          </a:prstGeom>
          <a:solidFill>
            <a:schemeClr val="accent1"/>
          </a:solidFill>
          <a:ln w="1270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8" name="Rectangle 107">
            <a:extLst>
              <a:ext uri="{FF2B5EF4-FFF2-40B4-BE49-F238E27FC236}">
                <a16:creationId xmlns:a16="http://schemas.microsoft.com/office/drawing/2014/main" id="{B629B700-DDCF-4793-84BB-D6D1E7EB00A6}"/>
              </a:ext>
            </a:extLst>
          </p:cNvPr>
          <p:cNvSpPr/>
          <p:nvPr/>
        </p:nvSpPr>
        <p:spPr bwMode="auto">
          <a:xfrm>
            <a:off x="10899562" y="4278921"/>
            <a:ext cx="130052" cy="670511"/>
          </a:xfrm>
          <a:prstGeom prst="rect">
            <a:avLst/>
          </a:prstGeom>
          <a:solidFill>
            <a:schemeClr val="accent1"/>
          </a:solidFill>
          <a:ln w="1270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9" name="Rectangle 108">
            <a:extLst>
              <a:ext uri="{FF2B5EF4-FFF2-40B4-BE49-F238E27FC236}">
                <a16:creationId xmlns:a16="http://schemas.microsoft.com/office/drawing/2014/main" id="{9ED1F579-6933-47C0-9093-80529BC58EF5}"/>
              </a:ext>
            </a:extLst>
          </p:cNvPr>
          <p:cNvSpPr/>
          <p:nvPr/>
        </p:nvSpPr>
        <p:spPr bwMode="auto">
          <a:xfrm>
            <a:off x="11149935" y="4496087"/>
            <a:ext cx="130052" cy="453345"/>
          </a:xfrm>
          <a:prstGeom prst="rect">
            <a:avLst/>
          </a:prstGeom>
          <a:solidFill>
            <a:schemeClr val="accent1"/>
          </a:solidFill>
          <a:ln w="1270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10" name="Rectangle 109">
            <a:extLst>
              <a:ext uri="{FF2B5EF4-FFF2-40B4-BE49-F238E27FC236}">
                <a16:creationId xmlns:a16="http://schemas.microsoft.com/office/drawing/2014/main" id="{3B4F9AF5-3994-4B04-8FEA-E822706662DF}"/>
              </a:ext>
            </a:extLst>
          </p:cNvPr>
          <p:cNvSpPr/>
          <p:nvPr/>
        </p:nvSpPr>
        <p:spPr bwMode="auto">
          <a:xfrm>
            <a:off x="11400308" y="4422770"/>
            <a:ext cx="130052" cy="526662"/>
          </a:xfrm>
          <a:prstGeom prst="rect">
            <a:avLst/>
          </a:prstGeom>
          <a:solidFill>
            <a:schemeClr val="accent1"/>
          </a:solidFill>
          <a:ln w="1270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11" name="Rectangle 110">
            <a:extLst>
              <a:ext uri="{FF2B5EF4-FFF2-40B4-BE49-F238E27FC236}">
                <a16:creationId xmlns:a16="http://schemas.microsoft.com/office/drawing/2014/main" id="{786766A0-2529-47FC-B628-7FFA857D7590}"/>
              </a:ext>
            </a:extLst>
          </p:cNvPr>
          <p:cNvSpPr/>
          <p:nvPr/>
        </p:nvSpPr>
        <p:spPr bwMode="auto">
          <a:xfrm>
            <a:off x="11650674" y="4239100"/>
            <a:ext cx="130052" cy="710332"/>
          </a:xfrm>
          <a:prstGeom prst="rect">
            <a:avLst/>
          </a:prstGeom>
          <a:solidFill>
            <a:schemeClr val="accent1"/>
          </a:solidFill>
          <a:ln w="1270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cxnSp>
        <p:nvCxnSpPr>
          <p:cNvPr id="112" name="Straight Arrow Connector 111">
            <a:extLst>
              <a:ext uri="{FF2B5EF4-FFF2-40B4-BE49-F238E27FC236}">
                <a16:creationId xmlns:a16="http://schemas.microsoft.com/office/drawing/2014/main" id="{873E8C46-B9DC-4051-A4F5-88A9A781196A}"/>
              </a:ext>
            </a:extLst>
          </p:cNvPr>
          <p:cNvCxnSpPr/>
          <p:nvPr/>
        </p:nvCxnSpPr>
        <p:spPr>
          <a:xfrm flipV="1">
            <a:off x="5795588" y="2210251"/>
            <a:ext cx="0" cy="2739183"/>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53732D60-8A38-44AD-9821-A009B03CD7C9}"/>
              </a:ext>
            </a:extLst>
          </p:cNvPr>
          <p:cNvCxnSpPr/>
          <p:nvPr/>
        </p:nvCxnSpPr>
        <p:spPr>
          <a:xfrm>
            <a:off x="5795588" y="4949432"/>
            <a:ext cx="6168673"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4" name="Rectangle 113">
            <a:extLst>
              <a:ext uri="{FF2B5EF4-FFF2-40B4-BE49-F238E27FC236}">
                <a16:creationId xmlns:a16="http://schemas.microsoft.com/office/drawing/2014/main" id="{9B5030EA-8E0F-415C-B291-3093C309461C}"/>
              </a:ext>
            </a:extLst>
          </p:cNvPr>
          <p:cNvSpPr/>
          <p:nvPr/>
        </p:nvSpPr>
        <p:spPr>
          <a:xfrm rot="16200000">
            <a:off x="5160256" y="3526593"/>
            <a:ext cx="928327" cy="249264"/>
          </a:xfrm>
          <a:prstGeom prst="rect">
            <a:avLst/>
          </a:prstGeom>
        </p:spPr>
        <p:txBody>
          <a:bodyPr wrap="none">
            <a:spAutoFit/>
          </a:bodyPr>
          <a:lstStyle/>
          <a:p>
            <a:pPr algn="ctr" defTabSz="914225">
              <a:defRPr/>
            </a:pPr>
            <a:r>
              <a:rPr lang="en-US" sz="1000" b="1" dirty="0">
                <a:solidFill>
                  <a:srgbClr val="0078D7"/>
                </a:solidFill>
                <a:latin typeface="Segoe UI"/>
              </a:rPr>
              <a:t>Query times</a:t>
            </a:r>
          </a:p>
        </p:txBody>
      </p:sp>
      <p:sp>
        <p:nvSpPr>
          <p:cNvPr id="115" name="Rectangle 114">
            <a:extLst>
              <a:ext uri="{FF2B5EF4-FFF2-40B4-BE49-F238E27FC236}">
                <a16:creationId xmlns:a16="http://schemas.microsoft.com/office/drawing/2014/main" id="{23884CBD-710D-4A97-9ABE-79EB44BA2B3C}"/>
              </a:ext>
            </a:extLst>
          </p:cNvPr>
          <p:cNvSpPr/>
          <p:nvPr/>
        </p:nvSpPr>
        <p:spPr>
          <a:xfrm>
            <a:off x="6301607" y="4994350"/>
            <a:ext cx="562895" cy="249264"/>
          </a:xfrm>
          <a:prstGeom prst="rect">
            <a:avLst/>
          </a:prstGeom>
        </p:spPr>
        <p:txBody>
          <a:bodyPr wrap="none">
            <a:spAutoFit/>
          </a:bodyPr>
          <a:lstStyle/>
          <a:p>
            <a:pPr algn="ctr" defTabSz="914225">
              <a:defRPr/>
            </a:pPr>
            <a:r>
              <a:rPr lang="en-US" sz="1000" b="1" dirty="0">
                <a:solidFill>
                  <a:srgbClr val="D2D2D2">
                    <a:lumMod val="75000"/>
                  </a:srgbClr>
                </a:solidFill>
                <a:latin typeface="Segoe UI"/>
              </a:rPr>
              <a:t>Plan 1</a:t>
            </a:r>
          </a:p>
        </p:txBody>
      </p:sp>
      <p:sp>
        <p:nvSpPr>
          <p:cNvPr id="116" name="Rectangle 115">
            <a:extLst>
              <a:ext uri="{FF2B5EF4-FFF2-40B4-BE49-F238E27FC236}">
                <a16:creationId xmlns:a16="http://schemas.microsoft.com/office/drawing/2014/main" id="{7FB827CF-C8A6-492F-8D9F-77015B2CD28D}"/>
              </a:ext>
            </a:extLst>
          </p:cNvPr>
          <p:cNvSpPr/>
          <p:nvPr/>
        </p:nvSpPr>
        <p:spPr>
          <a:xfrm>
            <a:off x="7803845" y="4994350"/>
            <a:ext cx="562895" cy="249264"/>
          </a:xfrm>
          <a:prstGeom prst="rect">
            <a:avLst/>
          </a:prstGeom>
        </p:spPr>
        <p:txBody>
          <a:bodyPr wrap="none">
            <a:spAutoFit/>
          </a:bodyPr>
          <a:lstStyle/>
          <a:p>
            <a:pPr algn="ctr" defTabSz="914225">
              <a:defRPr/>
            </a:pPr>
            <a:r>
              <a:rPr lang="en-US" sz="1000" b="1" dirty="0">
                <a:solidFill>
                  <a:srgbClr val="0078D7"/>
                </a:solidFill>
                <a:latin typeface="Segoe UI"/>
              </a:rPr>
              <a:t>Plan 2</a:t>
            </a:r>
          </a:p>
        </p:txBody>
      </p:sp>
      <p:sp>
        <p:nvSpPr>
          <p:cNvPr id="117" name="Rectangle 116">
            <a:extLst>
              <a:ext uri="{FF2B5EF4-FFF2-40B4-BE49-F238E27FC236}">
                <a16:creationId xmlns:a16="http://schemas.microsoft.com/office/drawing/2014/main" id="{C0E2E113-2B9E-44ED-B023-B4AEC2B9CC9F}"/>
              </a:ext>
            </a:extLst>
          </p:cNvPr>
          <p:cNvSpPr/>
          <p:nvPr/>
        </p:nvSpPr>
        <p:spPr>
          <a:xfrm>
            <a:off x="9306084" y="4994350"/>
            <a:ext cx="562895" cy="249264"/>
          </a:xfrm>
          <a:prstGeom prst="rect">
            <a:avLst/>
          </a:prstGeom>
        </p:spPr>
        <p:txBody>
          <a:bodyPr wrap="none">
            <a:spAutoFit/>
          </a:bodyPr>
          <a:lstStyle/>
          <a:p>
            <a:pPr algn="ctr" defTabSz="914225">
              <a:defRPr/>
            </a:pPr>
            <a:r>
              <a:rPr lang="en-US" sz="1000" b="1" dirty="0">
                <a:solidFill>
                  <a:srgbClr val="D2D2D2">
                    <a:lumMod val="50000"/>
                  </a:srgbClr>
                </a:solidFill>
                <a:latin typeface="Segoe UI"/>
              </a:rPr>
              <a:t>Plan 3</a:t>
            </a:r>
          </a:p>
        </p:txBody>
      </p:sp>
      <p:sp>
        <p:nvSpPr>
          <p:cNvPr id="118" name="Rectangle 117">
            <a:extLst>
              <a:ext uri="{FF2B5EF4-FFF2-40B4-BE49-F238E27FC236}">
                <a16:creationId xmlns:a16="http://schemas.microsoft.com/office/drawing/2014/main" id="{17016383-57CD-433A-8869-E5C2A393575D}"/>
              </a:ext>
            </a:extLst>
          </p:cNvPr>
          <p:cNvSpPr/>
          <p:nvPr/>
        </p:nvSpPr>
        <p:spPr>
          <a:xfrm>
            <a:off x="10808322" y="4994350"/>
            <a:ext cx="562895" cy="249264"/>
          </a:xfrm>
          <a:prstGeom prst="rect">
            <a:avLst/>
          </a:prstGeom>
        </p:spPr>
        <p:txBody>
          <a:bodyPr wrap="none">
            <a:spAutoFit/>
          </a:bodyPr>
          <a:lstStyle/>
          <a:p>
            <a:pPr algn="ctr" defTabSz="914225">
              <a:defRPr/>
            </a:pPr>
            <a:r>
              <a:rPr lang="en-US" sz="1000" b="1" dirty="0">
                <a:solidFill>
                  <a:srgbClr val="0078D7"/>
                </a:solidFill>
                <a:latin typeface="Segoe UI"/>
              </a:rPr>
              <a:t>Plan 2</a:t>
            </a:r>
          </a:p>
        </p:txBody>
      </p:sp>
      <p:sp>
        <p:nvSpPr>
          <p:cNvPr id="119" name="Rectangle 118">
            <a:extLst>
              <a:ext uri="{FF2B5EF4-FFF2-40B4-BE49-F238E27FC236}">
                <a16:creationId xmlns:a16="http://schemas.microsoft.com/office/drawing/2014/main" id="{D04669CA-5DDC-4608-885B-09E3F3353F91}"/>
              </a:ext>
            </a:extLst>
          </p:cNvPr>
          <p:cNvSpPr/>
          <p:nvPr/>
        </p:nvSpPr>
        <p:spPr>
          <a:xfrm>
            <a:off x="8859747" y="5376662"/>
            <a:ext cx="1481286" cy="421850"/>
          </a:xfrm>
          <a:prstGeom prst="rect">
            <a:avLst/>
          </a:prstGeom>
        </p:spPr>
        <p:txBody>
          <a:bodyPr wrap="none">
            <a:spAutoFit/>
          </a:bodyPr>
          <a:lstStyle/>
          <a:p>
            <a:pPr algn="ctr" defTabSz="914225">
              <a:defRPr/>
            </a:pPr>
            <a:r>
              <a:rPr lang="en-US" sz="1050" b="1" dirty="0">
                <a:solidFill>
                  <a:srgbClr val="0078D7"/>
                </a:solidFill>
                <a:latin typeface="Segoe UI"/>
              </a:rPr>
              <a:t>Revert to previously</a:t>
            </a:r>
            <a:br>
              <a:rPr lang="en-US" sz="1050" b="1" dirty="0">
                <a:solidFill>
                  <a:srgbClr val="0078D7"/>
                </a:solidFill>
                <a:latin typeface="Segoe UI"/>
              </a:rPr>
            </a:br>
            <a:r>
              <a:rPr lang="en-US" sz="1050" b="1" dirty="0">
                <a:solidFill>
                  <a:srgbClr val="0078D7"/>
                </a:solidFill>
                <a:latin typeface="Segoe UI"/>
              </a:rPr>
              <a:t> effective plan</a:t>
            </a:r>
          </a:p>
        </p:txBody>
      </p:sp>
      <p:sp>
        <p:nvSpPr>
          <p:cNvPr id="120" name="Freeform 119"/>
          <p:cNvSpPr/>
          <p:nvPr/>
        </p:nvSpPr>
        <p:spPr bwMode="auto">
          <a:xfrm>
            <a:off x="8074337" y="5263998"/>
            <a:ext cx="810476" cy="334238"/>
          </a:xfrm>
          <a:custGeom>
            <a:avLst/>
            <a:gdLst>
              <a:gd name="connsiteX0" fmla="*/ 0 w 862642"/>
              <a:gd name="connsiteY0" fmla="*/ 0 h 336430"/>
              <a:gd name="connsiteX1" fmla="*/ 0 w 862642"/>
              <a:gd name="connsiteY1" fmla="*/ 336430 h 336430"/>
              <a:gd name="connsiteX2" fmla="*/ 862642 w 862642"/>
              <a:gd name="connsiteY2" fmla="*/ 336430 h 336430"/>
            </a:gdLst>
            <a:ahLst/>
            <a:cxnLst>
              <a:cxn ang="0">
                <a:pos x="connsiteX0" y="connsiteY0"/>
              </a:cxn>
              <a:cxn ang="0">
                <a:pos x="connsiteX1" y="connsiteY1"/>
              </a:cxn>
              <a:cxn ang="0">
                <a:pos x="connsiteX2" y="connsiteY2"/>
              </a:cxn>
            </a:cxnLst>
            <a:rect l="l" t="t" r="r" b="b"/>
            <a:pathLst>
              <a:path w="862642" h="336430">
                <a:moveTo>
                  <a:pt x="0" y="0"/>
                </a:moveTo>
                <a:lnTo>
                  <a:pt x="0" y="336430"/>
                </a:lnTo>
                <a:lnTo>
                  <a:pt x="862642" y="336430"/>
                </a:lnTo>
              </a:path>
            </a:pathLst>
          </a:custGeom>
          <a:noFill/>
          <a:ln w="12700">
            <a:solidFill>
              <a:schemeClr val="accent1"/>
            </a:solidFill>
            <a:prstDash val="soli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800" dirty="0">
              <a:solidFill>
                <a:srgbClr val="FFFFFF"/>
              </a:solidFill>
              <a:latin typeface="Segoe UI"/>
            </a:endParaRPr>
          </a:p>
        </p:txBody>
      </p:sp>
      <p:sp>
        <p:nvSpPr>
          <p:cNvPr id="121" name="Freeform 120"/>
          <p:cNvSpPr/>
          <p:nvPr/>
        </p:nvSpPr>
        <p:spPr bwMode="auto">
          <a:xfrm flipH="1">
            <a:off x="10299345" y="5263998"/>
            <a:ext cx="793517" cy="334238"/>
          </a:xfrm>
          <a:custGeom>
            <a:avLst/>
            <a:gdLst>
              <a:gd name="connsiteX0" fmla="*/ 0 w 862642"/>
              <a:gd name="connsiteY0" fmla="*/ 0 h 336430"/>
              <a:gd name="connsiteX1" fmla="*/ 0 w 862642"/>
              <a:gd name="connsiteY1" fmla="*/ 336430 h 336430"/>
              <a:gd name="connsiteX2" fmla="*/ 862642 w 862642"/>
              <a:gd name="connsiteY2" fmla="*/ 336430 h 336430"/>
            </a:gdLst>
            <a:ahLst/>
            <a:cxnLst>
              <a:cxn ang="0">
                <a:pos x="connsiteX0" y="connsiteY0"/>
              </a:cxn>
              <a:cxn ang="0">
                <a:pos x="connsiteX1" y="connsiteY1"/>
              </a:cxn>
              <a:cxn ang="0">
                <a:pos x="connsiteX2" y="connsiteY2"/>
              </a:cxn>
            </a:cxnLst>
            <a:rect l="l" t="t" r="r" b="b"/>
            <a:pathLst>
              <a:path w="862642" h="336430">
                <a:moveTo>
                  <a:pt x="0" y="0"/>
                </a:moveTo>
                <a:lnTo>
                  <a:pt x="0" y="336430"/>
                </a:lnTo>
                <a:lnTo>
                  <a:pt x="862642" y="336430"/>
                </a:lnTo>
              </a:path>
            </a:pathLst>
          </a:custGeom>
          <a:noFill/>
          <a:ln w="12700">
            <a:solidFill>
              <a:schemeClr val="accent1"/>
            </a:solidFill>
            <a:prstDash val="solid"/>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800" dirty="0">
              <a:solidFill>
                <a:srgbClr val="FFFFFF"/>
              </a:solidFill>
              <a:latin typeface="Segoe UI"/>
            </a:endParaRPr>
          </a:p>
        </p:txBody>
      </p:sp>
      <p:sp>
        <p:nvSpPr>
          <p:cNvPr id="122" name="Freeform 121"/>
          <p:cNvSpPr/>
          <p:nvPr/>
        </p:nvSpPr>
        <p:spPr bwMode="auto">
          <a:xfrm rot="10800000">
            <a:off x="7342523" y="5197391"/>
            <a:ext cx="1477956" cy="61866"/>
          </a:xfrm>
          <a:custGeom>
            <a:avLst/>
            <a:gdLst>
              <a:gd name="connsiteX0" fmla="*/ 0 w 570640"/>
              <a:gd name="connsiteY0" fmla="*/ 96252 h 103128"/>
              <a:gd name="connsiteX1" fmla="*/ 0 w 570640"/>
              <a:gd name="connsiteY1" fmla="*/ 0 h 103128"/>
              <a:gd name="connsiteX2" fmla="*/ 570640 w 570640"/>
              <a:gd name="connsiteY2" fmla="*/ 0 h 103128"/>
              <a:gd name="connsiteX3" fmla="*/ 570640 w 570640"/>
              <a:gd name="connsiteY3" fmla="*/ 103128 h 103128"/>
            </a:gdLst>
            <a:ahLst/>
            <a:cxnLst>
              <a:cxn ang="0">
                <a:pos x="connsiteX0" y="connsiteY0"/>
              </a:cxn>
              <a:cxn ang="0">
                <a:pos x="connsiteX1" y="connsiteY1"/>
              </a:cxn>
              <a:cxn ang="0">
                <a:pos x="connsiteX2" y="connsiteY2"/>
              </a:cxn>
              <a:cxn ang="0">
                <a:pos x="connsiteX3" y="connsiteY3"/>
              </a:cxn>
            </a:cxnLst>
            <a:rect l="l" t="t" r="r" b="b"/>
            <a:pathLst>
              <a:path w="570640" h="103128">
                <a:moveTo>
                  <a:pt x="0" y="96252"/>
                </a:moveTo>
                <a:lnTo>
                  <a:pt x="0" y="0"/>
                </a:lnTo>
                <a:lnTo>
                  <a:pt x="570640" y="0"/>
                </a:lnTo>
                <a:lnTo>
                  <a:pt x="570640" y="103128"/>
                </a:lnTo>
              </a:path>
            </a:pathLst>
          </a:custGeom>
          <a:noFill/>
          <a:ln w="12700">
            <a:solidFill>
              <a:schemeClr val="accent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800" dirty="0">
              <a:solidFill>
                <a:srgbClr val="FFFFFF"/>
              </a:solidFill>
              <a:latin typeface="Segoe UI"/>
            </a:endParaRPr>
          </a:p>
        </p:txBody>
      </p:sp>
    </p:spTree>
    <p:extLst>
      <p:ext uri="{BB962C8B-B14F-4D97-AF65-F5344CB8AC3E}">
        <p14:creationId xmlns:p14="http://schemas.microsoft.com/office/powerpoint/2010/main" val="49249560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5" y="2534625"/>
            <a:ext cx="6651925" cy="997196"/>
          </a:xfrm>
        </p:spPr>
        <p:txBody>
          <a:bodyPr/>
          <a:lstStyle/>
          <a:p>
            <a:r>
              <a:rPr lang="en-US" dirty="0"/>
              <a:t>Module 2 Activity: The intelligent database</a:t>
            </a:r>
          </a:p>
        </p:txBody>
      </p:sp>
      <p:sp>
        <p:nvSpPr>
          <p:cNvPr id="4" name="Text Placeholder 3"/>
          <p:cNvSpPr>
            <a:spLocks noGrp="1"/>
          </p:cNvSpPr>
          <p:nvPr>
            <p:ph type="body" sz="quarter" idx="12"/>
          </p:nvPr>
        </p:nvSpPr>
        <p:spPr>
          <a:xfrm>
            <a:off x="585216" y="3977319"/>
            <a:ext cx="6400800" cy="307777"/>
          </a:xfrm>
        </p:spPr>
        <p:txBody>
          <a:bodyPr/>
          <a:lstStyle/>
          <a:p>
            <a:r>
              <a:rPr lang="en-US" dirty="0"/>
              <a:t>Automatic Tuning</a:t>
            </a:r>
          </a:p>
        </p:txBody>
      </p:sp>
    </p:spTree>
    <p:extLst>
      <p:ext uri="{BB962C8B-B14F-4D97-AF65-F5344CB8AC3E}">
        <p14:creationId xmlns:p14="http://schemas.microsoft.com/office/powerpoint/2010/main" val="35807466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0718FE6-848F-4911-835B-B785770CDD03}"/>
              </a:ext>
            </a:extLst>
          </p:cNvPr>
          <p:cNvSpPr/>
          <p:nvPr/>
        </p:nvSpPr>
        <p:spPr>
          <a:xfrm>
            <a:off x="4924300" y="272880"/>
            <a:ext cx="7004089" cy="645743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2"/>
              </a:solidFill>
              <a:effectLst/>
              <a:uLnTx/>
              <a:uFillTx/>
              <a:latin typeface="Segoe UI"/>
              <a:ea typeface="+mn-ea"/>
              <a:cs typeface="+mn-cs"/>
            </a:endParaRPr>
          </a:p>
        </p:txBody>
      </p:sp>
      <p:sp>
        <p:nvSpPr>
          <p:cNvPr id="56" name="Rectangle 55" hidden="1">
            <a:extLst>
              <a:ext uri="{FF2B5EF4-FFF2-40B4-BE49-F238E27FC236}">
                <a16:creationId xmlns:a16="http://schemas.microsoft.com/office/drawing/2014/main" id="{19CC742D-016B-475E-96FF-EBBCA5A0633D}"/>
              </a:ext>
            </a:extLst>
          </p:cNvPr>
          <p:cNvSpPr/>
          <p:nvPr/>
        </p:nvSpPr>
        <p:spPr>
          <a:xfrm>
            <a:off x="5150498" y="316866"/>
            <a:ext cx="6736701" cy="622109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2"/>
              </a:solidFill>
              <a:effectLst/>
              <a:uLnTx/>
              <a:uFillTx/>
              <a:latin typeface="Segoe UI"/>
              <a:ea typeface="+mn-ea"/>
              <a:cs typeface="+mn-cs"/>
            </a:endParaRPr>
          </a:p>
        </p:txBody>
      </p:sp>
      <p:sp>
        <p:nvSpPr>
          <p:cNvPr id="17" name="Title 16"/>
          <p:cNvSpPr>
            <a:spLocks noGrp="1"/>
          </p:cNvSpPr>
          <p:nvPr>
            <p:ph type="title"/>
          </p:nvPr>
        </p:nvSpPr>
        <p:spPr>
          <a:xfrm>
            <a:off x="588263" y="457200"/>
            <a:ext cx="3899051" cy="1510643"/>
          </a:xfrm>
        </p:spPr>
        <p:txBody>
          <a:bodyPr/>
          <a:lstStyle/>
          <a:p>
            <a:r>
              <a:rPr lang="en-US" dirty="0"/>
              <a:t>Intelligent Performance with SQL Server</a:t>
            </a:r>
            <a:br>
              <a:rPr lang="en-US" dirty="0"/>
            </a:br>
            <a:r>
              <a:rPr lang="en-US" sz="2400" dirty="0">
                <a:solidFill>
                  <a:schemeClr val="accent1"/>
                </a:solidFill>
              </a:rPr>
              <a:t>The intelligent database</a:t>
            </a:r>
            <a:r>
              <a:rPr lang="en-US" dirty="0">
                <a:solidFill>
                  <a:schemeClr val="accent1"/>
                </a:solidFill>
              </a:rPr>
              <a:t> </a:t>
            </a:r>
          </a:p>
        </p:txBody>
      </p:sp>
      <p:sp>
        <p:nvSpPr>
          <p:cNvPr id="6" name="Text Placeholder 5"/>
          <p:cNvSpPr>
            <a:spLocks noGrp="1"/>
          </p:cNvSpPr>
          <p:nvPr>
            <p:ph type="body" sz="quarter" idx="10"/>
          </p:nvPr>
        </p:nvSpPr>
        <p:spPr>
          <a:xfrm>
            <a:off x="451806" y="2949879"/>
            <a:ext cx="4246880" cy="3282950"/>
          </a:xfrm>
        </p:spPr>
        <p:txBody>
          <a:bodyPr/>
          <a:lstStyle/>
          <a:p>
            <a:r>
              <a:rPr lang="en-US" sz="2000" dirty="0"/>
              <a:t>Intelligent Query Processing</a:t>
            </a:r>
          </a:p>
          <a:p>
            <a:r>
              <a:rPr lang="en-US" sz="2000" dirty="0"/>
              <a:t>Gain performance insights anytime and anywhere with Lightweight Query Profiling</a:t>
            </a:r>
          </a:p>
          <a:p>
            <a:r>
              <a:rPr lang="en-US" dirty="0"/>
              <a:t>Accelerating I/O performance with Persistent Memory</a:t>
            </a:r>
          </a:p>
          <a:p>
            <a:r>
              <a:rPr lang="en-US" dirty="0"/>
              <a:t>Hybrid Buffer Pool</a:t>
            </a:r>
          </a:p>
          <a:p>
            <a:r>
              <a:rPr lang="en-US" dirty="0"/>
              <a:t>Tempdb: It Just Runs Faster (Planned)</a:t>
            </a:r>
          </a:p>
        </p:txBody>
      </p:sp>
      <p:sp>
        <p:nvSpPr>
          <p:cNvPr id="2" name="TextBox 1">
            <a:extLst>
              <a:ext uri="{FF2B5EF4-FFF2-40B4-BE49-F238E27FC236}">
                <a16:creationId xmlns:a16="http://schemas.microsoft.com/office/drawing/2014/main" id="{03CD28AC-ABB0-459E-B524-B9DD391F732F}"/>
              </a:ext>
            </a:extLst>
          </p:cNvPr>
          <p:cNvSpPr txBox="1"/>
          <p:nvPr/>
        </p:nvSpPr>
        <p:spPr>
          <a:xfrm>
            <a:off x="5760096" y="802122"/>
            <a:ext cx="5507737" cy="276999"/>
          </a:xfrm>
          <a:prstGeom prst="rect">
            <a:avLst/>
          </a:prstGeom>
          <a:noFill/>
        </p:spPr>
        <p:txBody>
          <a:bodyPr wrap="square" lIns="0" tIns="0" rIns="0" bIns="0" rtlCol="0">
            <a:spAutoFit/>
          </a:bodyPr>
          <a:lstStyle/>
          <a:p>
            <a:pPr algn="ctr"/>
            <a:r>
              <a:rPr lang="en-US" sz="1800" b="1" dirty="0">
                <a:ln w="3175">
                  <a:noFill/>
                </a:ln>
                <a:solidFill>
                  <a:schemeClr val="accent1"/>
                </a:solidFill>
                <a:latin typeface="+mj-lt"/>
                <a:cs typeface="Segoe UI" pitchFamily="34" charset="0"/>
              </a:rPr>
              <a:t>The Intelligent Query Processing feature family </a:t>
            </a:r>
          </a:p>
        </p:txBody>
      </p:sp>
      <p:sp useBgFill="1">
        <p:nvSpPr>
          <p:cNvPr id="21" name="Rectangle 20">
            <a:extLst>
              <a:ext uri="{FF2B5EF4-FFF2-40B4-BE49-F238E27FC236}">
                <a16:creationId xmlns:a16="http://schemas.microsoft.com/office/drawing/2014/main" id="{B2924516-36AF-4D67-89E8-D65C74AD5A19}"/>
              </a:ext>
            </a:extLst>
          </p:cNvPr>
          <p:cNvSpPr/>
          <p:nvPr/>
        </p:nvSpPr>
        <p:spPr>
          <a:xfrm>
            <a:off x="7451729" y="1596837"/>
            <a:ext cx="1159397"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b="1" kern="1200" dirty="0"/>
              <a:t>Intelligent QP</a:t>
            </a:r>
          </a:p>
        </p:txBody>
      </p:sp>
      <p:sp useBgFill="1">
        <p:nvSpPr>
          <p:cNvPr id="24" name="Rectangle 23">
            <a:extLst>
              <a:ext uri="{FF2B5EF4-FFF2-40B4-BE49-F238E27FC236}">
                <a16:creationId xmlns:a16="http://schemas.microsoft.com/office/drawing/2014/main" id="{CF405002-1DCF-4B08-BF19-9ED07F9282C2}"/>
              </a:ext>
            </a:extLst>
          </p:cNvPr>
          <p:cNvSpPr/>
          <p:nvPr/>
        </p:nvSpPr>
        <p:spPr>
          <a:xfrm>
            <a:off x="5276393" y="2422176"/>
            <a:ext cx="1099818"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kern="1200" dirty="0"/>
              <a:t>Adaptive QP</a:t>
            </a:r>
          </a:p>
        </p:txBody>
      </p:sp>
      <p:sp useBgFill="1">
        <p:nvSpPr>
          <p:cNvPr id="27" name="Rectangle 26">
            <a:extLst>
              <a:ext uri="{FF2B5EF4-FFF2-40B4-BE49-F238E27FC236}">
                <a16:creationId xmlns:a16="http://schemas.microsoft.com/office/drawing/2014/main" id="{0DEFA020-3E80-4522-AE30-FD3D03CB296E}"/>
              </a:ext>
            </a:extLst>
          </p:cNvPr>
          <p:cNvSpPr/>
          <p:nvPr/>
        </p:nvSpPr>
        <p:spPr>
          <a:xfrm>
            <a:off x="5276392" y="3243251"/>
            <a:ext cx="1097280"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kern="1200" dirty="0"/>
              <a:t>Adaptive Joins</a:t>
            </a:r>
          </a:p>
        </p:txBody>
      </p:sp>
      <p:sp useBgFill="1">
        <p:nvSpPr>
          <p:cNvPr id="30" name="Rectangle 29">
            <a:extLst>
              <a:ext uri="{FF2B5EF4-FFF2-40B4-BE49-F238E27FC236}">
                <a16:creationId xmlns:a16="http://schemas.microsoft.com/office/drawing/2014/main" id="{A62500B7-E168-482D-965A-A56B08B0D1A6}"/>
              </a:ext>
            </a:extLst>
          </p:cNvPr>
          <p:cNvSpPr/>
          <p:nvPr/>
        </p:nvSpPr>
        <p:spPr>
          <a:xfrm>
            <a:off x="5273854" y="4066459"/>
            <a:ext cx="1104894"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kern="1200" dirty="0"/>
              <a:t>Batch Mode</a:t>
            </a:r>
          </a:p>
        </p:txBody>
      </p:sp>
      <p:sp useBgFill="1">
        <p:nvSpPr>
          <p:cNvPr id="33" name="Rectangle 32">
            <a:extLst>
              <a:ext uri="{FF2B5EF4-FFF2-40B4-BE49-F238E27FC236}">
                <a16:creationId xmlns:a16="http://schemas.microsoft.com/office/drawing/2014/main" id="{DCE6503C-9448-4D60-9FF6-CA43233BF57C}"/>
              </a:ext>
            </a:extLst>
          </p:cNvPr>
          <p:cNvSpPr/>
          <p:nvPr/>
        </p:nvSpPr>
        <p:spPr>
          <a:xfrm>
            <a:off x="6477401" y="3243251"/>
            <a:ext cx="1097280"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kern="1200" dirty="0"/>
              <a:t>Interleaved Execution</a:t>
            </a:r>
          </a:p>
        </p:txBody>
      </p:sp>
      <p:sp useBgFill="1">
        <p:nvSpPr>
          <p:cNvPr id="36" name="Rectangle 35">
            <a:extLst>
              <a:ext uri="{FF2B5EF4-FFF2-40B4-BE49-F238E27FC236}">
                <a16:creationId xmlns:a16="http://schemas.microsoft.com/office/drawing/2014/main" id="{08F77E2F-AC0C-4639-987E-A64E0DE48B74}"/>
              </a:ext>
            </a:extLst>
          </p:cNvPr>
          <p:cNvSpPr/>
          <p:nvPr/>
        </p:nvSpPr>
        <p:spPr>
          <a:xfrm>
            <a:off x="7679488" y="3243251"/>
            <a:ext cx="1097280"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b="1" kern="1200" dirty="0"/>
              <a:t>Memory Grant Feedback</a:t>
            </a:r>
          </a:p>
        </p:txBody>
      </p:sp>
      <p:sp useBgFill="1">
        <p:nvSpPr>
          <p:cNvPr id="39" name="Rectangle 38">
            <a:extLst>
              <a:ext uri="{FF2B5EF4-FFF2-40B4-BE49-F238E27FC236}">
                <a16:creationId xmlns:a16="http://schemas.microsoft.com/office/drawing/2014/main" id="{660B5F05-B46B-4644-8723-4D7FBECAE158}"/>
              </a:ext>
            </a:extLst>
          </p:cNvPr>
          <p:cNvSpPr/>
          <p:nvPr/>
        </p:nvSpPr>
        <p:spPr>
          <a:xfrm>
            <a:off x="8310982" y="4066459"/>
            <a:ext cx="967784"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b="1" kern="1200" dirty="0"/>
              <a:t>Row Mode</a:t>
            </a:r>
          </a:p>
        </p:txBody>
      </p:sp>
      <p:sp useBgFill="1">
        <p:nvSpPr>
          <p:cNvPr id="42" name="Rectangle 41">
            <a:extLst>
              <a:ext uri="{FF2B5EF4-FFF2-40B4-BE49-F238E27FC236}">
                <a16:creationId xmlns:a16="http://schemas.microsoft.com/office/drawing/2014/main" id="{7B07E8EC-AD02-4FBC-B1E7-047330C39846}"/>
              </a:ext>
            </a:extLst>
          </p:cNvPr>
          <p:cNvSpPr/>
          <p:nvPr/>
        </p:nvSpPr>
        <p:spPr>
          <a:xfrm>
            <a:off x="7232024" y="4066459"/>
            <a:ext cx="967784"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kern="1200" dirty="0"/>
              <a:t>Batch Mode</a:t>
            </a:r>
          </a:p>
        </p:txBody>
      </p:sp>
      <p:sp useBgFill="1">
        <p:nvSpPr>
          <p:cNvPr id="45" name="Rectangle 44">
            <a:extLst>
              <a:ext uri="{FF2B5EF4-FFF2-40B4-BE49-F238E27FC236}">
                <a16:creationId xmlns:a16="http://schemas.microsoft.com/office/drawing/2014/main" id="{6308A7D0-E484-48B1-83F6-9272A70ECC3F}"/>
              </a:ext>
            </a:extLst>
          </p:cNvPr>
          <p:cNvSpPr/>
          <p:nvPr/>
        </p:nvSpPr>
        <p:spPr>
          <a:xfrm>
            <a:off x="6489596" y="2422176"/>
            <a:ext cx="1467751"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b="1" kern="1200" dirty="0"/>
              <a:t>Table Variable</a:t>
            </a:r>
            <a:br>
              <a:rPr lang="en-US" sz="1000" b="1" kern="1200" dirty="0"/>
            </a:br>
            <a:r>
              <a:rPr lang="en-US" sz="1000" b="1" kern="1200" dirty="0"/>
              <a:t>Deferred Compilation</a:t>
            </a:r>
          </a:p>
        </p:txBody>
      </p:sp>
      <p:sp useBgFill="1">
        <p:nvSpPr>
          <p:cNvPr id="48" name="Rectangle 47">
            <a:extLst>
              <a:ext uri="{FF2B5EF4-FFF2-40B4-BE49-F238E27FC236}">
                <a16:creationId xmlns:a16="http://schemas.microsoft.com/office/drawing/2014/main" id="{2D041344-93F7-4AD8-9BD2-9C5D369628ED}"/>
              </a:ext>
            </a:extLst>
          </p:cNvPr>
          <p:cNvSpPr/>
          <p:nvPr/>
        </p:nvSpPr>
        <p:spPr>
          <a:xfrm>
            <a:off x="9343514" y="2422176"/>
            <a:ext cx="1159397"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b="1" kern="1200" dirty="0"/>
              <a:t>Approximate QP</a:t>
            </a:r>
          </a:p>
        </p:txBody>
      </p:sp>
      <p:sp useBgFill="1">
        <p:nvSpPr>
          <p:cNvPr id="51" name="Rectangle 50">
            <a:extLst>
              <a:ext uri="{FF2B5EF4-FFF2-40B4-BE49-F238E27FC236}">
                <a16:creationId xmlns:a16="http://schemas.microsoft.com/office/drawing/2014/main" id="{B5DAC383-926C-4986-8EEB-3E51E3E4E792}"/>
              </a:ext>
            </a:extLst>
          </p:cNvPr>
          <p:cNvSpPr/>
          <p:nvPr/>
        </p:nvSpPr>
        <p:spPr>
          <a:xfrm>
            <a:off x="9343514" y="3243251"/>
            <a:ext cx="1159397"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b="1" kern="1200" dirty="0"/>
              <a:t>Approximate Count Distinct</a:t>
            </a:r>
          </a:p>
        </p:txBody>
      </p:sp>
      <p:sp useBgFill="1">
        <p:nvSpPr>
          <p:cNvPr id="53" name="Rectangle 52">
            <a:extLst>
              <a:ext uri="{FF2B5EF4-FFF2-40B4-BE49-F238E27FC236}">
                <a16:creationId xmlns:a16="http://schemas.microsoft.com/office/drawing/2014/main" id="{547D5832-084B-49A9-9A36-D0E5754921CF}"/>
              </a:ext>
            </a:extLst>
          </p:cNvPr>
          <p:cNvSpPr/>
          <p:nvPr/>
        </p:nvSpPr>
        <p:spPr>
          <a:xfrm>
            <a:off x="8070732" y="2422176"/>
            <a:ext cx="1159397"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b="1" kern="1200" dirty="0"/>
              <a:t>Batch Mode for Row Store</a:t>
            </a:r>
          </a:p>
        </p:txBody>
      </p:sp>
      <p:cxnSp>
        <p:nvCxnSpPr>
          <p:cNvPr id="58" name="Straight Connector 57">
            <a:extLst>
              <a:ext uri="{FF2B5EF4-FFF2-40B4-BE49-F238E27FC236}">
                <a16:creationId xmlns:a16="http://schemas.microsoft.com/office/drawing/2014/main" id="{98970BEF-679B-4F61-AD70-315ED8E60EB4}"/>
              </a:ext>
            </a:extLst>
          </p:cNvPr>
          <p:cNvCxnSpPr>
            <a:cxnSpLocks/>
            <a:stCxn id="48" idx="2"/>
            <a:endCxn id="51" idx="0"/>
          </p:cNvCxnSpPr>
          <p:nvPr/>
        </p:nvCxnSpPr>
        <p:spPr>
          <a:xfrm>
            <a:off x="9923213" y="2793183"/>
            <a:ext cx="0" cy="450068"/>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DC502415-1610-40BD-8705-26631DA8EA26}"/>
              </a:ext>
            </a:extLst>
          </p:cNvPr>
          <p:cNvSpPr txBox="1"/>
          <p:nvPr/>
        </p:nvSpPr>
        <p:spPr>
          <a:xfrm>
            <a:off x="5394458" y="6431232"/>
            <a:ext cx="5911716" cy="153888"/>
          </a:xfrm>
          <a:prstGeom prst="rect">
            <a:avLst/>
          </a:prstGeom>
          <a:noFill/>
        </p:spPr>
        <p:txBody>
          <a:bodyPr wrap="square" lIns="0" tIns="0" rIns="0" bIns="0" rtlCol="0">
            <a:spAutoFit/>
          </a:bodyPr>
          <a:lstStyle/>
          <a:p>
            <a:pPr algn="l"/>
            <a:r>
              <a:rPr lang="en-US" sz="1000" dirty="0">
                <a:gradFill>
                  <a:gsLst>
                    <a:gs pos="2917">
                      <a:schemeClr val="tx1"/>
                    </a:gs>
                    <a:gs pos="30000">
                      <a:schemeClr val="tx1"/>
                    </a:gs>
                  </a:gsLst>
                  <a:lin ang="5400000" scaled="0"/>
                </a:gradFill>
              </a:rPr>
              <a:t>Bold indicates new and improved features in SQL Server 2019</a:t>
            </a:r>
          </a:p>
        </p:txBody>
      </p:sp>
      <p:cxnSp>
        <p:nvCxnSpPr>
          <p:cNvPr id="57" name="Connector: Elbow 56">
            <a:extLst>
              <a:ext uri="{FF2B5EF4-FFF2-40B4-BE49-F238E27FC236}">
                <a16:creationId xmlns:a16="http://schemas.microsoft.com/office/drawing/2014/main" id="{5B0C2673-2380-4B3B-9879-69DAA50C118C}"/>
              </a:ext>
            </a:extLst>
          </p:cNvPr>
          <p:cNvCxnSpPr>
            <a:cxnSpLocks/>
            <a:stCxn id="24" idx="2"/>
            <a:endCxn id="33" idx="0"/>
          </p:cNvCxnSpPr>
          <p:nvPr/>
        </p:nvCxnSpPr>
        <p:spPr>
          <a:xfrm rot="16200000" flipH="1">
            <a:off x="6201137" y="2418347"/>
            <a:ext cx="450068" cy="1199739"/>
          </a:xfrm>
          <a:prstGeom prst="bentConnector3">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1" name="Connector: Elbow 60">
            <a:extLst>
              <a:ext uri="{FF2B5EF4-FFF2-40B4-BE49-F238E27FC236}">
                <a16:creationId xmlns:a16="http://schemas.microsoft.com/office/drawing/2014/main" id="{24560B9B-846E-4D84-9C9A-54136C892A5A}"/>
              </a:ext>
            </a:extLst>
          </p:cNvPr>
          <p:cNvCxnSpPr>
            <a:cxnSpLocks/>
            <a:stCxn id="24" idx="2"/>
            <a:endCxn id="36" idx="0"/>
          </p:cNvCxnSpPr>
          <p:nvPr/>
        </p:nvCxnSpPr>
        <p:spPr>
          <a:xfrm rot="16200000" flipH="1">
            <a:off x="6802181" y="1817304"/>
            <a:ext cx="450068" cy="2401826"/>
          </a:xfrm>
          <a:prstGeom prst="bentConnector3">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C111EF12-8983-43F1-97A7-79C47A6589FB}"/>
              </a:ext>
            </a:extLst>
          </p:cNvPr>
          <p:cNvCxnSpPr>
            <a:cxnSpLocks/>
            <a:stCxn id="24" idx="2"/>
            <a:endCxn id="27" idx="0"/>
          </p:cNvCxnSpPr>
          <p:nvPr/>
        </p:nvCxnSpPr>
        <p:spPr>
          <a:xfrm flipH="1">
            <a:off x="5825032" y="2793183"/>
            <a:ext cx="1270" cy="450068"/>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6" name="Connector: Elbow 65">
            <a:extLst>
              <a:ext uri="{FF2B5EF4-FFF2-40B4-BE49-F238E27FC236}">
                <a16:creationId xmlns:a16="http://schemas.microsoft.com/office/drawing/2014/main" id="{B1D4C4D9-089C-4744-86D3-BD7151920201}"/>
              </a:ext>
            </a:extLst>
          </p:cNvPr>
          <p:cNvCxnSpPr>
            <a:stCxn id="36" idx="2"/>
            <a:endCxn id="42" idx="0"/>
          </p:cNvCxnSpPr>
          <p:nvPr/>
        </p:nvCxnSpPr>
        <p:spPr>
          <a:xfrm rot="5400000">
            <a:off x="7745922" y="3584252"/>
            <a:ext cx="452201" cy="512212"/>
          </a:xfrm>
          <a:prstGeom prst="bentConnector3">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8" name="Connector: Elbow 67">
            <a:extLst>
              <a:ext uri="{FF2B5EF4-FFF2-40B4-BE49-F238E27FC236}">
                <a16:creationId xmlns:a16="http://schemas.microsoft.com/office/drawing/2014/main" id="{15EE9360-3715-4816-A827-99611212AF6D}"/>
              </a:ext>
            </a:extLst>
          </p:cNvPr>
          <p:cNvCxnSpPr>
            <a:stCxn id="39" idx="0"/>
            <a:endCxn id="36" idx="2"/>
          </p:cNvCxnSpPr>
          <p:nvPr/>
        </p:nvCxnSpPr>
        <p:spPr>
          <a:xfrm rot="16200000" flipV="1">
            <a:off x="8285401" y="3556986"/>
            <a:ext cx="452201" cy="566746"/>
          </a:xfrm>
          <a:prstGeom prst="bentConnector3">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CADFC45-721E-428C-8995-5189CD367FCA}"/>
              </a:ext>
            </a:extLst>
          </p:cNvPr>
          <p:cNvCxnSpPr>
            <a:cxnSpLocks/>
            <a:stCxn id="27" idx="2"/>
            <a:endCxn id="30" idx="0"/>
          </p:cNvCxnSpPr>
          <p:nvPr/>
        </p:nvCxnSpPr>
        <p:spPr>
          <a:xfrm>
            <a:off x="5825032" y="3614258"/>
            <a:ext cx="1269" cy="452201"/>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3" name="Connector: Elbow 72">
            <a:extLst>
              <a:ext uri="{FF2B5EF4-FFF2-40B4-BE49-F238E27FC236}">
                <a16:creationId xmlns:a16="http://schemas.microsoft.com/office/drawing/2014/main" id="{75FADEBA-E0F6-4B35-87EB-9AE7E17B8271}"/>
              </a:ext>
            </a:extLst>
          </p:cNvPr>
          <p:cNvCxnSpPr>
            <a:cxnSpLocks/>
            <a:stCxn id="24" idx="0"/>
            <a:endCxn id="21" idx="2"/>
          </p:cNvCxnSpPr>
          <p:nvPr/>
        </p:nvCxnSpPr>
        <p:spPr>
          <a:xfrm rot="5400000" flipH="1" flipV="1">
            <a:off x="6701699" y="1092447"/>
            <a:ext cx="454332" cy="2205126"/>
          </a:xfrm>
          <a:prstGeom prst="bentConnector3">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5" name="Connector: Elbow 74">
            <a:extLst>
              <a:ext uri="{FF2B5EF4-FFF2-40B4-BE49-F238E27FC236}">
                <a16:creationId xmlns:a16="http://schemas.microsoft.com/office/drawing/2014/main" id="{53FE1575-912F-4577-8949-9A7483B24174}"/>
              </a:ext>
            </a:extLst>
          </p:cNvPr>
          <p:cNvCxnSpPr>
            <a:stCxn id="45" idx="0"/>
            <a:endCxn id="21" idx="2"/>
          </p:cNvCxnSpPr>
          <p:nvPr/>
        </p:nvCxnSpPr>
        <p:spPr>
          <a:xfrm rot="5400000" flipH="1" flipV="1">
            <a:off x="7400284" y="1791032"/>
            <a:ext cx="454332" cy="807956"/>
          </a:xfrm>
          <a:prstGeom prst="bentConnector3">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7" name="Connector: Elbow 76">
            <a:extLst>
              <a:ext uri="{FF2B5EF4-FFF2-40B4-BE49-F238E27FC236}">
                <a16:creationId xmlns:a16="http://schemas.microsoft.com/office/drawing/2014/main" id="{4A0E597E-3386-4346-AAE8-DD704C74B2D3}"/>
              </a:ext>
            </a:extLst>
          </p:cNvPr>
          <p:cNvCxnSpPr>
            <a:stCxn id="53" idx="0"/>
            <a:endCxn id="21" idx="2"/>
          </p:cNvCxnSpPr>
          <p:nvPr/>
        </p:nvCxnSpPr>
        <p:spPr>
          <a:xfrm rot="16200000" flipV="1">
            <a:off x="8113764" y="1885508"/>
            <a:ext cx="454332" cy="619003"/>
          </a:xfrm>
          <a:prstGeom prst="bentConnector3">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9" name="Connector: Elbow 78">
            <a:extLst>
              <a:ext uri="{FF2B5EF4-FFF2-40B4-BE49-F238E27FC236}">
                <a16:creationId xmlns:a16="http://schemas.microsoft.com/office/drawing/2014/main" id="{BBD9302B-24F0-4491-A026-3A438B1354EA}"/>
              </a:ext>
            </a:extLst>
          </p:cNvPr>
          <p:cNvCxnSpPr>
            <a:stCxn id="48" idx="0"/>
            <a:endCxn id="21" idx="2"/>
          </p:cNvCxnSpPr>
          <p:nvPr/>
        </p:nvCxnSpPr>
        <p:spPr>
          <a:xfrm rot="16200000" flipV="1">
            <a:off x="8750155" y="1249117"/>
            <a:ext cx="454332" cy="1891785"/>
          </a:xfrm>
          <a:prstGeom prst="bentConnector3">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useBgFill="1">
        <p:nvSpPr>
          <p:cNvPr id="32" name="Rectangle 31">
            <a:extLst>
              <a:ext uri="{FF2B5EF4-FFF2-40B4-BE49-F238E27FC236}">
                <a16:creationId xmlns:a16="http://schemas.microsoft.com/office/drawing/2014/main" id="{50361F8B-B78F-4DE0-90BF-7461F4B6E140}"/>
              </a:ext>
            </a:extLst>
          </p:cNvPr>
          <p:cNvSpPr/>
          <p:nvPr/>
        </p:nvSpPr>
        <p:spPr>
          <a:xfrm>
            <a:off x="10624202" y="2422175"/>
            <a:ext cx="1159397"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b="1" kern="1200" dirty="0"/>
              <a:t>Scalar UDF</a:t>
            </a:r>
          </a:p>
          <a:p>
            <a:pPr marL="0" lvl="0" indent="0" algn="ctr" defTabSz="444500">
              <a:spcBef>
                <a:spcPct val="0"/>
              </a:spcBef>
              <a:spcAft>
                <a:spcPct val="35000"/>
              </a:spcAft>
              <a:buNone/>
            </a:pPr>
            <a:r>
              <a:rPr lang="en-US" sz="1000" b="1" kern="1200" dirty="0"/>
              <a:t> inlining</a:t>
            </a:r>
          </a:p>
        </p:txBody>
      </p:sp>
      <p:cxnSp>
        <p:nvCxnSpPr>
          <p:cNvPr id="4" name="Straight Connector 3">
            <a:extLst>
              <a:ext uri="{FF2B5EF4-FFF2-40B4-BE49-F238E27FC236}">
                <a16:creationId xmlns:a16="http://schemas.microsoft.com/office/drawing/2014/main" id="{2183FEFE-F22C-472D-80C1-1AEE744B1065}"/>
              </a:ext>
            </a:extLst>
          </p:cNvPr>
          <p:cNvCxnSpPr/>
          <p:nvPr/>
        </p:nvCxnSpPr>
        <p:spPr>
          <a:xfrm>
            <a:off x="9923212" y="2195009"/>
            <a:ext cx="1280688"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C801D23-66A1-4E18-86CD-F07295970240}"/>
              </a:ext>
            </a:extLst>
          </p:cNvPr>
          <p:cNvCxnSpPr>
            <a:cxnSpLocks/>
          </p:cNvCxnSpPr>
          <p:nvPr/>
        </p:nvCxnSpPr>
        <p:spPr>
          <a:xfrm>
            <a:off x="11203900" y="2195009"/>
            <a:ext cx="0" cy="217302"/>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731220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06D616-A928-450B-B4C1-501792403483}"/>
              </a:ext>
            </a:extLst>
          </p:cNvPr>
          <p:cNvSpPr>
            <a:spLocks noGrp="1"/>
          </p:cNvSpPr>
          <p:nvPr>
            <p:ph type="title"/>
          </p:nvPr>
        </p:nvSpPr>
        <p:spPr>
          <a:xfrm>
            <a:off x="303675" y="300404"/>
            <a:ext cx="6328352" cy="553998"/>
          </a:xfrm>
        </p:spPr>
        <p:txBody>
          <a:bodyPr/>
          <a:lstStyle/>
          <a:p>
            <a:r>
              <a:rPr lang="en-US" dirty="0"/>
              <a:t>Intelligent Query Processing</a:t>
            </a:r>
          </a:p>
        </p:txBody>
      </p:sp>
      <p:sp>
        <p:nvSpPr>
          <p:cNvPr id="4" name="Text Placeholder 2">
            <a:extLst>
              <a:ext uri="{FF2B5EF4-FFF2-40B4-BE49-F238E27FC236}">
                <a16:creationId xmlns:a16="http://schemas.microsoft.com/office/drawing/2014/main" id="{A8242765-A8D1-40E8-BB41-DEBF2D96353C}"/>
              </a:ext>
            </a:extLst>
          </p:cNvPr>
          <p:cNvSpPr txBox="1">
            <a:spLocks/>
          </p:cNvSpPr>
          <p:nvPr/>
        </p:nvSpPr>
        <p:spPr>
          <a:xfrm>
            <a:off x="281151" y="1173618"/>
            <a:ext cx="11744742" cy="805349"/>
          </a:xfrm>
          <a:prstGeom prst="rect">
            <a:avLst/>
          </a:prstGeom>
          <a:solidFill>
            <a:schemeClr val="bg1">
              <a:lumMod val="85000"/>
            </a:schemeClr>
          </a:solidFill>
        </p:spPr>
        <p:txBody>
          <a:bodyPr vert="horz" wrap="square" lIns="0" tIns="0" rIns="0" bIns="0" rtlCol="0">
            <a:spAutoFit/>
          </a:bodyPr>
          <a:lstStyle>
            <a:lvl1pPr marL="228600" marR="0" indent="-228600" algn="l" defTabSz="932742" rtl="0" eaLnBrk="1" fontAlgn="auto" latinLnBrk="0" hangingPunct="1">
              <a:lnSpc>
                <a:spcPct val="100000"/>
              </a:lnSpc>
              <a:spcBef>
                <a:spcPts val="1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2400" b="1" dirty="0"/>
              <a:t>The problem</a:t>
            </a:r>
          </a:p>
          <a:p>
            <a:pPr marL="0" indent="0">
              <a:buFont typeface="Wingdings" panose="05000000000000000000" pitchFamily="2" charset="2"/>
              <a:buNone/>
            </a:pPr>
            <a:r>
              <a:rPr lang="en-US" dirty="0"/>
              <a:t>Build a query processor to work and adapt to any type of workload with no application changes required</a:t>
            </a:r>
          </a:p>
        </p:txBody>
      </p:sp>
      <p:graphicFrame>
        <p:nvGraphicFramePr>
          <p:cNvPr id="5" name="Diagram 4">
            <a:extLst>
              <a:ext uri="{FF2B5EF4-FFF2-40B4-BE49-F238E27FC236}">
                <a16:creationId xmlns:a16="http://schemas.microsoft.com/office/drawing/2014/main" id="{756C5AFB-B734-48DD-BDAD-9BE26E0E25D8}"/>
              </a:ext>
            </a:extLst>
          </p:cNvPr>
          <p:cNvGraphicFramePr/>
          <p:nvPr>
            <p:extLst>
              <p:ext uri="{D42A27DB-BD31-4B8C-83A1-F6EECF244321}">
                <p14:modId xmlns:p14="http://schemas.microsoft.com/office/powerpoint/2010/main" val="3046536168"/>
              </p:ext>
            </p:extLst>
          </p:nvPr>
        </p:nvGraphicFramePr>
        <p:xfrm>
          <a:off x="281151" y="2104697"/>
          <a:ext cx="6062977" cy="44528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7" name="Rectangle 16">
            <a:extLst>
              <a:ext uri="{FF2B5EF4-FFF2-40B4-BE49-F238E27FC236}">
                <a16:creationId xmlns:a16="http://schemas.microsoft.com/office/drawing/2014/main" id="{969B3A57-BDD7-4640-823C-EF0DA391F127}"/>
              </a:ext>
            </a:extLst>
          </p:cNvPr>
          <p:cNvSpPr/>
          <p:nvPr/>
        </p:nvSpPr>
        <p:spPr bwMode="auto">
          <a:xfrm>
            <a:off x="7567449" y="3035698"/>
            <a:ext cx="4343400" cy="393302"/>
          </a:xfrm>
          <a:prstGeom prst="rect">
            <a:avLst/>
          </a:prstGeom>
          <a:solidFill>
            <a:schemeClr val="bg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Adaptive Join</a:t>
            </a:r>
          </a:p>
        </p:txBody>
      </p:sp>
      <p:sp>
        <p:nvSpPr>
          <p:cNvPr id="18" name="Rectangle 17">
            <a:extLst>
              <a:ext uri="{FF2B5EF4-FFF2-40B4-BE49-F238E27FC236}">
                <a16:creationId xmlns:a16="http://schemas.microsoft.com/office/drawing/2014/main" id="{AC875067-6E5B-4BA6-9040-3C23457B4ABB}"/>
              </a:ext>
            </a:extLst>
          </p:cNvPr>
          <p:cNvSpPr/>
          <p:nvPr/>
        </p:nvSpPr>
        <p:spPr bwMode="auto">
          <a:xfrm>
            <a:off x="7567449" y="3905689"/>
            <a:ext cx="4343400" cy="393302"/>
          </a:xfrm>
          <a:prstGeom prst="rect">
            <a:avLst/>
          </a:prstGeom>
          <a:solidFill>
            <a:schemeClr val="bg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Memory Grant Feedback for Batch and Row</a:t>
            </a:r>
          </a:p>
        </p:txBody>
      </p:sp>
      <p:sp>
        <p:nvSpPr>
          <p:cNvPr id="21" name="Rectangle 20">
            <a:extLst>
              <a:ext uri="{FF2B5EF4-FFF2-40B4-BE49-F238E27FC236}">
                <a16:creationId xmlns:a16="http://schemas.microsoft.com/office/drawing/2014/main" id="{DF09DCF5-3F23-49F7-904A-D667EA341707}"/>
              </a:ext>
            </a:extLst>
          </p:cNvPr>
          <p:cNvSpPr/>
          <p:nvPr/>
        </p:nvSpPr>
        <p:spPr bwMode="auto">
          <a:xfrm>
            <a:off x="7567449" y="4623339"/>
            <a:ext cx="4343400" cy="393302"/>
          </a:xfrm>
          <a:prstGeom prst="rect">
            <a:avLst/>
          </a:prstGeom>
          <a:solidFill>
            <a:schemeClr val="bg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Batch Mode for Row Store</a:t>
            </a:r>
          </a:p>
        </p:txBody>
      </p:sp>
      <p:sp>
        <p:nvSpPr>
          <p:cNvPr id="23" name="Rectangle 22">
            <a:extLst>
              <a:ext uri="{FF2B5EF4-FFF2-40B4-BE49-F238E27FC236}">
                <a16:creationId xmlns:a16="http://schemas.microsoft.com/office/drawing/2014/main" id="{21C1FB8D-CC85-4C61-A913-BB9F775C631A}"/>
              </a:ext>
            </a:extLst>
          </p:cNvPr>
          <p:cNvSpPr/>
          <p:nvPr/>
        </p:nvSpPr>
        <p:spPr bwMode="auto">
          <a:xfrm>
            <a:off x="7567449" y="5191216"/>
            <a:ext cx="4343400" cy="595903"/>
          </a:xfrm>
          <a:prstGeom prst="rect">
            <a:avLst/>
          </a:prstGeom>
          <a:solidFill>
            <a:schemeClr val="bg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Interleaved Execution</a:t>
            </a:r>
          </a:p>
          <a:p>
            <a:pPr algn="ctr" defTabSz="932472" fontAlgn="base">
              <a:spcBef>
                <a:spcPct val="0"/>
              </a:spcBef>
              <a:spcAft>
                <a:spcPct val="0"/>
              </a:spcAft>
            </a:pPr>
            <a:r>
              <a:rPr lang="en-US" sz="1600" dirty="0">
                <a:gradFill>
                  <a:gsLst>
                    <a:gs pos="40075">
                      <a:srgbClr val="FFFFFF"/>
                    </a:gs>
                    <a:gs pos="30000">
                      <a:srgbClr val="FFFFFF"/>
                    </a:gs>
                  </a:gsLst>
                  <a:lin ang="5400000" scaled="0"/>
                </a:gradFill>
              </a:rPr>
              <a:t>Temporary Table Deferred Compilation</a:t>
            </a:r>
          </a:p>
        </p:txBody>
      </p:sp>
      <p:sp>
        <p:nvSpPr>
          <p:cNvPr id="24" name="Rectangle 23">
            <a:extLst>
              <a:ext uri="{FF2B5EF4-FFF2-40B4-BE49-F238E27FC236}">
                <a16:creationId xmlns:a16="http://schemas.microsoft.com/office/drawing/2014/main" id="{48126318-057D-49A7-88CA-6E6B491340DD}"/>
              </a:ext>
            </a:extLst>
          </p:cNvPr>
          <p:cNvSpPr/>
          <p:nvPr/>
        </p:nvSpPr>
        <p:spPr bwMode="auto">
          <a:xfrm>
            <a:off x="7567449" y="5961694"/>
            <a:ext cx="4343400" cy="595903"/>
          </a:xfrm>
          <a:prstGeom prst="rect">
            <a:avLst/>
          </a:prstGeom>
          <a:solidFill>
            <a:schemeClr val="bg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Approximate Count Distinct</a:t>
            </a:r>
          </a:p>
          <a:p>
            <a:pPr algn="ctr" defTabSz="932472" fontAlgn="base">
              <a:spcBef>
                <a:spcPct val="0"/>
              </a:spcBef>
              <a:spcAft>
                <a:spcPct val="0"/>
              </a:spcAft>
            </a:pPr>
            <a:r>
              <a:rPr lang="en-US" sz="1600" dirty="0">
                <a:gradFill>
                  <a:gsLst>
                    <a:gs pos="40075">
                      <a:srgbClr val="FFFFFF"/>
                    </a:gs>
                    <a:gs pos="30000">
                      <a:srgbClr val="FFFFFF"/>
                    </a:gs>
                  </a:gsLst>
                  <a:lin ang="5400000" scaled="0"/>
                </a:gradFill>
              </a:rPr>
              <a:t>Scalar UDF Inling</a:t>
            </a:r>
          </a:p>
        </p:txBody>
      </p:sp>
      <p:sp>
        <p:nvSpPr>
          <p:cNvPr id="30" name="Arrow: Right 29">
            <a:extLst>
              <a:ext uri="{FF2B5EF4-FFF2-40B4-BE49-F238E27FC236}">
                <a16:creationId xmlns:a16="http://schemas.microsoft.com/office/drawing/2014/main" id="{8009D427-6E19-4E93-AA37-AD1B922BFBDC}"/>
              </a:ext>
            </a:extLst>
          </p:cNvPr>
          <p:cNvSpPr/>
          <p:nvPr/>
        </p:nvSpPr>
        <p:spPr bwMode="auto">
          <a:xfrm>
            <a:off x="6632029" y="3090459"/>
            <a:ext cx="717331" cy="283779"/>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1" name="Arrow: Right 30">
            <a:extLst>
              <a:ext uri="{FF2B5EF4-FFF2-40B4-BE49-F238E27FC236}">
                <a16:creationId xmlns:a16="http://schemas.microsoft.com/office/drawing/2014/main" id="{9F9B9F62-1FCA-4AC7-8EE1-A13E400B4C04}"/>
              </a:ext>
            </a:extLst>
          </p:cNvPr>
          <p:cNvSpPr/>
          <p:nvPr/>
        </p:nvSpPr>
        <p:spPr bwMode="auto">
          <a:xfrm>
            <a:off x="6632029" y="3960450"/>
            <a:ext cx="717331" cy="283779"/>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2" name="Arrow: Right 31">
            <a:extLst>
              <a:ext uri="{FF2B5EF4-FFF2-40B4-BE49-F238E27FC236}">
                <a16:creationId xmlns:a16="http://schemas.microsoft.com/office/drawing/2014/main" id="{EBA399C5-500D-45E4-B85A-CE7B7501A1DF}"/>
              </a:ext>
            </a:extLst>
          </p:cNvPr>
          <p:cNvSpPr/>
          <p:nvPr/>
        </p:nvSpPr>
        <p:spPr bwMode="auto">
          <a:xfrm>
            <a:off x="6632028" y="4688551"/>
            <a:ext cx="717331" cy="283779"/>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3" name="Arrow: Right 32">
            <a:extLst>
              <a:ext uri="{FF2B5EF4-FFF2-40B4-BE49-F238E27FC236}">
                <a16:creationId xmlns:a16="http://schemas.microsoft.com/office/drawing/2014/main" id="{52892F0B-8C0E-4F91-80ED-A49DB1FBBE21}"/>
              </a:ext>
            </a:extLst>
          </p:cNvPr>
          <p:cNvSpPr/>
          <p:nvPr/>
        </p:nvSpPr>
        <p:spPr bwMode="auto">
          <a:xfrm>
            <a:off x="6632028" y="5337729"/>
            <a:ext cx="717331" cy="283779"/>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4" name="Arrow: Right 33">
            <a:extLst>
              <a:ext uri="{FF2B5EF4-FFF2-40B4-BE49-F238E27FC236}">
                <a16:creationId xmlns:a16="http://schemas.microsoft.com/office/drawing/2014/main" id="{81C84B40-1FB7-4CD7-B118-E115CE2DE3F7}"/>
              </a:ext>
            </a:extLst>
          </p:cNvPr>
          <p:cNvSpPr/>
          <p:nvPr/>
        </p:nvSpPr>
        <p:spPr bwMode="auto">
          <a:xfrm>
            <a:off x="6632027" y="6110999"/>
            <a:ext cx="717331" cy="283779"/>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5" name="TextBox 34">
            <a:extLst>
              <a:ext uri="{FF2B5EF4-FFF2-40B4-BE49-F238E27FC236}">
                <a16:creationId xmlns:a16="http://schemas.microsoft.com/office/drawing/2014/main" id="{B57F6A72-5D52-4AB8-965D-87DBE00DABCA}"/>
              </a:ext>
            </a:extLst>
          </p:cNvPr>
          <p:cNvSpPr txBox="1"/>
          <p:nvPr/>
        </p:nvSpPr>
        <p:spPr>
          <a:xfrm>
            <a:off x="8915401" y="2540634"/>
            <a:ext cx="1477392"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Feature Suite</a:t>
            </a:r>
          </a:p>
        </p:txBody>
      </p:sp>
      <p:sp>
        <p:nvSpPr>
          <p:cNvPr id="36" name="TextBox 35">
            <a:extLst>
              <a:ext uri="{FF2B5EF4-FFF2-40B4-BE49-F238E27FC236}">
                <a16:creationId xmlns:a16="http://schemas.microsoft.com/office/drawing/2014/main" id="{283BE658-19C0-4208-97EB-1923FDCD387B}"/>
              </a:ext>
            </a:extLst>
          </p:cNvPr>
          <p:cNvSpPr txBox="1"/>
          <p:nvPr/>
        </p:nvSpPr>
        <p:spPr>
          <a:xfrm>
            <a:off x="10455855" y="3090459"/>
            <a:ext cx="250068" cy="184666"/>
          </a:xfrm>
          <a:prstGeom prst="rect">
            <a:avLst/>
          </a:prstGeom>
          <a:noFill/>
        </p:spPr>
        <p:txBody>
          <a:bodyPr wrap="none" lIns="0" tIns="0" rIns="0" bIns="0" rtlCol="0">
            <a:spAutoFit/>
          </a:bodyPr>
          <a:lstStyle/>
          <a:p>
            <a:pPr algn="l"/>
            <a:r>
              <a:rPr lang="en-US" sz="1200" dirty="0">
                <a:solidFill>
                  <a:schemeClr val="accent1"/>
                </a:solidFill>
              </a:rPr>
              <a:t>140</a:t>
            </a:r>
          </a:p>
        </p:txBody>
      </p:sp>
      <p:sp>
        <p:nvSpPr>
          <p:cNvPr id="37" name="TextBox 36">
            <a:extLst>
              <a:ext uri="{FF2B5EF4-FFF2-40B4-BE49-F238E27FC236}">
                <a16:creationId xmlns:a16="http://schemas.microsoft.com/office/drawing/2014/main" id="{419C65B1-FAC1-4E7A-A373-157143274046}"/>
              </a:ext>
            </a:extLst>
          </p:cNvPr>
          <p:cNvSpPr txBox="1"/>
          <p:nvPr/>
        </p:nvSpPr>
        <p:spPr>
          <a:xfrm>
            <a:off x="10455855" y="3721023"/>
            <a:ext cx="250068" cy="184666"/>
          </a:xfrm>
          <a:prstGeom prst="rect">
            <a:avLst/>
          </a:prstGeom>
          <a:noFill/>
        </p:spPr>
        <p:txBody>
          <a:bodyPr wrap="none" lIns="0" tIns="0" rIns="0" bIns="0" rtlCol="0">
            <a:spAutoFit/>
          </a:bodyPr>
          <a:lstStyle/>
          <a:p>
            <a:pPr algn="l"/>
            <a:r>
              <a:rPr lang="en-US" sz="1200" dirty="0">
                <a:solidFill>
                  <a:schemeClr val="accent1"/>
                </a:solidFill>
              </a:rPr>
              <a:t>140</a:t>
            </a:r>
          </a:p>
        </p:txBody>
      </p:sp>
      <p:sp>
        <p:nvSpPr>
          <p:cNvPr id="38" name="TextBox 37">
            <a:extLst>
              <a:ext uri="{FF2B5EF4-FFF2-40B4-BE49-F238E27FC236}">
                <a16:creationId xmlns:a16="http://schemas.microsoft.com/office/drawing/2014/main" id="{13064CB9-93B4-411F-8D13-74D0B25D4A46}"/>
              </a:ext>
            </a:extLst>
          </p:cNvPr>
          <p:cNvSpPr txBox="1"/>
          <p:nvPr/>
        </p:nvSpPr>
        <p:spPr>
          <a:xfrm>
            <a:off x="10789559" y="5294952"/>
            <a:ext cx="250068" cy="184666"/>
          </a:xfrm>
          <a:prstGeom prst="rect">
            <a:avLst/>
          </a:prstGeom>
          <a:noFill/>
        </p:spPr>
        <p:txBody>
          <a:bodyPr wrap="none" lIns="0" tIns="0" rIns="0" bIns="0" rtlCol="0">
            <a:spAutoFit/>
          </a:bodyPr>
          <a:lstStyle/>
          <a:p>
            <a:pPr algn="l"/>
            <a:r>
              <a:rPr lang="en-US" sz="1200" dirty="0">
                <a:solidFill>
                  <a:schemeClr val="accent1"/>
                </a:solidFill>
              </a:rPr>
              <a:t>140</a:t>
            </a:r>
          </a:p>
        </p:txBody>
      </p:sp>
      <p:sp>
        <p:nvSpPr>
          <p:cNvPr id="39" name="TextBox 38">
            <a:extLst>
              <a:ext uri="{FF2B5EF4-FFF2-40B4-BE49-F238E27FC236}">
                <a16:creationId xmlns:a16="http://schemas.microsoft.com/office/drawing/2014/main" id="{9D9AF2FB-AF0C-47A1-A9FF-1212B6CAA38C}"/>
              </a:ext>
            </a:extLst>
          </p:cNvPr>
          <p:cNvSpPr txBox="1"/>
          <p:nvPr/>
        </p:nvSpPr>
        <p:spPr>
          <a:xfrm>
            <a:off x="11372882" y="3731114"/>
            <a:ext cx="250068" cy="184666"/>
          </a:xfrm>
          <a:prstGeom prst="rect">
            <a:avLst/>
          </a:prstGeom>
          <a:noFill/>
        </p:spPr>
        <p:txBody>
          <a:bodyPr wrap="none" lIns="0" tIns="0" rIns="0" bIns="0" rtlCol="0">
            <a:spAutoFit/>
          </a:bodyPr>
          <a:lstStyle/>
          <a:p>
            <a:pPr algn="l"/>
            <a:r>
              <a:rPr lang="en-US" sz="1200" dirty="0">
                <a:solidFill>
                  <a:schemeClr val="accent2"/>
                </a:solidFill>
              </a:rPr>
              <a:t>150</a:t>
            </a:r>
          </a:p>
        </p:txBody>
      </p:sp>
      <p:sp>
        <p:nvSpPr>
          <p:cNvPr id="40" name="TextBox 39">
            <a:extLst>
              <a:ext uri="{FF2B5EF4-FFF2-40B4-BE49-F238E27FC236}">
                <a16:creationId xmlns:a16="http://schemas.microsoft.com/office/drawing/2014/main" id="{F95BF0E3-2795-48AC-AE4C-611F5633A1D8}"/>
              </a:ext>
            </a:extLst>
          </p:cNvPr>
          <p:cNvSpPr txBox="1"/>
          <p:nvPr/>
        </p:nvSpPr>
        <p:spPr>
          <a:xfrm>
            <a:off x="11039627" y="4738107"/>
            <a:ext cx="250068" cy="184666"/>
          </a:xfrm>
          <a:prstGeom prst="rect">
            <a:avLst/>
          </a:prstGeom>
          <a:noFill/>
        </p:spPr>
        <p:txBody>
          <a:bodyPr wrap="none" lIns="0" tIns="0" rIns="0" bIns="0" rtlCol="0">
            <a:spAutoFit/>
          </a:bodyPr>
          <a:lstStyle/>
          <a:p>
            <a:pPr algn="l"/>
            <a:r>
              <a:rPr lang="en-US" sz="1200" dirty="0">
                <a:solidFill>
                  <a:schemeClr val="accent2"/>
                </a:solidFill>
              </a:rPr>
              <a:t>150</a:t>
            </a:r>
          </a:p>
        </p:txBody>
      </p:sp>
      <p:sp>
        <p:nvSpPr>
          <p:cNvPr id="41" name="TextBox 40">
            <a:extLst>
              <a:ext uri="{FF2B5EF4-FFF2-40B4-BE49-F238E27FC236}">
                <a16:creationId xmlns:a16="http://schemas.microsoft.com/office/drawing/2014/main" id="{E768ECB5-0F17-4735-B1B0-B16476213E6E}"/>
              </a:ext>
            </a:extLst>
          </p:cNvPr>
          <p:cNvSpPr txBox="1"/>
          <p:nvPr/>
        </p:nvSpPr>
        <p:spPr>
          <a:xfrm>
            <a:off x="11039627" y="6066602"/>
            <a:ext cx="250068" cy="184666"/>
          </a:xfrm>
          <a:prstGeom prst="rect">
            <a:avLst/>
          </a:prstGeom>
          <a:noFill/>
        </p:spPr>
        <p:txBody>
          <a:bodyPr wrap="none" lIns="0" tIns="0" rIns="0" bIns="0" rtlCol="0">
            <a:spAutoFit/>
          </a:bodyPr>
          <a:lstStyle/>
          <a:p>
            <a:pPr algn="l"/>
            <a:r>
              <a:rPr lang="en-US" sz="1200" dirty="0">
                <a:solidFill>
                  <a:schemeClr val="accent2"/>
                </a:solidFill>
              </a:rPr>
              <a:t>150</a:t>
            </a:r>
          </a:p>
        </p:txBody>
      </p:sp>
      <p:sp>
        <p:nvSpPr>
          <p:cNvPr id="42" name="TextBox 41">
            <a:extLst>
              <a:ext uri="{FF2B5EF4-FFF2-40B4-BE49-F238E27FC236}">
                <a16:creationId xmlns:a16="http://schemas.microsoft.com/office/drawing/2014/main" id="{8B512D7B-9306-4F6F-9F64-DF5ADEB58CF0}"/>
              </a:ext>
            </a:extLst>
          </p:cNvPr>
          <p:cNvSpPr txBox="1"/>
          <p:nvPr/>
        </p:nvSpPr>
        <p:spPr>
          <a:xfrm>
            <a:off x="10580889" y="6293162"/>
            <a:ext cx="250068" cy="184666"/>
          </a:xfrm>
          <a:prstGeom prst="rect">
            <a:avLst/>
          </a:prstGeom>
          <a:noFill/>
        </p:spPr>
        <p:txBody>
          <a:bodyPr wrap="none" lIns="0" tIns="0" rIns="0" bIns="0" rtlCol="0">
            <a:spAutoFit/>
          </a:bodyPr>
          <a:lstStyle/>
          <a:p>
            <a:pPr algn="l"/>
            <a:r>
              <a:rPr lang="en-US" sz="1200" dirty="0">
                <a:solidFill>
                  <a:schemeClr val="accent2"/>
                </a:solidFill>
              </a:rPr>
              <a:t>150</a:t>
            </a:r>
          </a:p>
        </p:txBody>
      </p:sp>
      <p:sp>
        <p:nvSpPr>
          <p:cNvPr id="45" name="TextBox 44">
            <a:extLst>
              <a:ext uri="{FF2B5EF4-FFF2-40B4-BE49-F238E27FC236}">
                <a16:creationId xmlns:a16="http://schemas.microsoft.com/office/drawing/2014/main" id="{603C6775-9AF7-4597-A378-B59A5673DE22}"/>
              </a:ext>
            </a:extLst>
          </p:cNvPr>
          <p:cNvSpPr txBox="1"/>
          <p:nvPr/>
        </p:nvSpPr>
        <p:spPr>
          <a:xfrm>
            <a:off x="9226143" y="93522"/>
            <a:ext cx="1826334" cy="246221"/>
          </a:xfrm>
          <a:prstGeom prst="rect">
            <a:avLst/>
          </a:prstGeom>
          <a:noFill/>
        </p:spPr>
        <p:txBody>
          <a:bodyPr wrap="none" lIns="0" tIns="0" rIns="0" bIns="0" rtlCol="0">
            <a:spAutoFit/>
          </a:bodyPr>
          <a:lstStyle/>
          <a:p>
            <a:pPr algn="l"/>
            <a:r>
              <a:rPr lang="en-US" sz="1600" dirty="0">
                <a:gradFill>
                  <a:gsLst>
                    <a:gs pos="2917">
                      <a:schemeClr val="tx1"/>
                    </a:gs>
                    <a:gs pos="30000">
                      <a:schemeClr val="tx1"/>
                    </a:gs>
                  </a:gsLst>
                  <a:lin ang="5400000" scaled="0"/>
                </a:gradFill>
              </a:rPr>
              <a:t>dbcompat to enable</a:t>
            </a:r>
          </a:p>
        </p:txBody>
      </p:sp>
      <p:graphicFrame>
        <p:nvGraphicFramePr>
          <p:cNvPr id="46" name="Table 45">
            <a:extLst>
              <a:ext uri="{FF2B5EF4-FFF2-40B4-BE49-F238E27FC236}">
                <a16:creationId xmlns:a16="http://schemas.microsoft.com/office/drawing/2014/main" id="{FA3B5E3C-0698-4C15-9506-499D2C9678B3}"/>
              </a:ext>
            </a:extLst>
          </p:cNvPr>
          <p:cNvGraphicFramePr>
            <a:graphicFrameLocks noGrp="1"/>
          </p:cNvGraphicFramePr>
          <p:nvPr>
            <p:extLst>
              <p:ext uri="{D42A27DB-BD31-4B8C-83A1-F6EECF244321}">
                <p14:modId xmlns:p14="http://schemas.microsoft.com/office/powerpoint/2010/main" val="834375753"/>
              </p:ext>
            </p:extLst>
          </p:nvPr>
        </p:nvGraphicFramePr>
        <p:xfrm>
          <a:off x="9222145" y="398556"/>
          <a:ext cx="2803748" cy="612642"/>
        </p:xfrm>
        <a:graphic>
          <a:graphicData uri="http://schemas.openxmlformats.org/drawingml/2006/table">
            <a:tbl>
              <a:tblPr firstRow="1" bandRow="1">
                <a:tableStyleId>{5C22544A-7EE6-4342-B048-85BDC9FD1C3A}</a:tableStyleId>
              </a:tblPr>
              <a:tblGrid>
                <a:gridCol w="1401874">
                  <a:extLst>
                    <a:ext uri="{9D8B030D-6E8A-4147-A177-3AD203B41FA5}">
                      <a16:colId xmlns:a16="http://schemas.microsoft.com/office/drawing/2014/main" val="2804277250"/>
                    </a:ext>
                  </a:extLst>
                </a:gridCol>
                <a:gridCol w="1401874">
                  <a:extLst>
                    <a:ext uri="{9D8B030D-6E8A-4147-A177-3AD203B41FA5}">
                      <a16:colId xmlns:a16="http://schemas.microsoft.com/office/drawing/2014/main" val="259281053"/>
                    </a:ext>
                  </a:extLst>
                </a:gridCol>
              </a:tblGrid>
              <a:tr h="306321">
                <a:tc>
                  <a:txBody>
                    <a:bodyPr/>
                    <a:lstStyle/>
                    <a:p>
                      <a:r>
                        <a:rPr lang="en-US" sz="1200" dirty="0"/>
                        <a:t>140</a:t>
                      </a:r>
                    </a:p>
                  </a:txBody>
                  <a:tcPr/>
                </a:tc>
                <a:tc>
                  <a:txBody>
                    <a:bodyPr/>
                    <a:lstStyle/>
                    <a:p>
                      <a:r>
                        <a:rPr lang="en-US" sz="1200" dirty="0"/>
                        <a:t>SQL Server 2017</a:t>
                      </a:r>
                    </a:p>
                  </a:txBody>
                  <a:tcPr/>
                </a:tc>
                <a:extLst>
                  <a:ext uri="{0D108BD9-81ED-4DB2-BD59-A6C34878D82A}">
                    <a16:rowId xmlns:a16="http://schemas.microsoft.com/office/drawing/2014/main" val="3616316682"/>
                  </a:ext>
                </a:extLst>
              </a:tr>
              <a:tr h="306321">
                <a:tc>
                  <a:txBody>
                    <a:bodyPr/>
                    <a:lstStyle/>
                    <a:p>
                      <a:r>
                        <a:rPr lang="en-US" sz="1200" dirty="0"/>
                        <a:t>150</a:t>
                      </a:r>
                    </a:p>
                  </a:txBody>
                  <a:tcPr/>
                </a:tc>
                <a:tc>
                  <a:txBody>
                    <a:bodyPr/>
                    <a:lstStyle/>
                    <a:p>
                      <a:r>
                        <a:rPr lang="en-US" sz="1200" dirty="0"/>
                        <a:t>SQL Server 2019</a:t>
                      </a:r>
                    </a:p>
                  </a:txBody>
                  <a:tcPr/>
                </a:tc>
                <a:extLst>
                  <a:ext uri="{0D108BD9-81ED-4DB2-BD59-A6C34878D82A}">
                    <a16:rowId xmlns:a16="http://schemas.microsoft.com/office/drawing/2014/main" val="18046059"/>
                  </a:ext>
                </a:extLst>
              </a:tr>
            </a:tbl>
          </a:graphicData>
        </a:graphic>
      </p:graphicFrame>
      <p:sp>
        <p:nvSpPr>
          <p:cNvPr id="25" name="TextBox 24">
            <a:extLst>
              <a:ext uri="{FF2B5EF4-FFF2-40B4-BE49-F238E27FC236}">
                <a16:creationId xmlns:a16="http://schemas.microsoft.com/office/drawing/2014/main" id="{9D92F06B-14B4-4241-BE69-CAC742C738E5}"/>
              </a:ext>
            </a:extLst>
          </p:cNvPr>
          <p:cNvSpPr txBox="1"/>
          <p:nvPr/>
        </p:nvSpPr>
        <p:spPr>
          <a:xfrm>
            <a:off x="11520748" y="5529175"/>
            <a:ext cx="250068" cy="184666"/>
          </a:xfrm>
          <a:prstGeom prst="rect">
            <a:avLst/>
          </a:prstGeom>
          <a:noFill/>
        </p:spPr>
        <p:txBody>
          <a:bodyPr wrap="none" lIns="0" tIns="0" rIns="0" bIns="0" rtlCol="0">
            <a:spAutoFit/>
          </a:bodyPr>
          <a:lstStyle/>
          <a:p>
            <a:pPr algn="l"/>
            <a:r>
              <a:rPr lang="en-US" sz="1200" dirty="0">
                <a:solidFill>
                  <a:schemeClr val="accent2"/>
                </a:solidFill>
              </a:rPr>
              <a:t>150</a:t>
            </a:r>
          </a:p>
        </p:txBody>
      </p:sp>
    </p:spTree>
    <p:extLst>
      <p:ext uri="{BB962C8B-B14F-4D97-AF65-F5344CB8AC3E}">
        <p14:creationId xmlns:p14="http://schemas.microsoft.com/office/powerpoint/2010/main" val="22479910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5"/>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7"/>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8"/>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9"/>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41"/>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42"/>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45"/>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46"/>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P spid="17" grpId="0" animBg="1"/>
      <p:bldP spid="18" grpId="0" animBg="1"/>
      <p:bldP spid="21" grpId="0" animBg="1"/>
      <p:bldP spid="23" grpId="0" animBg="1"/>
      <p:bldP spid="24" grpId="0" animBg="1"/>
      <p:bldP spid="30" grpId="0" animBg="1"/>
      <p:bldP spid="31" grpId="0" animBg="1"/>
      <p:bldP spid="32" grpId="0" animBg="1"/>
      <p:bldP spid="33" grpId="0" animBg="1"/>
      <p:bldP spid="34" grpId="0" animBg="1"/>
      <p:bldP spid="35" grpId="0"/>
      <p:bldP spid="36" grpId="0"/>
      <p:bldP spid="37" grpId="0"/>
      <p:bldP spid="38" grpId="0"/>
      <p:bldP spid="39" grpId="0"/>
      <p:bldP spid="40" grpId="0"/>
      <p:bldP spid="41" grpId="0"/>
      <p:bldP spid="42" grpId="0"/>
      <p:bldP spid="45" grpId="0"/>
      <p:bldP spid="25"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5" y="2534625"/>
            <a:ext cx="6651925" cy="997196"/>
          </a:xfrm>
        </p:spPr>
        <p:txBody>
          <a:bodyPr/>
          <a:lstStyle/>
          <a:p>
            <a:r>
              <a:rPr lang="en-US" dirty="0"/>
              <a:t>Module 2 Activity: The intelligent database</a:t>
            </a:r>
          </a:p>
        </p:txBody>
      </p:sp>
      <p:sp>
        <p:nvSpPr>
          <p:cNvPr id="4" name="Text Placeholder 3"/>
          <p:cNvSpPr>
            <a:spLocks noGrp="1"/>
          </p:cNvSpPr>
          <p:nvPr>
            <p:ph type="body" sz="quarter" idx="12"/>
          </p:nvPr>
        </p:nvSpPr>
        <p:spPr>
          <a:xfrm>
            <a:off x="585216" y="3977319"/>
            <a:ext cx="6400800" cy="307777"/>
          </a:xfrm>
        </p:spPr>
        <p:txBody>
          <a:bodyPr/>
          <a:lstStyle/>
          <a:p>
            <a:r>
              <a:rPr lang="en-US" dirty="0"/>
              <a:t>Intelligent Query Processing</a:t>
            </a:r>
          </a:p>
        </p:txBody>
      </p:sp>
    </p:spTree>
    <p:extLst>
      <p:ext uri="{BB962C8B-B14F-4D97-AF65-F5344CB8AC3E}">
        <p14:creationId xmlns:p14="http://schemas.microsoft.com/office/powerpoint/2010/main" val="427025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06D616-A928-450B-B4C1-501792403483}"/>
              </a:ext>
            </a:extLst>
          </p:cNvPr>
          <p:cNvSpPr>
            <a:spLocks noGrp="1"/>
          </p:cNvSpPr>
          <p:nvPr>
            <p:ph type="title"/>
          </p:nvPr>
        </p:nvSpPr>
        <p:spPr/>
        <p:txBody>
          <a:bodyPr/>
          <a:lstStyle/>
          <a:p>
            <a:r>
              <a:rPr lang="en-US" dirty="0"/>
              <a:t>Lightweight Query Profiling</a:t>
            </a:r>
          </a:p>
        </p:txBody>
      </p:sp>
      <p:sp>
        <p:nvSpPr>
          <p:cNvPr id="4" name="Text Placeholder 2">
            <a:extLst>
              <a:ext uri="{FF2B5EF4-FFF2-40B4-BE49-F238E27FC236}">
                <a16:creationId xmlns:a16="http://schemas.microsoft.com/office/drawing/2014/main" id="{7CA8DF96-DDDC-4191-80BA-36B5882A9897}"/>
              </a:ext>
            </a:extLst>
          </p:cNvPr>
          <p:cNvSpPr>
            <a:spLocks noGrp="1"/>
          </p:cNvSpPr>
          <p:nvPr>
            <p:ph type="body" sz="quarter" idx="10"/>
          </p:nvPr>
        </p:nvSpPr>
        <p:spPr>
          <a:xfrm>
            <a:off x="344852" y="1373518"/>
            <a:ext cx="11018520" cy="743793"/>
          </a:xfrm>
          <a:solidFill>
            <a:schemeClr val="bg1">
              <a:lumMod val="85000"/>
            </a:schemeClr>
          </a:solidFill>
        </p:spPr>
        <p:txBody>
          <a:bodyPr/>
          <a:lstStyle/>
          <a:p>
            <a:pPr marL="0" indent="0">
              <a:buNone/>
            </a:pPr>
            <a:r>
              <a:rPr lang="en-US" b="1" dirty="0"/>
              <a:t>The problem</a:t>
            </a:r>
          </a:p>
          <a:p>
            <a:pPr marL="0" indent="0">
              <a:buNone/>
            </a:pPr>
            <a:r>
              <a:rPr lang="en-US" dirty="0"/>
              <a:t>I want to see the details of a query plan at the operator level for any </a:t>
            </a:r>
            <a:r>
              <a:rPr lang="en-US" b="1" dirty="0"/>
              <a:t>active</a:t>
            </a:r>
            <a:r>
              <a:rPr lang="en-US" dirty="0"/>
              <a:t> executing query</a:t>
            </a:r>
          </a:p>
        </p:txBody>
      </p:sp>
      <p:graphicFrame>
        <p:nvGraphicFramePr>
          <p:cNvPr id="5" name="Diagram 4">
            <a:extLst>
              <a:ext uri="{FF2B5EF4-FFF2-40B4-BE49-F238E27FC236}">
                <a16:creationId xmlns:a16="http://schemas.microsoft.com/office/drawing/2014/main" id="{88870884-CE2E-435A-9DD6-8CFCEBE3F9B5}"/>
              </a:ext>
            </a:extLst>
          </p:cNvPr>
          <p:cNvGraphicFramePr/>
          <p:nvPr>
            <p:extLst>
              <p:ext uri="{D42A27DB-BD31-4B8C-83A1-F6EECF244321}">
                <p14:modId xmlns:p14="http://schemas.microsoft.com/office/powerpoint/2010/main" val="1970847083"/>
              </p:ext>
            </p:extLst>
          </p:nvPr>
        </p:nvGraphicFramePr>
        <p:xfrm>
          <a:off x="344852" y="2170713"/>
          <a:ext cx="5751148" cy="45678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5">
            <a:extLst>
              <a:ext uri="{FF2B5EF4-FFF2-40B4-BE49-F238E27FC236}">
                <a16:creationId xmlns:a16="http://schemas.microsoft.com/office/drawing/2014/main" id="{E42D8F96-3F1D-49A2-8E65-4501ABAD3F0E}"/>
              </a:ext>
            </a:extLst>
          </p:cNvPr>
          <p:cNvSpPr txBox="1"/>
          <p:nvPr/>
        </p:nvSpPr>
        <p:spPr>
          <a:xfrm>
            <a:off x="7591773" y="2388149"/>
            <a:ext cx="3313664" cy="615553"/>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dm_exec_query_profiles</a:t>
            </a:r>
          </a:p>
          <a:p>
            <a:r>
              <a:rPr lang="en-US" sz="2000" dirty="0"/>
              <a:t>dm_exec_query_statistics_xml</a:t>
            </a:r>
            <a:endParaRPr lang="en-US" sz="2000" dirty="0">
              <a:gradFill>
                <a:gsLst>
                  <a:gs pos="2917">
                    <a:schemeClr val="tx1"/>
                  </a:gs>
                  <a:gs pos="30000">
                    <a:schemeClr val="tx1"/>
                  </a:gs>
                </a:gsLst>
                <a:lin ang="5400000" scaled="0"/>
              </a:gradFill>
            </a:endParaRPr>
          </a:p>
        </p:txBody>
      </p:sp>
      <p:pic>
        <p:nvPicPr>
          <p:cNvPr id="7" name="Picture 6">
            <a:extLst>
              <a:ext uri="{FF2B5EF4-FFF2-40B4-BE49-F238E27FC236}">
                <a16:creationId xmlns:a16="http://schemas.microsoft.com/office/drawing/2014/main" id="{234D664B-741C-4BEE-9327-FE7E131D31C9}"/>
              </a:ext>
            </a:extLst>
          </p:cNvPr>
          <p:cNvPicPr>
            <a:picLocks noChangeAspect="1"/>
          </p:cNvPicPr>
          <p:nvPr/>
        </p:nvPicPr>
        <p:blipFill>
          <a:blip r:embed="rId7"/>
          <a:stretch>
            <a:fillRect/>
          </a:stretch>
        </p:blipFill>
        <p:spPr>
          <a:xfrm>
            <a:off x="6535870" y="3429000"/>
            <a:ext cx="5425470" cy="2916153"/>
          </a:xfrm>
          <a:prstGeom prst="rect">
            <a:avLst/>
          </a:prstGeom>
        </p:spPr>
      </p:pic>
    </p:spTree>
    <p:extLst>
      <p:ext uri="{BB962C8B-B14F-4D97-AF65-F5344CB8AC3E}">
        <p14:creationId xmlns:p14="http://schemas.microsoft.com/office/powerpoint/2010/main" val="33140511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P spid="6"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5" y="2534625"/>
            <a:ext cx="6651925" cy="997196"/>
          </a:xfrm>
        </p:spPr>
        <p:txBody>
          <a:bodyPr/>
          <a:lstStyle/>
          <a:p>
            <a:r>
              <a:rPr lang="en-US" dirty="0"/>
              <a:t>Module 2 Activity: The intelligent database</a:t>
            </a:r>
          </a:p>
        </p:txBody>
      </p:sp>
      <p:sp>
        <p:nvSpPr>
          <p:cNvPr id="4" name="Text Placeholder 3"/>
          <p:cNvSpPr>
            <a:spLocks noGrp="1"/>
          </p:cNvSpPr>
          <p:nvPr>
            <p:ph type="body" sz="quarter" idx="12"/>
          </p:nvPr>
        </p:nvSpPr>
        <p:spPr>
          <a:xfrm>
            <a:off x="585216" y="3977319"/>
            <a:ext cx="6400800" cy="307777"/>
          </a:xfrm>
        </p:spPr>
        <p:txBody>
          <a:bodyPr/>
          <a:lstStyle/>
          <a:p>
            <a:r>
              <a:rPr lang="en-US" dirty="0"/>
              <a:t>Lightweight Query Profiling</a:t>
            </a:r>
          </a:p>
        </p:txBody>
      </p:sp>
    </p:spTree>
    <p:extLst>
      <p:ext uri="{BB962C8B-B14F-4D97-AF65-F5344CB8AC3E}">
        <p14:creationId xmlns:p14="http://schemas.microsoft.com/office/powerpoint/2010/main" val="5400244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BE4E4F-F043-4680-BF2D-3F009CF786DA}"/>
              </a:ext>
            </a:extLst>
          </p:cNvPr>
          <p:cNvSpPr>
            <a:spLocks noGrp="1"/>
          </p:cNvSpPr>
          <p:nvPr>
            <p:ph type="title"/>
          </p:nvPr>
        </p:nvSpPr>
        <p:spPr>
          <a:xfrm>
            <a:off x="420053" y="186602"/>
            <a:ext cx="11018520" cy="553998"/>
          </a:xfrm>
        </p:spPr>
        <p:txBody>
          <a:bodyPr/>
          <a:lstStyle/>
          <a:p>
            <a:r>
              <a:rPr lang="en-US" dirty="0"/>
              <a:t>SQL Server and Persistent Memory</a:t>
            </a:r>
          </a:p>
        </p:txBody>
      </p:sp>
      <p:pic>
        <p:nvPicPr>
          <p:cNvPr id="1026" name="Picture 2">
            <a:extLst>
              <a:ext uri="{FF2B5EF4-FFF2-40B4-BE49-F238E27FC236}">
                <a16:creationId xmlns:a16="http://schemas.microsoft.com/office/drawing/2014/main" id="{33036E6B-F3DA-4559-A6FC-0845399CD25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531" y="1193007"/>
            <a:ext cx="4214812" cy="2107406"/>
          </a:xfrm>
          <a:prstGeom prst="rect">
            <a:avLst/>
          </a:prstGeom>
          <a:noFill/>
          <a:extLst>
            <a:ext uri="{909E8E84-426E-40DD-AFC4-6F175D3DCCD1}">
              <a14:hiddenFill xmlns:a14="http://schemas.microsoft.com/office/drawing/2010/main">
                <a:solidFill>
                  <a:srgbClr val="FFFFFF"/>
                </a:solidFill>
              </a14:hiddenFill>
            </a:ext>
          </a:extLst>
        </p:spPr>
      </p:pic>
      <p:cxnSp>
        <p:nvCxnSpPr>
          <p:cNvPr id="4" name="Straight Arrow Connector 3">
            <a:extLst>
              <a:ext uri="{FF2B5EF4-FFF2-40B4-BE49-F238E27FC236}">
                <a16:creationId xmlns:a16="http://schemas.microsoft.com/office/drawing/2014/main" id="{E0E12DBF-9447-4562-9063-66E37B0BB7B7}"/>
              </a:ext>
            </a:extLst>
          </p:cNvPr>
          <p:cNvCxnSpPr>
            <a:cxnSpLocks/>
          </p:cNvCxnSpPr>
          <p:nvPr/>
        </p:nvCxnSpPr>
        <p:spPr>
          <a:xfrm flipV="1">
            <a:off x="4274343" y="1302277"/>
            <a:ext cx="2797375" cy="226486"/>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6" name="Flowchart: Magnetic Disk 5">
            <a:extLst>
              <a:ext uri="{FF2B5EF4-FFF2-40B4-BE49-F238E27FC236}">
                <a16:creationId xmlns:a16="http://schemas.microsoft.com/office/drawing/2014/main" id="{DFA8BC7B-07E0-46E4-89D7-1D0002121CDC}"/>
              </a:ext>
            </a:extLst>
          </p:cNvPr>
          <p:cNvSpPr/>
          <p:nvPr/>
        </p:nvSpPr>
        <p:spPr bwMode="auto">
          <a:xfrm>
            <a:off x="10927557" y="621871"/>
            <a:ext cx="1150144" cy="553998"/>
          </a:xfrm>
          <a:prstGeom prst="flowChartMagneticDisk">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mdf</a:t>
            </a:r>
          </a:p>
        </p:txBody>
      </p:sp>
      <p:sp>
        <p:nvSpPr>
          <p:cNvPr id="8" name="Flowchart: Magnetic Disk 7">
            <a:extLst>
              <a:ext uri="{FF2B5EF4-FFF2-40B4-BE49-F238E27FC236}">
                <a16:creationId xmlns:a16="http://schemas.microsoft.com/office/drawing/2014/main" id="{4E217E1E-C86C-49ED-85AF-EC8CB66290DE}"/>
              </a:ext>
            </a:extLst>
          </p:cNvPr>
          <p:cNvSpPr/>
          <p:nvPr/>
        </p:nvSpPr>
        <p:spPr bwMode="auto">
          <a:xfrm>
            <a:off x="10947797" y="1448030"/>
            <a:ext cx="1150144" cy="553998"/>
          </a:xfrm>
          <a:prstGeom prst="flowChartMagneticDisk">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ldf</a:t>
            </a:r>
          </a:p>
        </p:txBody>
      </p:sp>
      <p:sp>
        <p:nvSpPr>
          <p:cNvPr id="7" name="TextBox 6">
            <a:extLst>
              <a:ext uri="{FF2B5EF4-FFF2-40B4-BE49-F238E27FC236}">
                <a16:creationId xmlns:a16="http://schemas.microsoft.com/office/drawing/2014/main" id="{69F8221C-BE4C-4E6A-B3D4-894DFA162F05}"/>
              </a:ext>
            </a:extLst>
          </p:cNvPr>
          <p:cNvSpPr txBox="1"/>
          <p:nvPr/>
        </p:nvSpPr>
        <p:spPr>
          <a:xfrm>
            <a:off x="4850607" y="1033582"/>
            <a:ext cx="1402628"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Block device</a:t>
            </a:r>
          </a:p>
        </p:txBody>
      </p:sp>
      <p:cxnSp>
        <p:nvCxnSpPr>
          <p:cNvPr id="10" name="Straight Arrow Connector 9">
            <a:extLst>
              <a:ext uri="{FF2B5EF4-FFF2-40B4-BE49-F238E27FC236}">
                <a16:creationId xmlns:a16="http://schemas.microsoft.com/office/drawing/2014/main" id="{A42C07AE-BB79-485D-8FEA-667983841A86}"/>
              </a:ext>
            </a:extLst>
          </p:cNvPr>
          <p:cNvCxnSpPr>
            <a:cxnSpLocks/>
          </p:cNvCxnSpPr>
          <p:nvPr/>
        </p:nvCxnSpPr>
        <p:spPr>
          <a:xfrm>
            <a:off x="3557588" y="2161756"/>
            <a:ext cx="4850606" cy="97435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1" name="Flowchart: Magnetic Disk 10">
            <a:extLst>
              <a:ext uri="{FF2B5EF4-FFF2-40B4-BE49-F238E27FC236}">
                <a16:creationId xmlns:a16="http://schemas.microsoft.com/office/drawing/2014/main" id="{2878DF6D-3469-424E-B0EA-349C753B684F}"/>
              </a:ext>
            </a:extLst>
          </p:cNvPr>
          <p:cNvSpPr/>
          <p:nvPr/>
        </p:nvSpPr>
        <p:spPr bwMode="auto">
          <a:xfrm>
            <a:off x="8576072" y="3247544"/>
            <a:ext cx="1150144" cy="553998"/>
          </a:xfrm>
          <a:prstGeom prst="flowChartMagneticDisk">
            <a:avLst/>
          </a:prstGeom>
          <a:solidFill>
            <a:schemeClr val="bg1">
              <a:lumMod val="65000"/>
            </a:schemeClr>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ldf</a:t>
            </a:r>
          </a:p>
        </p:txBody>
      </p:sp>
      <p:sp>
        <p:nvSpPr>
          <p:cNvPr id="12" name="TextBox 11">
            <a:extLst>
              <a:ext uri="{FF2B5EF4-FFF2-40B4-BE49-F238E27FC236}">
                <a16:creationId xmlns:a16="http://schemas.microsoft.com/office/drawing/2014/main" id="{338163E6-7809-4A78-BFED-C749FFA4254C}"/>
              </a:ext>
            </a:extLst>
          </p:cNvPr>
          <p:cNvSpPr txBox="1"/>
          <p:nvPr/>
        </p:nvSpPr>
        <p:spPr>
          <a:xfrm>
            <a:off x="5014913" y="2127645"/>
            <a:ext cx="3002681"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Tail of the log (SQL 2016+)</a:t>
            </a:r>
          </a:p>
        </p:txBody>
      </p:sp>
      <p:sp>
        <p:nvSpPr>
          <p:cNvPr id="9" name="Flowchart: Document 8">
            <a:extLst>
              <a:ext uri="{FF2B5EF4-FFF2-40B4-BE49-F238E27FC236}">
                <a16:creationId xmlns:a16="http://schemas.microsoft.com/office/drawing/2014/main" id="{BB76824A-34D0-4E04-81C2-C9CF52EE5496}"/>
              </a:ext>
            </a:extLst>
          </p:cNvPr>
          <p:cNvSpPr/>
          <p:nvPr/>
        </p:nvSpPr>
        <p:spPr bwMode="auto">
          <a:xfrm>
            <a:off x="8576072" y="2385057"/>
            <a:ext cx="1221581" cy="651452"/>
          </a:xfrm>
          <a:prstGeom prst="flowChartDocument">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Log cache</a:t>
            </a:r>
          </a:p>
        </p:txBody>
      </p:sp>
      <p:sp>
        <p:nvSpPr>
          <p:cNvPr id="17" name="Flowchart: Magnetic Disk 16">
            <a:extLst>
              <a:ext uri="{FF2B5EF4-FFF2-40B4-BE49-F238E27FC236}">
                <a16:creationId xmlns:a16="http://schemas.microsoft.com/office/drawing/2014/main" id="{87BCCC90-CA43-4303-89C6-DA22DC59C3EB}"/>
              </a:ext>
            </a:extLst>
          </p:cNvPr>
          <p:cNvSpPr/>
          <p:nvPr/>
        </p:nvSpPr>
        <p:spPr bwMode="auto">
          <a:xfrm>
            <a:off x="9797653" y="4811967"/>
            <a:ext cx="1150144" cy="553998"/>
          </a:xfrm>
          <a:prstGeom prst="flowChartMagneticDisk">
            <a:avLst/>
          </a:prstGeom>
          <a:solidFill>
            <a:schemeClr val="tx1"/>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mdf</a:t>
            </a:r>
          </a:p>
        </p:txBody>
      </p:sp>
      <p:sp>
        <p:nvSpPr>
          <p:cNvPr id="18" name="Flowchart: Magnetic Disk 17">
            <a:extLst>
              <a:ext uri="{FF2B5EF4-FFF2-40B4-BE49-F238E27FC236}">
                <a16:creationId xmlns:a16="http://schemas.microsoft.com/office/drawing/2014/main" id="{6F9992A8-8DED-470C-83EE-0ED241B93C74}"/>
              </a:ext>
            </a:extLst>
          </p:cNvPr>
          <p:cNvSpPr/>
          <p:nvPr/>
        </p:nvSpPr>
        <p:spPr bwMode="auto">
          <a:xfrm>
            <a:off x="9797653" y="5752922"/>
            <a:ext cx="1150144" cy="553998"/>
          </a:xfrm>
          <a:prstGeom prst="flowChartMagneticDisk">
            <a:avLst/>
          </a:prstGeom>
          <a:solidFill>
            <a:schemeClr val="tx1"/>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ldf</a:t>
            </a:r>
          </a:p>
        </p:txBody>
      </p:sp>
      <p:cxnSp>
        <p:nvCxnSpPr>
          <p:cNvPr id="19" name="Straight Arrow Connector 18">
            <a:extLst>
              <a:ext uri="{FF2B5EF4-FFF2-40B4-BE49-F238E27FC236}">
                <a16:creationId xmlns:a16="http://schemas.microsoft.com/office/drawing/2014/main" id="{B12BFF7E-BD53-4B20-A78C-E55B181FF1B1}"/>
              </a:ext>
            </a:extLst>
          </p:cNvPr>
          <p:cNvCxnSpPr>
            <a:cxnSpLocks/>
          </p:cNvCxnSpPr>
          <p:nvPr/>
        </p:nvCxnSpPr>
        <p:spPr>
          <a:xfrm>
            <a:off x="2643188" y="2646457"/>
            <a:ext cx="3093243" cy="281369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E11030E0-AE92-458D-80D7-0B92A6756540}"/>
              </a:ext>
            </a:extLst>
          </p:cNvPr>
          <p:cNvSpPr txBox="1"/>
          <p:nvPr/>
        </p:nvSpPr>
        <p:spPr>
          <a:xfrm>
            <a:off x="4189809" y="3356313"/>
            <a:ext cx="1531125" cy="923330"/>
          </a:xfrm>
          <a:prstGeom prst="rect">
            <a:avLst/>
          </a:prstGeom>
          <a:noFill/>
        </p:spPr>
        <p:txBody>
          <a:bodyPr wrap="square" lIns="0" tIns="0" rIns="0" bIns="0" rtlCol="0">
            <a:spAutoFit/>
          </a:bodyPr>
          <a:lstStyle/>
          <a:p>
            <a:pPr algn="ctr"/>
            <a:r>
              <a:rPr lang="en-US" sz="2000" dirty="0">
                <a:gradFill>
                  <a:gsLst>
                    <a:gs pos="2917">
                      <a:schemeClr val="tx1"/>
                    </a:gs>
                    <a:gs pos="30000">
                      <a:schemeClr val="tx1"/>
                    </a:gs>
                  </a:gsLst>
                  <a:lin ang="5400000" scaled="0"/>
                </a:gradFill>
              </a:rPr>
              <a:t>Enlightened I/O (SQL 2019)</a:t>
            </a:r>
          </a:p>
        </p:txBody>
      </p:sp>
      <p:sp>
        <p:nvSpPr>
          <p:cNvPr id="22" name="Rectangle 21">
            <a:extLst>
              <a:ext uri="{FF2B5EF4-FFF2-40B4-BE49-F238E27FC236}">
                <a16:creationId xmlns:a16="http://schemas.microsoft.com/office/drawing/2014/main" id="{9627208B-ABC6-4545-8F9E-3AA594DAD941}"/>
              </a:ext>
            </a:extLst>
          </p:cNvPr>
          <p:cNvSpPr/>
          <p:nvPr/>
        </p:nvSpPr>
        <p:spPr bwMode="auto">
          <a:xfrm>
            <a:off x="5929313" y="5329237"/>
            <a:ext cx="1021556" cy="700684"/>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SQL</a:t>
            </a:r>
          </a:p>
          <a:p>
            <a:pPr algn="ctr" defTabSz="932472" fontAlgn="base">
              <a:spcBef>
                <a:spcPct val="0"/>
              </a:spcBef>
              <a:spcAft>
                <a:spcPct val="0"/>
              </a:spcAft>
            </a:pPr>
            <a:r>
              <a:rPr lang="en-US" sz="1600" dirty="0">
                <a:gradFill>
                  <a:gsLst>
                    <a:gs pos="40075">
                      <a:srgbClr val="FFFFFF"/>
                    </a:gs>
                    <a:gs pos="30000">
                      <a:srgbClr val="FFFFFF"/>
                    </a:gs>
                  </a:gsLst>
                  <a:lin ang="5400000" scaled="0"/>
                </a:gradFill>
              </a:rPr>
              <a:t> Engine</a:t>
            </a:r>
          </a:p>
        </p:txBody>
      </p:sp>
      <p:sp>
        <p:nvSpPr>
          <p:cNvPr id="24" name="Rectangle 23">
            <a:extLst>
              <a:ext uri="{FF2B5EF4-FFF2-40B4-BE49-F238E27FC236}">
                <a16:creationId xmlns:a16="http://schemas.microsoft.com/office/drawing/2014/main" id="{101F376A-ED84-42CC-B886-F3FB9FF224EA}"/>
              </a:ext>
            </a:extLst>
          </p:cNvPr>
          <p:cNvSpPr/>
          <p:nvPr/>
        </p:nvSpPr>
        <p:spPr bwMode="auto">
          <a:xfrm>
            <a:off x="7809310" y="5329237"/>
            <a:ext cx="1021556" cy="700684"/>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Kernel I/O</a:t>
            </a:r>
          </a:p>
        </p:txBody>
      </p:sp>
      <p:cxnSp>
        <p:nvCxnSpPr>
          <p:cNvPr id="30" name="Connector: Elbow 29">
            <a:extLst>
              <a:ext uri="{FF2B5EF4-FFF2-40B4-BE49-F238E27FC236}">
                <a16:creationId xmlns:a16="http://schemas.microsoft.com/office/drawing/2014/main" id="{0EEC5918-006F-4BB4-A587-7A94F4D46FF8}"/>
              </a:ext>
            </a:extLst>
          </p:cNvPr>
          <p:cNvCxnSpPr>
            <a:stCxn id="22" idx="2"/>
            <a:endCxn id="18" idx="3"/>
          </p:cNvCxnSpPr>
          <p:nvPr/>
        </p:nvCxnSpPr>
        <p:spPr>
          <a:xfrm rot="16200000" flipH="1">
            <a:off x="8267909" y="4202103"/>
            <a:ext cx="276999" cy="3932634"/>
          </a:xfrm>
          <a:prstGeom prst="bentConnector3">
            <a:avLst>
              <a:gd name="adj1" fmla="val 182527"/>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27" name="Connector: Elbow 1026">
            <a:extLst>
              <a:ext uri="{FF2B5EF4-FFF2-40B4-BE49-F238E27FC236}">
                <a16:creationId xmlns:a16="http://schemas.microsoft.com/office/drawing/2014/main" id="{A90C4B6B-303C-4034-AD65-F47F9AA45FAA}"/>
              </a:ext>
            </a:extLst>
          </p:cNvPr>
          <p:cNvCxnSpPr>
            <a:stCxn id="22" idx="0"/>
            <a:endCxn id="17" idx="1"/>
          </p:cNvCxnSpPr>
          <p:nvPr/>
        </p:nvCxnSpPr>
        <p:spPr>
          <a:xfrm rot="5400000" flipH="1" flipV="1">
            <a:off x="8147773" y="3104285"/>
            <a:ext cx="517270" cy="3932634"/>
          </a:xfrm>
          <a:prstGeom prst="bentConnector3">
            <a:avLst>
              <a:gd name="adj1" fmla="val 144194"/>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4D18C3C9-E473-46EE-A081-AD99E2FD2C4E}"/>
              </a:ext>
            </a:extLst>
          </p:cNvPr>
          <p:cNvCxnSpPr>
            <a:cxnSpLocks/>
            <a:endCxn id="40" idx="0"/>
          </p:cNvCxnSpPr>
          <p:nvPr/>
        </p:nvCxnSpPr>
        <p:spPr>
          <a:xfrm flipH="1">
            <a:off x="1940720" y="2825827"/>
            <a:ext cx="294680" cy="1181817"/>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8" name="Flowchart: Magnetic Disk 37">
            <a:extLst>
              <a:ext uri="{FF2B5EF4-FFF2-40B4-BE49-F238E27FC236}">
                <a16:creationId xmlns:a16="http://schemas.microsoft.com/office/drawing/2014/main" id="{DB20ADF1-F6F0-48C9-91EE-8BFF893BCB5F}"/>
              </a:ext>
            </a:extLst>
          </p:cNvPr>
          <p:cNvSpPr/>
          <p:nvPr/>
        </p:nvSpPr>
        <p:spPr bwMode="auto">
          <a:xfrm>
            <a:off x="3220343" y="5516047"/>
            <a:ext cx="1150144" cy="553998"/>
          </a:xfrm>
          <a:prstGeom prst="flowChartMagneticDisk">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mdf</a:t>
            </a:r>
          </a:p>
        </p:txBody>
      </p:sp>
      <p:sp>
        <p:nvSpPr>
          <p:cNvPr id="40" name="Rectangle 39">
            <a:extLst>
              <a:ext uri="{FF2B5EF4-FFF2-40B4-BE49-F238E27FC236}">
                <a16:creationId xmlns:a16="http://schemas.microsoft.com/office/drawing/2014/main" id="{7E3A177F-32DB-4E8E-B1C6-655819444B0B}"/>
              </a:ext>
            </a:extLst>
          </p:cNvPr>
          <p:cNvSpPr/>
          <p:nvPr/>
        </p:nvSpPr>
        <p:spPr bwMode="auto">
          <a:xfrm>
            <a:off x="1035844" y="4007644"/>
            <a:ext cx="1809751" cy="1459581"/>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Bpool</a:t>
            </a:r>
          </a:p>
        </p:txBody>
      </p:sp>
      <p:sp>
        <p:nvSpPr>
          <p:cNvPr id="1030" name="Rectangle 1029">
            <a:extLst>
              <a:ext uri="{FF2B5EF4-FFF2-40B4-BE49-F238E27FC236}">
                <a16:creationId xmlns:a16="http://schemas.microsoft.com/office/drawing/2014/main" id="{B0273DF2-C1CD-406C-9375-CDC3CBBC5953}"/>
              </a:ext>
            </a:extLst>
          </p:cNvPr>
          <p:cNvSpPr/>
          <p:nvPr/>
        </p:nvSpPr>
        <p:spPr bwMode="auto">
          <a:xfrm>
            <a:off x="1897265" y="4993481"/>
            <a:ext cx="823911" cy="33575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cxnSp>
        <p:nvCxnSpPr>
          <p:cNvPr id="1032" name="Straight Connector 1031">
            <a:extLst>
              <a:ext uri="{FF2B5EF4-FFF2-40B4-BE49-F238E27FC236}">
                <a16:creationId xmlns:a16="http://schemas.microsoft.com/office/drawing/2014/main" id="{A6D55AF7-33A1-4CB9-B2F9-3A4E0AA4B09A}"/>
              </a:ext>
            </a:extLst>
          </p:cNvPr>
          <p:cNvCxnSpPr>
            <a:cxnSpLocks/>
            <a:endCxn id="38" idx="1"/>
          </p:cNvCxnSpPr>
          <p:nvPr/>
        </p:nvCxnSpPr>
        <p:spPr>
          <a:xfrm>
            <a:off x="2721176" y="4993481"/>
            <a:ext cx="1074239" cy="522566"/>
          </a:xfrm>
          <a:prstGeom prst="line">
            <a:avLst/>
          </a:prstGeom>
          <a:ln w="38100">
            <a:headEnd type="none" w="lg" len="med"/>
            <a:tailEnd type="none" w="lg" len="med"/>
          </a:ln>
        </p:spPr>
        <p:style>
          <a:lnRef idx="2">
            <a:schemeClr val="accent1"/>
          </a:lnRef>
          <a:fillRef idx="0">
            <a:schemeClr val="accent1"/>
          </a:fillRef>
          <a:effectRef idx="1">
            <a:schemeClr val="accent1"/>
          </a:effectRef>
          <a:fontRef idx="minor">
            <a:schemeClr val="tx1"/>
          </a:fontRef>
        </p:style>
      </p:cxnSp>
      <p:cxnSp>
        <p:nvCxnSpPr>
          <p:cNvPr id="46" name="Straight Connector 45">
            <a:extLst>
              <a:ext uri="{FF2B5EF4-FFF2-40B4-BE49-F238E27FC236}">
                <a16:creationId xmlns:a16="http://schemas.microsoft.com/office/drawing/2014/main" id="{26084345-1D4B-40D5-BC02-8B7F75354668}"/>
              </a:ext>
            </a:extLst>
          </p:cNvPr>
          <p:cNvCxnSpPr>
            <a:cxnSpLocks/>
          </p:cNvCxnSpPr>
          <p:nvPr/>
        </p:nvCxnSpPr>
        <p:spPr>
          <a:xfrm>
            <a:off x="1897265" y="5344953"/>
            <a:ext cx="1323078" cy="599895"/>
          </a:xfrm>
          <a:prstGeom prst="line">
            <a:avLst/>
          </a:prstGeom>
          <a:ln w="38100">
            <a:headEnd type="none" w="lg" len="med"/>
            <a:tailEnd type="none" w="lg" len="med"/>
          </a:ln>
        </p:spPr>
        <p:style>
          <a:lnRef idx="2">
            <a:schemeClr val="accent1"/>
          </a:lnRef>
          <a:fillRef idx="0">
            <a:schemeClr val="accent1"/>
          </a:fillRef>
          <a:effectRef idx="1">
            <a:schemeClr val="accent1"/>
          </a:effectRef>
          <a:fontRef idx="minor">
            <a:schemeClr val="tx1"/>
          </a:fontRef>
        </p:style>
      </p:cxnSp>
      <p:sp>
        <p:nvSpPr>
          <p:cNvPr id="48" name="TextBox 47">
            <a:extLst>
              <a:ext uri="{FF2B5EF4-FFF2-40B4-BE49-F238E27FC236}">
                <a16:creationId xmlns:a16="http://schemas.microsoft.com/office/drawing/2014/main" id="{BEFC858A-5243-4DC0-B5FB-175194B6CDD6}"/>
              </a:ext>
            </a:extLst>
          </p:cNvPr>
          <p:cNvSpPr txBox="1"/>
          <p:nvPr/>
        </p:nvSpPr>
        <p:spPr>
          <a:xfrm>
            <a:off x="930478" y="5608380"/>
            <a:ext cx="1531125" cy="923330"/>
          </a:xfrm>
          <a:prstGeom prst="rect">
            <a:avLst/>
          </a:prstGeom>
          <a:noFill/>
        </p:spPr>
        <p:txBody>
          <a:bodyPr wrap="square" lIns="0" tIns="0" rIns="0" bIns="0" rtlCol="0">
            <a:spAutoFit/>
          </a:bodyPr>
          <a:lstStyle/>
          <a:p>
            <a:pPr algn="ctr"/>
            <a:r>
              <a:rPr lang="en-US" sz="2000" dirty="0">
                <a:gradFill>
                  <a:gsLst>
                    <a:gs pos="2917">
                      <a:schemeClr val="tx1"/>
                    </a:gs>
                    <a:gs pos="30000">
                      <a:schemeClr val="tx1"/>
                    </a:gs>
                  </a:gsLst>
                  <a:lin ang="5400000" scaled="0"/>
                </a:gradFill>
              </a:rPr>
              <a:t>Hybrid Buffer Pool (SQL 2019)</a:t>
            </a:r>
          </a:p>
        </p:txBody>
      </p:sp>
      <p:sp>
        <p:nvSpPr>
          <p:cNvPr id="49" name="Rectangle 48">
            <a:extLst>
              <a:ext uri="{FF2B5EF4-FFF2-40B4-BE49-F238E27FC236}">
                <a16:creationId xmlns:a16="http://schemas.microsoft.com/office/drawing/2014/main" id="{8E1D3DF0-9F59-4A93-90E2-3313C2114F52}"/>
              </a:ext>
            </a:extLst>
          </p:cNvPr>
          <p:cNvSpPr/>
          <p:nvPr/>
        </p:nvSpPr>
        <p:spPr bwMode="auto">
          <a:xfrm>
            <a:off x="7203282" y="930501"/>
            <a:ext cx="1021556" cy="70068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SQL</a:t>
            </a:r>
          </a:p>
          <a:p>
            <a:pPr algn="ctr" defTabSz="932472" fontAlgn="base">
              <a:spcBef>
                <a:spcPct val="0"/>
              </a:spcBef>
              <a:spcAft>
                <a:spcPct val="0"/>
              </a:spcAft>
            </a:pPr>
            <a:r>
              <a:rPr lang="en-US" sz="1600" dirty="0">
                <a:gradFill>
                  <a:gsLst>
                    <a:gs pos="40075">
                      <a:srgbClr val="FFFFFF"/>
                    </a:gs>
                    <a:gs pos="30000">
                      <a:srgbClr val="FFFFFF"/>
                    </a:gs>
                  </a:gsLst>
                  <a:lin ang="5400000" scaled="0"/>
                </a:gradFill>
              </a:rPr>
              <a:t> Engine</a:t>
            </a:r>
          </a:p>
        </p:txBody>
      </p:sp>
      <p:sp>
        <p:nvSpPr>
          <p:cNvPr id="50" name="Rectangle 49">
            <a:extLst>
              <a:ext uri="{FF2B5EF4-FFF2-40B4-BE49-F238E27FC236}">
                <a16:creationId xmlns:a16="http://schemas.microsoft.com/office/drawing/2014/main" id="{2645C459-DF5E-4603-A691-FFB676F284AC}"/>
              </a:ext>
            </a:extLst>
          </p:cNvPr>
          <p:cNvSpPr/>
          <p:nvPr/>
        </p:nvSpPr>
        <p:spPr bwMode="auto">
          <a:xfrm>
            <a:off x="9083279" y="935485"/>
            <a:ext cx="1021556" cy="70068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Kernel I/O</a:t>
            </a:r>
          </a:p>
        </p:txBody>
      </p:sp>
      <p:cxnSp>
        <p:nvCxnSpPr>
          <p:cNvPr id="52" name="Straight Arrow Connector 51">
            <a:extLst>
              <a:ext uri="{FF2B5EF4-FFF2-40B4-BE49-F238E27FC236}">
                <a16:creationId xmlns:a16="http://schemas.microsoft.com/office/drawing/2014/main" id="{0CB6EB0C-A31A-43DF-B9C7-2E83223EA2BA}"/>
              </a:ext>
            </a:extLst>
          </p:cNvPr>
          <p:cNvCxnSpPr>
            <a:cxnSpLocks/>
            <a:stCxn id="49" idx="3"/>
            <a:endCxn id="50" idx="1"/>
          </p:cNvCxnSpPr>
          <p:nvPr/>
        </p:nvCxnSpPr>
        <p:spPr>
          <a:xfrm>
            <a:off x="8224838" y="1280843"/>
            <a:ext cx="858441" cy="498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43346EE2-CB19-4EE9-8D37-A02DA3996C83}"/>
              </a:ext>
            </a:extLst>
          </p:cNvPr>
          <p:cNvCxnSpPr>
            <a:cxnSpLocks/>
            <a:stCxn id="50" idx="3"/>
            <a:endCxn id="6" idx="2"/>
          </p:cNvCxnSpPr>
          <p:nvPr/>
        </p:nvCxnSpPr>
        <p:spPr>
          <a:xfrm flipV="1">
            <a:off x="10104835" y="898870"/>
            <a:ext cx="822722" cy="386957"/>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3AB6EBEC-BD8A-4CA1-838A-343C7F3C851D}"/>
              </a:ext>
            </a:extLst>
          </p:cNvPr>
          <p:cNvCxnSpPr>
            <a:cxnSpLocks/>
            <a:stCxn id="50" idx="3"/>
            <a:endCxn id="8" idx="2"/>
          </p:cNvCxnSpPr>
          <p:nvPr/>
        </p:nvCxnSpPr>
        <p:spPr>
          <a:xfrm>
            <a:off x="10104835" y="1285827"/>
            <a:ext cx="842962" cy="439202"/>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3315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5"/>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0"/>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9"/>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1"/>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20"/>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9"/>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2"/>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4"/>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7"/>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8"/>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30"/>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027"/>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36"/>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40"/>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030"/>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48"/>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46"/>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1032"/>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P spid="7" grpId="0"/>
      <p:bldP spid="11" grpId="0" animBg="1"/>
      <p:bldP spid="12" grpId="0"/>
      <p:bldP spid="9" grpId="0" animBg="1"/>
      <p:bldP spid="17" grpId="0" animBg="1"/>
      <p:bldP spid="18" grpId="0" animBg="1"/>
      <p:bldP spid="20" grpId="0"/>
      <p:bldP spid="22" grpId="0" animBg="1"/>
      <p:bldP spid="24" grpId="0" animBg="1"/>
      <p:bldP spid="38" grpId="0" animBg="1"/>
      <p:bldP spid="40" grpId="0" animBg="1"/>
      <p:bldP spid="1030" grpId="0" animBg="1"/>
      <p:bldP spid="48" grpId="0"/>
      <p:bldP spid="49" grpId="0" animBg="1"/>
      <p:bldP spid="50"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group of people looking at a computer&#10;&#10;Description automatically generated">
            <a:extLst>
              <a:ext uri="{FF2B5EF4-FFF2-40B4-BE49-F238E27FC236}">
                <a16:creationId xmlns:a16="http://schemas.microsoft.com/office/drawing/2014/main" id="{4368A3B9-4C24-4C0E-AFEA-7DC2DCAEDBAF}"/>
              </a:ext>
            </a:extLst>
          </p:cNvPr>
          <p:cNvPicPr>
            <a:picLocks noGrp="1" noChangeAspect="1"/>
          </p:cNvPicPr>
          <p:nvPr>
            <p:ph type="pic" sz="quarter" idx="11"/>
          </p:nvPr>
        </p:nvPicPr>
        <p:blipFill>
          <a:blip r:embed="rId3"/>
          <a:srcRect l="13480" r="13480"/>
          <a:stretch>
            <a:fillRect/>
          </a:stretch>
        </p:blipFill>
        <p:spPr>
          <a:xfrm>
            <a:off x="5328691" y="580922"/>
            <a:ext cx="6569622" cy="5987676"/>
          </a:xfrm>
        </p:spPr>
      </p:pic>
      <p:sp>
        <p:nvSpPr>
          <p:cNvPr id="3" name="Title 2">
            <a:extLst>
              <a:ext uri="{FF2B5EF4-FFF2-40B4-BE49-F238E27FC236}">
                <a16:creationId xmlns:a16="http://schemas.microsoft.com/office/drawing/2014/main" id="{5F4F1939-8F07-470E-8893-CC6355A4463C}"/>
              </a:ext>
            </a:extLst>
          </p:cNvPr>
          <p:cNvSpPr>
            <a:spLocks noGrp="1"/>
          </p:cNvSpPr>
          <p:nvPr>
            <p:ph type="title"/>
          </p:nvPr>
        </p:nvSpPr>
        <p:spPr>
          <a:xfrm>
            <a:off x="293687" y="292100"/>
            <a:ext cx="3768898" cy="553998"/>
          </a:xfrm>
        </p:spPr>
        <p:txBody>
          <a:bodyPr/>
          <a:lstStyle/>
          <a:p>
            <a:r>
              <a:rPr lang="en-US" dirty="0"/>
              <a:t>The Workshop</a:t>
            </a:r>
          </a:p>
        </p:txBody>
      </p:sp>
      <p:sp>
        <p:nvSpPr>
          <p:cNvPr id="4" name="Text Placeholder 3">
            <a:extLst>
              <a:ext uri="{FF2B5EF4-FFF2-40B4-BE49-F238E27FC236}">
                <a16:creationId xmlns:a16="http://schemas.microsoft.com/office/drawing/2014/main" id="{3FD460F1-8934-4D85-9E6B-F2F97B124D32}"/>
              </a:ext>
            </a:extLst>
          </p:cNvPr>
          <p:cNvSpPr>
            <a:spLocks noGrp="1"/>
          </p:cNvSpPr>
          <p:nvPr>
            <p:ph type="body" sz="quarter" idx="10"/>
          </p:nvPr>
        </p:nvSpPr>
        <p:spPr>
          <a:xfrm>
            <a:off x="293687" y="963203"/>
            <a:ext cx="4925465" cy="5602697"/>
          </a:xfrm>
        </p:spPr>
        <p:txBody>
          <a:bodyPr/>
          <a:lstStyle/>
          <a:p>
            <a:r>
              <a:rPr lang="en-US" sz="1600" dirty="0"/>
              <a:t>Module 1: Why SQL Server 2019</a:t>
            </a:r>
          </a:p>
          <a:p>
            <a:endParaRPr lang="en-US" sz="1600" dirty="0"/>
          </a:p>
          <a:p>
            <a:r>
              <a:rPr lang="en-US" sz="1600" dirty="0"/>
              <a:t>Module 2: Intelligent Performance</a:t>
            </a:r>
          </a:p>
          <a:p>
            <a:endParaRPr lang="en-US" sz="1600" dirty="0"/>
          </a:p>
          <a:p>
            <a:r>
              <a:rPr lang="en-US" sz="1600" dirty="0"/>
              <a:t>Module 3: New Security Capabilities</a:t>
            </a:r>
          </a:p>
          <a:p>
            <a:endParaRPr lang="en-US" sz="1600" dirty="0"/>
          </a:p>
          <a:p>
            <a:r>
              <a:rPr lang="en-US" sz="1600" dirty="0"/>
              <a:t>Module 4: Mission Critical Availability</a:t>
            </a:r>
          </a:p>
          <a:p>
            <a:endParaRPr lang="en-US" sz="1600" dirty="0"/>
          </a:p>
          <a:p>
            <a:r>
              <a:rPr lang="en-US" sz="1600" dirty="0"/>
              <a:t>Module 5: The Modern Development Platform</a:t>
            </a:r>
          </a:p>
          <a:p>
            <a:endParaRPr lang="en-US" sz="1600" dirty="0"/>
          </a:p>
          <a:p>
            <a:r>
              <a:rPr lang="en-US" sz="1600" dirty="0"/>
              <a:t>Module 6: SQL Server on Linux</a:t>
            </a:r>
          </a:p>
          <a:p>
            <a:endParaRPr lang="en-US" sz="1600" dirty="0"/>
          </a:p>
          <a:p>
            <a:r>
              <a:rPr lang="en-US" sz="1600" dirty="0"/>
              <a:t>Module 7: SQL Server Containers and Kubernetes</a:t>
            </a:r>
          </a:p>
          <a:p>
            <a:endParaRPr lang="en-US" sz="1600" dirty="0"/>
          </a:p>
          <a:p>
            <a:r>
              <a:rPr lang="en-US" sz="1600" dirty="0"/>
              <a:t>Module 8: SQL Server Data Virtualization</a:t>
            </a:r>
          </a:p>
          <a:p>
            <a:endParaRPr lang="en-US" sz="1600" dirty="0"/>
          </a:p>
          <a:p>
            <a:r>
              <a:rPr lang="en-US" sz="1600" dirty="0"/>
              <a:t>Module 9: What else is New</a:t>
            </a:r>
          </a:p>
          <a:p>
            <a:endParaRPr lang="en-US" sz="1600" dirty="0"/>
          </a:p>
          <a:p>
            <a:r>
              <a:rPr lang="en-US" sz="1600" dirty="0"/>
              <a:t>Module 10: Migration and Next Steps</a:t>
            </a:r>
          </a:p>
        </p:txBody>
      </p:sp>
    </p:spTree>
    <p:extLst>
      <p:ext uri="{BB962C8B-B14F-4D97-AF65-F5344CB8AC3E}">
        <p14:creationId xmlns:p14="http://schemas.microsoft.com/office/powerpoint/2010/main" val="462353666"/>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886538-4736-4174-9D45-00834D141968}"/>
              </a:ext>
            </a:extLst>
          </p:cNvPr>
          <p:cNvSpPr>
            <a:spLocks noGrp="1"/>
          </p:cNvSpPr>
          <p:nvPr>
            <p:ph type="title"/>
          </p:nvPr>
        </p:nvSpPr>
        <p:spPr>
          <a:xfrm>
            <a:off x="489651" y="194264"/>
            <a:ext cx="11018520" cy="553998"/>
          </a:xfrm>
        </p:spPr>
        <p:txBody>
          <a:bodyPr/>
          <a:lstStyle/>
          <a:p>
            <a:r>
              <a:rPr lang="en-US" dirty="0"/>
              <a:t>Tempdb just runs faster (Planned Feature)</a:t>
            </a:r>
          </a:p>
        </p:txBody>
      </p:sp>
      <p:sp>
        <p:nvSpPr>
          <p:cNvPr id="3" name="Text Placeholder 2">
            <a:extLst>
              <a:ext uri="{FF2B5EF4-FFF2-40B4-BE49-F238E27FC236}">
                <a16:creationId xmlns:a16="http://schemas.microsoft.com/office/drawing/2014/main" id="{39CDF79B-C37B-496F-9F6B-99A3CABC3DD9}"/>
              </a:ext>
            </a:extLst>
          </p:cNvPr>
          <p:cNvSpPr>
            <a:spLocks noGrp="1"/>
          </p:cNvSpPr>
          <p:nvPr>
            <p:ph type="body" sz="quarter" idx="10"/>
          </p:nvPr>
        </p:nvSpPr>
        <p:spPr>
          <a:xfrm>
            <a:off x="586740" y="976680"/>
            <a:ext cx="11018520" cy="1615827"/>
          </a:xfrm>
          <a:solidFill>
            <a:schemeClr val="bg1">
              <a:lumMod val="85000"/>
            </a:schemeClr>
          </a:solidFill>
        </p:spPr>
        <p:txBody>
          <a:bodyPr/>
          <a:lstStyle/>
          <a:p>
            <a:pPr marL="0" indent="0">
              <a:buNone/>
            </a:pPr>
            <a:r>
              <a:rPr lang="en-US" b="1" dirty="0"/>
              <a:t>The problem(s)</a:t>
            </a:r>
          </a:p>
          <a:p>
            <a:pPr marL="0" indent="0">
              <a:buNone/>
            </a:pPr>
            <a:r>
              <a:rPr lang="en-US" dirty="0"/>
              <a:t>High multi-user rates of tempdb usage can lead to latency due to….</a:t>
            </a:r>
          </a:p>
          <a:p>
            <a:pPr marL="0" indent="0">
              <a:buNone/>
            </a:pPr>
            <a:r>
              <a:rPr lang="en-US" b="1" dirty="0"/>
              <a:t>allocation page latch waits – </a:t>
            </a:r>
            <a:r>
              <a:rPr lang="en-US" dirty="0"/>
              <a:t>Multiple users needing to allocate pages for temp tables</a:t>
            </a:r>
          </a:p>
          <a:p>
            <a:pPr marL="0" indent="0">
              <a:buNone/>
            </a:pPr>
            <a:r>
              <a:rPr lang="en-US" b="1" dirty="0"/>
              <a:t>system table page latch waits – </a:t>
            </a:r>
            <a:r>
              <a:rPr lang="en-US" dirty="0"/>
              <a:t>High rates of create/drop require system table modifications</a:t>
            </a:r>
          </a:p>
        </p:txBody>
      </p:sp>
      <p:graphicFrame>
        <p:nvGraphicFramePr>
          <p:cNvPr id="4" name="Diagram 3">
            <a:extLst>
              <a:ext uri="{FF2B5EF4-FFF2-40B4-BE49-F238E27FC236}">
                <a16:creationId xmlns:a16="http://schemas.microsoft.com/office/drawing/2014/main" id="{70D06CC2-37E7-45D1-98CE-4474C24F8CD8}"/>
              </a:ext>
            </a:extLst>
          </p:cNvPr>
          <p:cNvGraphicFramePr/>
          <p:nvPr>
            <p:extLst>
              <p:ext uri="{D42A27DB-BD31-4B8C-83A1-F6EECF244321}">
                <p14:modId xmlns:p14="http://schemas.microsoft.com/office/powerpoint/2010/main" val="3607656638"/>
              </p:ext>
            </p:extLst>
          </p:nvPr>
        </p:nvGraphicFramePr>
        <p:xfrm>
          <a:off x="246994" y="3137475"/>
          <a:ext cx="5418399" cy="34999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5" name="Diagram 4">
            <a:extLst>
              <a:ext uri="{FF2B5EF4-FFF2-40B4-BE49-F238E27FC236}">
                <a16:creationId xmlns:a16="http://schemas.microsoft.com/office/drawing/2014/main" id="{DED38AEA-3BE5-473E-80B9-40C12A91D98D}"/>
              </a:ext>
            </a:extLst>
          </p:cNvPr>
          <p:cNvGraphicFramePr/>
          <p:nvPr>
            <p:extLst>
              <p:ext uri="{D42A27DB-BD31-4B8C-83A1-F6EECF244321}">
                <p14:modId xmlns:p14="http://schemas.microsoft.com/office/powerpoint/2010/main" val="1028971886"/>
              </p:ext>
            </p:extLst>
          </p:nvPr>
        </p:nvGraphicFramePr>
        <p:xfrm>
          <a:off x="6096000" y="3137476"/>
          <a:ext cx="5849006" cy="349994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6" name="Rectangle 5">
            <a:extLst>
              <a:ext uri="{FF2B5EF4-FFF2-40B4-BE49-F238E27FC236}">
                <a16:creationId xmlns:a16="http://schemas.microsoft.com/office/drawing/2014/main" id="{0975F6C6-09ED-410E-9E3A-CA345BFFCBEE}"/>
              </a:ext>
            </a:extLst>
          </p:cNvPr>
          <p:cNvSpPr/>
          <p:nvPr/>
        </p:nvSpPr>
        <p:spPr bwMode="auto">
          <a:xfrm>
            <a:off x="6526609" y="5843239"/>
            <a:ext cx="4379284" cy="323385"/>
          </a:xfrm>
          <a:prstGeom prst="rect">
            <a:avLst/>
          </a:prstGeom>
          <a:noFill/>
          <a:ln w="28575">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Tree>
    <p:extLst>
      <p:ext uri="{BB962C8B-B14F-4D97-AF65-F5344CB8AC3E}">
        <p14:creationId xmlns:p14="http://schemas.microsoft.com/office/powerpoint/2010/main" val="18089606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AsOne/>
      </p:bldGraphic>
      <p:bldGraphic spid="5" grpId="0">
        <p:bldAsOne/>
      </p:bldGraphic>
      <p:bldP spid="6"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DE104-D85B-43D4-AC99-58903696A798}"/>
              </a:ext>
            </a:extLst>
          </p:cNvPr>
          <p:cNvSpPr>
            <a:spLocks noGrp="1"/>
          </p:cNvSpPr>
          <p:nvPr>
            <p:ph type="title"/>
          </p:nvPr>
        </p:nvSpPr>
        <p:spPr>
          <a:xfrm>
            <a:off x="585216" y="2537210"/>
            <a:ext cx="6400800" cy="997196"/>
          </a:xfrm>
        </p:spPr>
        <p:txBody>
          <a:bodyPr/>
          <a:lstStyle/>
          <a:p>
            <a:r>
              <a:rPr lang="en-US" dirty="0"/>
              <a:t>Module 3: New Security Capabilities</a:t>
            </a:r>
          </a:p>
        </p:txBody>
      </p:sp>
    </p:spTree>
    <p:extLst>
      <p:ext uri="{BB962C8B-B14F-4D97-AF65-F5344CB8AC3E}">
        <p14:creationId xmlns:p14="http://schemas.microsoft.com/office/powerpoint/2010/main" val="1489928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1732ACB7-C0E2-8548-B01C-7B04B3DE4A8D}"/>
              </a:ext>
            </a:extLst>
          </p:cNvPr>
          <p:cNvSpPr/>
          <p:nvPr/>
        </p:nvSpPr>
        <p:spPr>
          <a:xfrm>
            <a:off x="5233824" y="208645"/>
            <a:ext cx="6736701" cy="622109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2"/>
              </a:solidFill>
              <a:effectLst/>
              <a:uLnTx/>
              <a:uFillTx/>
              <a:latin typeface="Segoe UI"/>
              <a:ea typeface="+mn-ea"/>
              <a:cs typeface="+mn-cs"/>
            </a:endParaRPr>
          </a:p>
        </p:txBody>
      </p:sp>
      <p:sp>
        <p:nvSpPr>
          <p:cNvPr id="3" name="Title 2">
            <a:extLst>
              <a:ext uri="{FF2B5EF4-FFF2-40B4-BE49-F238E27FC236}">
                <a16:creationId xmlns:a16="http://schemas.microsoft.com/office/drawing/2014/main" id="{9E220FBC-FDF2-4518-BB4E-EB20C144C25C}"/>
              </a:ext>
            </a:extLst>
          </p:cNvPr>
          <p:cNvSpPr>
            <a:spLocks noGrp="1"/>
          </p:cNvSpPr>
          <p:nvPr>
            <p:ph type="title"/>
          </p:nvPr>
        </p:nvSpPr>
        <p:spPr>
          <a:xfrm>
            <a:off x="588263" y="457200"/>
            <a:ext cx="4412945" cy="1661993"/>
          </a:xfrm>
        </p:spPr>
        <p:txBody>
          <a:bodyPr/>
          <a:lstStyle/>
          <a:p>
            <a:pPr>
              <a:spcBef>
                <a:spcPts val="1200"/>
              </a:spcBef>
            </a:pPr>
            <a:r>
              <a:rPr lang="en-US" dirty="0"/>
              <a:t>Mission critical security</a:t>
            </a:r>
            <a:br>
              <a:rPr lang="en-US" dirty="0"/>
            </a:br>
            <a:r>
              <a:rPr lang="en-US" sz="2400" dirty="0">
                <a:solidFill>
                  <a:schemeClr val="accent1"/>
                </a:solidFill>
              </a:rPr>
              <a:t>Confidential computing</a:t>
            </a:r>
            <a:r>
              <a:rPr lang="en-US" dirty="0">
                <a:solidFill>
                  <a:schemeClr val="accent1"/>
                </a:solidFill>
              </a:rPr>
              <a:t> </a:t>
            </a:r>
            <a:r>
              <a:rPr lang="en-US" sz="2400" dirty="0">
                <a:solidFill>
                  <a:schemeClr val="accent1"/>
                </a:solidFill>
              </a:rPr>
              <a:t> </a:t>
            </a:r>
            <a:endParaRPr lang="en-US" sz="2400" dirty="0"/>
          </a:p>
        </p:txBody>
      </p:sp>
      <p:sp>
        <p:nvSpPr>
          <p:cNvPr id="6" name="Text Placeholder 5"/>
          <p:cNvSpPr>
            <a:spLocks noGrp="1"/>
          </p:cNvSpPr>
          <p:nvPr>
            <p:ph type="body" sz="quarter" idx="10"/>
          </p:nvPr>
        </p:nvSpPr>
        <p:spPr>
          <a:xfrm>
            <a:off x="584201" y="2360537"/>
            <a:ext cx="4062444" cy="2539157"/>
          </a:xfrm>
        </p:spPr>
        <p:txBody>
          <a:bodyPr/>
          <a:lstStyle/>
          <a:p>
            <a:pPr>
              <a:spcBef>
                <a:spcPts val="1000"/>
              </a:spcBef>
            </a:pPr>
            <a:r>
              <a:rPr lang="en-US" sz="2000" dirty="0"/>
              <a:t>Always Encrypted with secure enclaves</a:t>
            </a:r>
          </a:p>
          <a:p>
            <a:pPr>
              <a:spcBef>
                <a:spcPts val="1000"/>
              </a:spcBef>
            </a:pPr>
            <a:r>
              <a:rPr lang="en-US" sz="2000" dirty="0"/>
              <a:t>Data Classification and auditing built-in</a:t>
            </a:r>
          </a:p>
          <a:p>
            <a:pPr>
              <a:spcBef>
                <a:spcPts val="1000"/>
              </a:spcBef>
            </a:pPr>
            <a:r>
              <a:rPr lang="en-US" sz="2000" dirty="0"/>
              <a:t>Manage certificates easier with SQL Configuration Manager</a:t>
            </a:r>
          </a:p>
          <a:p>
            <a:r>
              <a:rPr lang="en-US" dirty="0"/>
              <a:t>Static Data Masking</a:t>
            </a:r>
          </a:p>
        </p:txBody>
      </p:sp>
      <p:sp>
        <p:nvSpPr>
          <p:cNvPr id="4" name="Rectangle 3">
            <a:extLst>
              <a:ext uri="{FF2B5EF4-FFF2-40B4-BE49-F238E27FC236}">
                <a16:creationId xmlns:a16="http://schemas.microsoft.com/office/drawing/2014/main" id="{AA8E8A6B-C689-4CD0-91C2-28C931D3B887}"/>
              </a:ext>
            </a:extLst>
          </p:cNvPr>
          <p:cNvSpPr/>
          <p:nvPr/>
        </p:nvSpPr>
        <p:spPr>
          <a:xfrm>
            <a:off x="6041230" y="1897550"/>
            <a:ext cx="3260556" cy="1466448"/>
          </a:xfrm>
          <a:prstGeom prst="rect">
            <a:avLst/>
          </a:prstGeom>
          <a:noFill/>
          <a:ln w="12700" cap="flat" cmpd="sng" algn="ctr">
            <a:solidFill>
              <a:srgbClr val="0078D7"/>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5" name="Straight Arrow Connector 4">
            <a:extLst>
              <a:ext uri="{FF2B5EF4-FFF2-40B4-BE49-F238E27FC236}">
                <a16:creationId xmlns:a16="http://schemas.microsoft.com/office/drawing/2014/main" id="{96FA711B-B0BD-408F-801A-7B2907AB60B8}"/>
              </a:ext>
            </a:extLst>
          </p:cNvPr>
          <p:cNvCxnSpPr>
            <a:cxnSpLocks/>
          </p:cNvCxnSpPr>
          <p:nvPr/>
        </p:nvCxnSpPr>
        <p:spPr>
          <a:xfrm>
            <a:off x="7157299" y="2729890"/>
            <a:ext cx="976705" cy="0"/>
          </a:xfrm>
          <a:prstGeom prst="straightConnector1">
            <a:avLst/>
          </a:prstGeom>
          <a:noFill/>
          <a:ln w="12700" cap="flat" cmpd="sng" algn="ctr">
            <a:solidFill>
              <a:srgbClr val="0078D7"/>
            </a:solidFill>
            <a:prstDash val="solid"/>
            <a:tailEnd type="triangle"/>
          </a:ln>
          <a:effectLst/>
        </p:spPr>
      </p:cxnSp>
      <p:cxnSp>
        <p:nvCxnSpPr>
          <p:cNvPr id="7" name="Straight Arrow Connector 6">
            <a:extLst>
              <a:ext uri="{FF2B5EF4-FFF2-40B4-BE49-F238E27FC236}">
                <a16:creationId xmlns:a16="http://schemas.microsoft.com/office/drawing/2014/main" id="{FAAA5185-5403-44A6-945A-CD5D761676E5}"/>
              </a:ext>
            </a:extLst>
          </p:cNvPr>
          <p:cNvCxnSpPr/>
          <p:nvPr/>
        </p:nvCxnSpPr>
        <p:spPr>
          <a:xfrm>
            <a:off x="7158683" y="2898599"/>
            <a:ext cx="973936" cy="0"/>
          </a:xfrm>
          <a:prstGeom prst="straightConnector1">
            <a:avLst/>
          </a:prstGeom>
          <a:noFill/>
          <a:ln w="12700" cap="flat" cmpd="sng" algn="ctr">
            <a:solidFill>
              <a:srgbClr val="0078D7"/>
            </a:solidFill>
            <a:prstDash val="solid"/>
            <a:headEnd type="triangle"/>
            <a:tailEnd type="none"/>
          </a:ln>
          <a:effectLst/>
        </p:spPr>
      </p:cxnSp>
      <p:sp>
        <p:nvSpPr>
          <p:cNvPr id="8" name="TextBox 7">
            <a:extLst>
              <a:ext uri="{FF2B5EF4-FFF2-40B4-BE49-F238E27FC236}">
                <a16:creationId xmlns:a16="http://schemas.microsoft.com/office/drawing/2014/main" id="{0B803B41-8081-4247-966C-91EABFFAFBEE}"/>
              </a:ext>
            </a:extLst>
          </p:cNvPr>
          <p:cNvSpPr txBox="1"/>
          <p:nvPr/>
        </p:nvSpPr>
        <p:spPr>
          <a:xfrm>
            <a:off x="7265579" y="2454550"/>
            <a:ext cx="760144" cy="26161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78D7"/>
                </a:solidFill>
                <a:effectLst/>
                <a:uLnTx/>
                <a:uFillTx/>
              </a:rPr>
              <a:t>plaintext </a:t>
            </a:r>
          </a:p>
        </p:txBody>
      </p:sp>
      <p:grpSp>
        <p:nvGrpSpPr>
          <p:cNvPr id="9" name="Group 8">
            <a:extLst>
              <a:ext uri="{FF2B5EF4-FFF2-40B4-BE49-F238E27FC236}">
                <a16:creationId xmlns:a16="http://schemas.microsoft.com/office/drawing/2014/main" id="{B3F8E6E6-625C-4D50-8130-4FD69E62418E}"/>
              </a:ext>
            </a:extLst>
          </p:cNvPr>
          <p:cNvGrpSpPr/>
          <p:nvPr/>
        </p:nvGrpSpPr>
        <p:grpSpPr>
          <a:xfrm>
            <a:off x="9178746" y="2729890"/>
            <a:ext cx="1080557" cy="165753"/>
            <a:chOff x="9569865" y="3406625"/>
            <a:chExt cx="1080557" cy="165753"/>
          </a:xfrm>
        </p:grpSpPr>
        <p:cxnSp>
          <p:nvCxnSpPr>
            <p:cNvPr id="10" name="Straight Arrow Connector 9">
              <a:extLst>
                <a:ext uri="{FF2B5EF4-FFF2-40B4-BE49-F238E27FC236}">
                  <a16:creationId xmlns:a16="http://schemas.microsoft.com/office/drawing/2014/main" id="{1704104A-1ED0-462B-A598-DDA461D3B2D8}"/>
                </a:ext>
              </a:extLst>
            </p:cNvPr>
            <p:cNvCxnSpPr>
              <a:cxnSpLocks/>
            </p:cNvCxnSpPr>
            <p:nvPr/>
          </p:nvCxnSpPr>
          <p:spPr>
            <a:xfrm>
              <a:off x="9576047" y="3406625"/>
              <a:ext cx="1074375" cy="0"/>
            </a:xfrm>
            <a:prstGeom prst="straightConnector1">
              <a:avLst/>
            </a:prstGeom>
            <a:noFill/>
            <a:ln w="12700" cap="flat" cmpd="sng" algn="ctr">
              <a:solidFill>
                <a:srgbClr val="0078D7"/>
              </a:solidFill>
              <a:prstDash val="solid"/>
              <a:tailEnd type="triangle"/>
            </a:ln>
            <a:effectLst/>
          </p:spPr>
        </p:cxnSp>
        <p:cxnSp>
          <p:nvCxnSpPr>
            <p:cNvPr id="11" name="Straight Arrow Connector 10">
              <a:extLst>
                <a:ext uri="{FF2B5EF4-FFF2-40B4-BE49-F238E27FC236}">
                  <a16:creationId xmlns:a16="http://schemas.microsoft.com/office/drawing/2014/main" id="{3ED91828-9E4E-4232-9D2D-385BBFFA2429}"/>
                </a:ext>
              </a:extLst>
            </p:cNvPr>
            <p:cNvCxnSpPr/>
            <p:nvPr/>
          </p:nvCxnSpPr>
          <p:spPr>
            <a:xfrm>
              <a:off x="9569865" y="3572378"/>
              <a:ext cx="1071330" cy="0"/>
            </a:xfrm>
            <a:prstGeom prst="straightConnector1">
              <a:avLst/>
            </a:prstGeom>
            <a:noFill/>
            <a:ln w="12700" cap="flat" cmpd="sng" algn="ctr">
              <a:solidFill>
                <a:srgbClr val="0078D7"/>
              </a:solidFill>
              <a:prstDash val="solid"/>
              <a:headEnd type="triangle"/>
              <a:tailEnd type="none"/>
            </a:ln>
            <a:effectLst/>
          </p:spPr>
        </p:cxnSp>
      </p:grpSp>
      <p:sp>
        <p:nvSpPr>
          <p:cNvPr id="12" name="TextBox 11">
            <a:extLst>
              <a:ext uri="{FF2B5EF4-FFF2-40B4-BE49-F238E27FC236}">
                <a16:creationId xmlns:a16="http://schemas.microsoft.com/office/drawing/2014/main" id="{E7017891-DE9E-44CE-AEA0-0A68778604CF}"/>
              </a:ext>
            </a:extLst>
          </p:cNvPr>
          <p:cNvSpPr txBox="1"/>
          <p:nvPr/>
        </p:nvSpPr>
        <p:spPr>
          <a:xfrm>
            <a:off x="9325536" y="2454550"/>
            <a:ext cx="805029" cy="26161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78D7"/>
                </a:solidFill>
                <a:effectLst/>
                <a:uLnTx/>
                <a:uFillTx/>
              </a:rPr>
              <a:t>ciphertext</a:t>
            </a:r>
          </a:p>
        </p:txBody>
      </p:sp>
      <p:sp>
        <p:nvSpPr>
          <p:cNvPr id="13" name="TextBox 12">
            <a:extLst>
              <a:ext uri="{FF2B5EF4-FFF2-40B4-BE49-F238E27FC236}">
                <a16:creationId xmlns:a16="http://schemas.microsoft.com/office/drawing/2014/main" id="{2E057808-5648-4F7C-A275-52A1A27BF241}"/>
              </a:ext>
            </a:extLst>
          </p:cNvPr>
          <p:cNvSpPr txBox="1"/>
          <p:nvPr/>
        </p:nvSpPr>
        <p:spPr>
          <a:xfrm>
            <a:off x="8113702" y="2809575"/>
            <a:ext cx="976946" cy="400110"/>
          </a:xfrm>
          <a:prstGeom prst="rect">
            <a:avLst/>
          </a:prstGeom>
          <a:noFill/>
          <a:ln w="12700">
            <a:noFill/>
          </a:ln>
        </p:spPr>
        <p:txBody>
          <a:bodyPr wrap="square" lIns="91440" tIns="45720" rIns="91440" bIns="45720" rtlCol="0" anchor="ctr" anchorCtr="0">
            <a:spAutoFit/>
          </a:bodyPr>
          <a:lstStyle/>
          <a:p>
            <a:pPr algn="ctr" defTabSz="931326">
              <a:defRPr/>
            </a:pPr>
            <a:r>
              <a:rPr lang="en-US" sz="1000" kern="0" dirty="0">
                <a:solidFill>
                  <a:srgbClr val="0078D7"/>
                </a:solidFill>
                <a:latin typeface="+mj-lt"/>
                <a:cs typeface="Segoe UI Semilight" panose="020B0402040204020203" pitchFamily="34" charset="0"/>
              </a:rPr>
              <a:t>Enhanced client driver</a:t>
            </a:r>
          </a:p>
        </p:txBody>
      </p:sp>
      <p:grpSp>
        <p:nvGrpSpPr>
          <p:cNvPr id="27" name="Group 26">
            <a:extLst>
              <a:ext uri="{FF2B5EF4-FFF2-40B4-BE49-F238E27FC236}">
                <a16:creationId xmlns:a16="http://schemas.microsoft.com/office/drawing/2014/main" id="{4EB423A2-5C45-4507-B684-C4C61615BFCE}"/>
              </a:ext>
            </a:extLst>
          </p:cNvPr>
          <p:cNvGrpSpPr/>
          <p:nvPr/>
        </p:nvGrpSpPr>
        <p:grpSpPr>
          <a:xfrm>
            <a:off x="7523444" y="2156754"/>
            <a:ext cx="244414" cy="299196"/>
            <a:chOff x="965200" y="3436897"/>
            <a:chExt cx="528881" cy="647424"/>
          </a:xfrm>
        </p:grpSpPr>
        <p:grpSp>
          <p:nvGrpSpPr>
            <p:cNvPr id="28" name="Group 27">
              <a:extLst>
                <a:ext uri="{FF2B5EF4-FFF2-40B4-BE49-F238E27FC236}">
                  <a16:creationId xmlns:a16="http://schemas.microsoft.com/office/drawing/2014/main" id="{9184A720-944F-4627-877A-09688F4E1095}"/>
                </a:ext>
              </a:extLst>
            </p:cNvPr>
            <p:cNvGrpSpPr/>
            <p:nvPr/>
          </p:nvGrpSpPr>
          <p:grpSpPr>
            <a:xfrm flipH="1">
              <a:off x="965200" y="3436897"/>
              <a:ext cx="528881" cy="647424"/>
              <a:chOff x="3003960" y="3685414"/>
              <a:chExt cx="403310" cy="493707"/>
            </a:xfrm>
          </p:grpSpPr>
          <p:sp>
            <p:nvSpPr>
              <p:cNvPr id="33" name="Snip Single Corner Rectangle 26">
                <a:extLst>
                  <a:ext uri="{FF2B5EF4-FFF2-40B4-BE49-F238E27FC236}">
                    <a16:creationId xmlns:a16="http://schemas.microsoft.com/office/drawing/2014/main" id="{DAB6C958-82BA-48F5-BDD1-1694FB1DACBF}"/>
                  </a:ext>
                </a:extLst>
              </p:cNvPr>
              <p:cNvSpPr/>
              <p:nvPr/>
            </p:nvSpPr>
            <p:spPr bwMode="auto">
              <a:xfrm flipH="1">
                <a:off x="3003960" y="3685414"/>
                <a:ext cx="403310" cy="493707"/>
              </a:xfrm>
              <a:prstGeom prst="snip1Rect">
                <a:avLst>
                  <a:gd name="adj" fmla="val 28736"/>
                </a:avLst>
              </a:pr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Triangle 27">
                <a:extLst>
                  <a:ext uri="{FF2B5EF4-FFF2-40B4-BE49-F238E27FC236}">
                    <a16:creationId xmlns:a16="http://schemas.microsoft.com/office/drawing/2014/main" id="{5CB84738-C587-4704-AFD0-457F16DF5067}"/>
                  </a:ext>
                </a:extLst>
              </p:cNvPr>
              <p:cNvSpPr/>
              <p:nvPr/>
            </p:nvSpPr>
            <p:spPr bwMode="auto">
              <a:xfrm rot="8100000">
                <a:off x="3012552" y="3733609"/>
                <a:ext cx="160049" cy="80930"/>
              </a:xfrm>
              <a:prstGeom prst="triangle">
                <a:avLst/>
              </a:prstGeom>
              <a:noFill/>
              <a:ln w="12700" cap="flat" cmpd="sng" algn="ctr">
                <a:solidFill>
                  <a:srgbClr val="0078D7"/>
                </a:solidFill>
                <a:prstDash val="solid"/>
                <a:bevel/>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29" name="Straight Connector 28">
              <a:extLst>
                <a:ext uri="{FF2B5EF4-FFF2-40B4-BE49-F238E27FC236}">
                  <a16:creationId xmlns:a16="http://schemas.microsoft.com/office/drawing/2014/main" id="{AC02BD27-2022-4667-ABA7-8A0508294ACB}"/>
                </a:ext>
              </a:extLst>
            </p:cNvPr>
            <p:cNvCxnSpPr/>
            <p:nvPr/>
          </p:nvCxnSpPr>
          <p:spPr>
            <a:xfrm>
              <a:off x="1047750" y="3578225"/>
              <a:ext cx="215900" cy="0"/>
            </a:xfrm>
            <a:prstGeom prst="line">
              <a:avLst/>
            </a:prstGeom>
            <a:noFill/>
            <a:ln w="12700" cap="rnd" cmpd="sng" algn="ctr">
              <a:solidFill>
                <a:srgbClr val="0078D7"/>
              </a:solidFill>
              <a:prstDash val="solid"/>
              <a:miter lim="800000"/>
              <a:headEnd type="none"/>
              <a:tailEnd type="none"/>
            </a:ln>
            <a:effectLst/>
          </p:spPr>
        </p:cxnSp>
        <p:cxnSp>
          <p:nvCxnSpPr>
            <p:cNvPr id="30" name="Straight Connector 29">
              <a:extLst>
                <a:ext uri="{FF2B5EF4-FFF2-40B4-BE49-F238E27FC236}">
                  <a16:creationId xmlns:a16="http://schemas.microsoft.com/office/drawing/2014/main" id="{78F9C4B8-EE0D-448E-893E-05930D299ABF}"/>
                </a:ext>
              </a:extLst>
            </p:cNvPr>
            <p:cNvCxnSpPr/>
            <p:nvPr/>
          </p:nvCxnSpPr>
          <p:spPr>
            <a:xfrm>
              <a:off x="1047750" y="3697817"/>
              <a:ext cx="368300" cy="0"/>
            </a:xfrm>
            <a:prstGeom prst="line">
              <a:avLst/>
            </a:prstGeom>
            <a:noFill/>
            <a:ln w="12700" cap="rnd" cmpd="sng" algn="ctr">
              <a:solidFill>
                <a:srgbClr val="0078D7"/>
              </a:solidFill>
              <a:prstDash val="solid"/>
              <a:miter lim="800000"/>
              <a:headEnd type="none"/>
              <a:tailEnd type="none"/>
            </a:ln>
            <a:effectLst/>
          </p:spPr>
        </p:cxnSp>
        <p:cxnSp>
          <p:nvCxnSpPr>
            <p:cNvPr id="31" name="Straight Connector 30">
              <a:extLst>
                <a:ext uri="{FF2B5EF4-FFF2-40B4-BE49-F238E27FC236}">
                  <a16:creationId xmlns:a16="http://schemas.microsoft.com/office/drawing/2014/main" id="{7DAB9D18-CA43-4180-87CE-4FB9AA88372A}"/>
                </a:ext>
              </a:extLst>
            </p:cNvPr>
            <p:cNvCxnSpPr/>
            <p:nvPr/>
          </p:nvCxnSpPr>
          <p:spPr>
            <a:xfrm>
              <a:off x="1047750" y="3817409"/>
              <a:ext cx="368300" cy="0"/>
            </a:xfrm>
            <a:prstGeom prst="line">
              <a:avLst/>
            </a:prstGeom>
            <a:noFill/>
            <a:ln w="12700" cap="rnd" cmpd="sng" algn="ctr">
              <a:solidFill>
                <a:srgbClr val="0078D7"/>
              </a:solidFill>
              <a:prstDash val="solid"/>
              <a:miter lim="800000"/>
              <a:headEnd type="none"/>
              <a:tailEnd type="none"/>
            </a:ln>
            <a:effectLst/>
          </p:spPr>
        </p:cxnSp>
        <p:cxnSp>
          <p:nvCxnSpPr>
            <p:cNvPr id="32" name="Straight Connector 31">
              <a:extLst>
                <a:ext uri="{FF2B5EF4-FFF2-40B4-BE49-F238E27FC236}">
                  <a16:creationId xmlns:a16="http://schemas.microsoft.com/office/drawing/2014/main" id="{C0C46C65-660E-4D01-B514-B3223BF1F789}"/>
                </a:ext>
              </a:extLst>
            </p:cNvPr>
            <p:cNvCxnSpPr/>
            <p:nvPr/>
          </p:nvCxnSpPr>
          <p:spPr>
            <a:xfrm>
              <a:off x="1047750" y="3937000"/>
              <a:ext cx="368300" cy="0"/>
            </a:xfrm>
            <a:prstGeom prst="line">
              <a:avLst/>
            </a:prstGeom>
            <a:noFill/>
            <a:ln w="12700" cap="rnd" cmpd="sng" algn="ctr">
              <a:solidFill>
                <a:srgbClr val="0078D7"/>
              </a:solidFill>
              <a:prstDash val="solid"/>
              <a:miter lim="800000"/>
              <a:headEnd type="none"/>
              <a:tailEnd type="none"/>
            </a:ln>
            <a:effectLst/>
          </p:spPr>
        </p:cxnSp>
      </p:grpSp>
      <p:grpSp>
        <p:nvGrpSpPr>
          <p:cNvPr id="36" name="Group 35">
            <a:extLst>
              <a:ext uri="{FF2B5EF4-FFF2-40B4-BE49-F238E27FC236}">
                <a16:creationId xmlns:a16="http://schemas.microsoft.com/office/drawing/2014/main" id="{F2278E99-6799-4FAA-97FD-E82AD7F413A2}"/>
              </a:ext>
            </a:extLst>
          </p:cNvPr>
          <p:cNvGrpSpPr/>
          <p:nvPr/>
        </p:nvGrpSpPr>
        <p:grpSpPr>
          <a:xfrm>
            <a:off x="9571675" y="2129423"/>
            <a:ext cx="244414" cy="299196"/>
            <a:chOff x="965200" y="3436897"/>
            <a:chExt cx="528881" cy="647424"/>
          </a:xfrm>
        </p:grpSpPr>
        <p:grpSp>
          <p:nvGrpSpPr>
            <p:cNvPr id="40" name="Group 39">
              <a:extLst>
                <a:ext uri="{FF2B5EF4-FFF2-40B4-BE49-F238E27FC236}">
                  <a16:creationId xmlns:a16="http://schemas.microsoft.com/office/drawing/2014/main" id="{D47CADD1-4331-412D-9621-4EE253076BE2}"/>
                </a:ext>
              </a:extLst>
            </p:cNvPr>
            <p:cNvGrpSpPr/>
            <p:nvPr/>
          </p:nvGrpSpPr>
          <p:grpSpPr>
            <a:xfrm flipH="1">
              <a:off x="965200" y="3436897"/>
              <a:ext cx="528881" cy="647424"/>
              <a:chOff x="3003960" y="3685414"/>
              <a:chExt cx="403310" cy="493707"/>
            </a:xfrm>
          </p:grpSpPr>
          <p:sp>
            <p:nvSpPr>
              <p:cNvPr id="45" name="Snip Single Corner Rectangle 26">
                <a:extLst>
                  <a:ext uri="{FF2B5EF4-FFF2-40B4-BE49-F238E27FC236}">
                    <a16:creationId xmlns:a16="http://schemas.microsoft.com/office/drawing/2014/main" id="{9F1AD471-A738-44CB-AF9D-4537B7100930}"/>
                  </a:ext>
                </a:extLst>
              </p:cNvPr>
              <p:cNvSpPr/>
              <p:nvPr/>
            </p:nvSpPr>
            <p:spPr bwMode="auto">
              <a:xfrm flipH="1">
                <a:off x="3003960" y="3685414"/>
                <a:ext cx="403310" cy="493707"/>
              </a:xfrm>
              <a:prstGeom prst="snip1Rect">
                <a:avLst>
                  <a:gd name="adj" fmla="val 28736"/>
                </a:avLst>
              </a:pr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Triangle 27">
                <a:extLst>
                  <a:ext uri="{FF2B5EF4-FFF2-40B4-BE49-F238E27FC236}">
                    <a16:creationId xmlns:a16="http://schemas.microsoft.com/office/drawing/2014/main" id="{786FAC98-0EE2-4BB5-A333-1524842C4A4E}"/>
                  </a:ext>
                </a:extLst>
              </p:cNvPr>
              <p:cNvSpPr/>
              <p:nvPr/>
            </p:nvSpPr>
            <p:spPr bwMode="auto">
              <a:xfrm rot="8100000">
                <a:off x="3012552" y="3733609"/>
                <a:ext cx="160049" cy="80930"/>
              </a:xfrm>
              <a:prstGeom prst="triangle">
                <a:avLst/>
              </a:prstGeom>
              <a:noFill/>
              <a:ln w="12700" cap="flat" cmpd="sng" algn="ctr">
                <a:solidFill>
                  <a:srgbClr val="0078D7"/>
                </a:solidFill>
                <a:prstDash val="solid"/>
                <a:bevel/>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41" name="Straight Connector 40">
              <a:extLst>
                <a:ext uri="{FF2B5EF4-FFF2-40B4-BE49-F238E27FC236}">
                  <a16:creationId xmlns:a16="http://schemas.microsoft.com/office/drawing/2014/main" id="{0EBAA66F-31A9-4543-B42C-5F814DE6C6A4}"/>
                </a:ext>
              </a:extLst>
            </p:cNvPr>
            <p:cNvCxnSpPr/>
            <p:nvPr/>
          </p:nvCxnSpPr>
          <p:spPr>
            <a:xfrm>
              <a:off x="1047750" y="3578225"/>
              <a:ext cx="215900" cy="0"/>
            </a:xfrm>
            <a:prstGeom prst="line">
              <a:avLst/>
            </a:prstGeom>
            <a:noFill/>
            <a:ln w="12700" cap="rnd" cmpd="sng" algn="ctr">
              <a:solidFill>
                <a:srgbClr val="0078D7"/>
              </a:solidFill>
              <a:prstDash val="solid"/>
              <a:miter lim="800000"/>
              <a:headEnd type="none"/>
              <a:tailEnd type="none"/>
            </a:ln>
            <a:effectLst/>
          </p:spPr>
        </p:cxnSp>
        <p:cxnSp>
          <p:nvCxnSpPr>
            <p:cNvPr id="42" name="Straight Connector 41">
              <a:extLst>
                <a:ext uri="{FF2B5EF4-FFF2-40B4-BE49-F238E27FC236}">
                  <a16:creationId xmlns:a16="http://schemas.microsoft.com/office/drawing/2014/main" id="{C0CE8B7D-1AE2-44A8-941B-75B39597EBAF}"/>
                </a:ext>
              </a:extLst>
            </p:cNvPr>
            <p:cNvCxnSpPr/>
            <p:nvPr/>
          </p:nvCxnSpPr>
          <p:spPr>
            <a:xfrm>
              <a:off x="1047750" y="3697817"/>
              <a:ext cx="368300" cy="0"/>
            </a:xfrm>
            <a:prstGeom prst="line">
              <a:avLst/>
            </a:prstGeom>
            <a:noFill/>
            <a:ln w="12700" cap="rnd" cmpd="sng" algn="ctr">
              <a:solidFill>
                <a:srgbClr val="0078D7"/>
              </a:solidFill>
              <a:prstDash val="solid"/>
              <a:miter lim="800000"/>
              <a:headEnd type="none"/>
              <a:tailEnd type="none"/>
            </a:ln>
            <a:effectLst/>
          </p:spPr>
        </p:cxnSp>
        <p:cxnSp>
          <p:nvCxnSpPr>
            <p:cNvPr id="43" name="Straight Connector 42">
              <a:extLst>
                <a:ext uri="{FF2B5EF4-FFF2-40B4-BE49-F238E27FC236}">
                  <a16:creationId xmlns:a16="http://schemas.microsoft.com/office/drawing/2014/main" id="{A2E1761C-F16D-4637-9714-3F6EF02BBAD1}"/>
                </a:ext>
              </a:extLst>
            </p:cNvPr>
            <p:cNvCxnSpPr/>
            <p:nvPr/>
          </p:nvCxnSpPr>
          <p:spPr>
            <a:xfrm>
              <a:off x="1047750" y="3817409"/>
              <a:ext cx="368300" cy="0"/>
            </a:xfrm>
            <a:prstGeom prst="line">
              <a:avLst/>
            </a:prstGeom>
            <a:noFill/>
            <a:ln w="12700" cap="rnd" cmpd="sng" algn="ctr">
              <a:solidFill>
                <a:srgbClr val="0078D7"/>
              </a:solidFill>
              <a:prstDash val="solid"/>
              <a:miter lim="800000"/>
              <a:headEnd type="none"/>
              <a:tailEnd type="none"/>
            </a:ln>
            <a:effectLst/>
          </p:spPr>
        </p:cxnSp>
        <p:cxnSp>
          <p:nvCxnSpPr>
            <p:cNvPr id="44" name="Straight Connector 43">
              <a:extLst>
                <a:ext uri="{FF2B5EF4-FFF2-40B4-BE49-F238E27FC236}">
                  <a16:creationId xmlns:a16="http://schemas.microsoft.com/office/drawing/2014/main" id="{C6C0A452-471A-47AA-B729-6300D3948296}"/>
                </a:ext>
              </a:extLst>
            </p:cNvPr>
            <p:cNvCxnSpPr/>
            <p:nvPr/>
          </p:nvCxnSpPr>
          <p:spPr>
            <a:xfrm>
              <a:off x="1047750" y="3937000"/>
              <a:ext cx="368300" cy="0"/>
            </a:xfrm>
            <a:prstGeom prst="line">
              <a:avLst/>
            </a:prstGeom>
            <a:noFill/>
            <a:ln w="12700" cap="rnd" cmpd="sng" algn="ctr">
              <a:solidFill>
                <a:srgbClr val="0078D7"/>
              </a:solidFill>
              <a:prstDash val="solid"/>
              <a:miter lim="800000"/>
              <a:headEnd type="none"/>
              <a:tailEnd type="none"/>
            </a:ln>
            <a:effectLst/>
          </p:spPr>
        </p:cxnSp>
      </p:grpSp>
      <p:grpSp>
        <p:nvGrpSpPr>
          <p:cNvPr id="47" name="Group 46">
            <a:extLst>
              <a:ext uri="{FF2B5EF4-FFF2-40B4-BE49-F238E27FC236}">
                <a16:creationId xmlns:a16="http://schemas.microsoft.com/office/drawing/2014/main" id="{C29D056D-8C11-4EF8-8A9C-69B805AF8CA9}"/>
              </a:ext>
            </a:extLst>
          </p:cNvPr>
          <p:cNvGrpSpPr/>
          <p:nvPr/>
        </p:nvGrpSpPr>
        <p:grpSpPr>
          <a:xfrm>
            <a:off x="8293004" y="2248517"/>
            <a:ext cx="642308" cy="627326"/>
            <a:chOff x="8862080" y="3437983"/>
            <a:chExt cx="222735" cy="217542"/>
          </a:xfrm>
          <a:solidFill>
            <a:schemeClr val="accent1"/>
          </a:solidFill>
        </p:grpSpPr>
        <p:sp>
          <p:nvSpPr>
            <p:cNvPr id="48" name="Freeform: Shape 119">
              <a:extLst>
                <a:ext uri="{FF2B5EF4-FFF2-40B4-BE49-F238E27FC236}">
                  <a16:creationId xmlns:a16="http://schemas.microsoft.com/office/drawing/2014/main" id="{DE4D2445-3FBD-4994-B635-9FC2C8B15E4B}"/>
                </a:ext>
              </a:extLst>
            </p:cNvPr>
            <p:cNvSpPr/>
            <p:nvPr/>
          </p:nvSpPr>
          <p:spPr>
            <a:xfrm rot="900000">
              <a:off x="8945691" y="3437983"/>
              <a:ext cx="139124" cy="139123"/>
            </a:xfrm>
            <a:custGeom>
              <a:avLst/>
              <a:gdLst>
                <a:gd name="connsiteX0" fmla="*/ 178272 w 355178"/>
                <a:gd name="connsiteY0" fmla="*/ 229498 h 355175"/>
                <a:gd name="connsiteX1" fmla="*/ 127045 w 355178"/>
                <a:gd name="connsiteY1" fmla="*/ 178271 h 355175"/>
                <a:gd name="connsiteX2" fmla="*/ 178272 w 355178"/>
                <a:gd name="connsiteY2" fmla="*/ 127043 h 355175"/>
                <a:gd name="connsiteX3" fmla="*/ 229500 w 355178"/>
                <a:gd name="connsiteY3" fmla="*/ 178271 h 355175"/>
                <a:gd name="connsiteX4" fmla="*/ 178272 w 355178"/>
                <a:gd name="connsiteY4" fmla="*/ 229498 h 355175"/>
                <a:gd name="connsiteX5" fmla="*/ 293705 w 355178"/>
                <a:gd name="connsiteY5" fmla="*/ 146168 h 355175"/>
                <a:gd name="connsiteX6" fmla="*/ 282777 w 355178"/>
                <a:gd name="connsiteY6" fmla="*/ 119530 h 355175"/>
                <a:gd name="connsiteX7" fmla="*/ 293705 w 355178"/>
                <a:gd name="connsiteY7" fmla="*/ 87428 h 355175"/>
                <a:gd name="connsiteX8" fmla="*/ 269116 w 355178"/>
                <a:gd name="connsiteY8" fmla="*/ 62839 h 355175"/>
                <a:gd name="connsiteX9" fmla="*/ 237013 w 355178"/>
                <a:gd name="connsiteY9" fmla="*/ 73767 h 355175"/>
                <a:gd name="connsiteX10" fmla="*/ 210375 w 355178"/>
                <a:gd name="connsiteY10" fmla="*/ 62839 h 355175"/>
                <a:gd name="connsiteX11" fmla="*/ 195348 w 355178"/>
                <a:gd name="connsiteY11" fmla="*/ 32785 h 355175"/>
                <a:gd name="connsiteX12" fmla="*/ 161196 w 355178"/>
                <a:gd name="connsiteY12" fmla="*/ 32785 h 355175"/>
                <a:gd name="connsiteX13" fmla="*/ 146170 w 355178"/>
                <a:gd name="connsiteY13" fmla="*/ 62839 h 355175"/>
                <a:gd name="connsiteX14" fmla="*/ 119531 w 355178"/>
                <a:gd name="connsiteY14" fmla="*/ 73767 h 355175"/>
                <a:gd name="connsiteX15" fmla="*/ 87429 w 355178"/>
                <a:gd name="connsiteY15" fmla="*/ 62839 h 355175"/>
                <a:gd name="connsiteX16" fmla="*/ 62839 w 355178"/>
                <a:gd name="connsiteY16" fmla="*/ 87428 h 355175"/>
                <a:gd name="connsiteX17" fmla="*/ 73768 w 355178"/>
                <a:gd name="connsiteY17" fmla="*/ 119530 h 355175"/>
                <a:gd name="connsiteX18" fmla="*/ 62839 w 355178"/>
                <a:gd name="connsiteY18" fmla="*/ 146168 h 355175"/>
                <a:gd name="connsiteX19" fmla="*/ 32786 w 355178"/>
                <a:gd name="connsiteY19" fmla="*/ 161195 h 355175"/>
                <a:gd name="connsiteX20" fmla="*/ 32786 w 355178"/>
                <a:gd name="connsiteY20" fmla="*/ 195346 h 355175"/>
                <a:gd name="connsiteX21" fmla="*/ 62839 w 355178"/>
                <a:gd name="connsiteY21" fmla="*/ 210373 h 355175"/>
                <a:gd name="connsiteX22" fmla="*/ 73768 w 355178"/>
                <a:gd name="connsiteY22" fmla="*/ 237011 h 355175"/>
                <a:gd name="connsiteX23" fmla="*/ 62839 w 355178"/>
                <a:gd name="connsiteY23" fmla="*/ 269113 h 355175"/>
                <a:gd name="connsiteX24" fmla="*/ 86746 w 355178"/>
                <a:gd name="connsiteY24" fmla="*/ 293020 h 355175"/>
                <a:gd name="connsiteX25" fmla="*/ 118848 w 355178"/>
                <a:gd name="connsiteY25" fmla="*/ 282091 h 355175"/>
                <a:gd name="connsiteX26" fmla="*/ 145487 w 355178"/>
                <a:gd name="connsiteY26" fmla="*/ 293020 h 355175"/>
                <a:gd name="connsiteX27" fmla="*/ 160513 w 355178"/>
                <a:gd name="connsiteY27" fmla="*/ 323073 h 355175"/>
                <a:gd name="connsiteX28" fmla="*/ 194665 w 355178"/>
                <a:gd name="connsiteY28" fmla="*/ 323073 h 355175"/>
                <a:gd name="connsiteX29" fmla="*/ 209692 w 355178"/>
                <a:gd name="connsiteY29" fmla="*/ 293020 h 355175"/>
                <a:gd name="connsiteX30" fmla="*/ 236330 w 355178"/>
                <a:gd name="connsiteY30" fmla="*/ 282091 h 355175"/>
                <a:gd name="connsiteX31" fmla="*/ 268433 w 355178"/>
                <a:gd name="connsiteY31" fmla="*/ 293020 h 355175"/>
                <a:gd name="connsiteX32" fmla="*/ 293022 w 355178"/>
                <a:gd name="connsiteY32" fmla="*/ 269113 h 355175"/>
                <a:gd name="connsiteX33" fmla="*/ 282094 w 355178"/>
                <a:gd name="connsiteY33" fmla="*/ 237011 h 355175"/>
                <a:gd name="connsiteX34" fmla="*/ 293705 w 355178"/>
                <a:gd name="connsiteY34" fmla="*/ 210373 h 355175"/>
                <a:gd name="connsiteX35" fmla="*/ 323759 w 355178"/>
                <a:gd name="connsiteY35" fmla="*/ 195346 h 355175"/>
                <a:gd name="connsiteX36" fmla="*/ 323759 w 355178"/>
                <a:gd name="connsiteY36" fmla="*/ 161195 h 355175"/>
                <a:gd name="connsiteX37" fmla="*/ 293705 w 355178"/>
                <a:gd name="connsiteY37" fmla="*/ 146168 h 355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55178" h="355175">
                  <a:moveTo>
                    <a:pt x="178272" y="229498"/>
                  </a:moveTo>
                  <a:cubicBezTo>
                    <a:pt x="149585" y="229498"/>
                    <a:pt x="127045" y="206275"/>
                    <a:pt x="127045" y="178271"/>
                  </a:cubicBezTo>
                  <a:cubicBezTo>
                    <a:pt x="127045" y="150266"/>
                    <a:pt x="150268" y="127043"/>
                    <a:pt x="178272" y="127043"/>
                  </a:cubicBezTo>
                  <a:cubicBezTo>
                    <a:pt x="206960" y="127043"/>
                    <a:pt x="229500" y="150266"/>
                    <a:pt x="229500" y="178271"/>
                  </a:cubicBezTo>
                  <a:cubicBezTo>
                    <a:pt x="229500" y="206275"/>
                    <a:pt x="206277" y="229498"/>
                    <a:pt x="178272" y="229498"/>
                  </a:cubicBezTo>
                  <a:close/>
                  <a:moveTo>
                    <a:pt x="293705" y="146168"/>
                  </a:moveTo>
                  <a:cubicBezTo>
                    <a:pt x="290973" y="136606"/>
                    <a:pt x="287558" y="127726"/>
                    <a:pt x="282777" y="119530"/>
                  </a:cubicBezTo>
                  <a:lnTo>
                    <a:pt x="293705" y="87428"/>
                  </a:lnTo>
                  <a:lnTo>
                    <a:pt x="269116" y="62839"/>
                  </a:lnTo>
                  <a:lnTo>
                    <a:pt x="237013" y="73767"/>
                  </a:lnTo>
                  <a:cubicBezTo>
                    <a:pt x="228817" y="68986"/>
                    <a:pt x="219937" y="65571"/>
                    <a:pt x="210375" y="62839"/>
                  </a:cubicBezTo>
                  <a:lnTo>
                    <a:pt x="195348" y="32785"/>
                  </a:lnTo>
                  <a:lnTo>
                    <a:pt x="161196" y="32785"/>
                  </a:lnTo>
                  <a:lnTo>
                    <a:pt x="146170" y="62839"/>
                  </a:lnTo>
                  <a:cubicBezTo>
                    <a:pt x="136607" y="65571"/>
                    <a:pt x="127728" y="68986"/>
                    <a:pt x="119531" y="73767"/>
                  </a:cubicBezTo>
                  <a:lnTo>
                    <a:pt x="87429" y="62839"/>
                  </a:lnTo>
                  <a:lnTo>
                    <a:pt x="62839" y="87428"/>
                  </a:lnTo>
                  <a:lnTo>
                    <a:pt x="73768" y="119530"/>
                  </a:lnTo>
                  <a:cubicBezTo>
                    <a:pt x="68987" y="127726"/>
                    <a:pt x="65571" y="136606"/>
                    <a:pt x="62839" y="146168"/>
                  </a:cubicBezTo>
                  <a:lnTo>
                    <a:pt x="32786" y="161195"/>
                  </a:lnTo>
                  <a:lnTo>
                    <a:pt x="32786" y="195346"/>
                  </a:lnTo>
                  <a:lnTo>
                    <a:pt x="62839" y="210373"/>
                  </a:lnTo>
                  <a:cubicBezTo>
                    <a:pt x="65571" y="219935"/>
                    <a:pt x="68987" y="228815"/>
                    <a:pt x="73768" y="237011"/>
                  </a:cubicBezTo>
                  <a:lnTo>
                    <a:pt x="62839" y="269113"/>
                  </a:lnTo>
                  <a:lnTo>
                    <a:pt x="86746" y="293020"/>
                  </a:lnTo>
                  <a:lnTo>
                    <a:pt x="118848" y="282091"/>
                  </a:lnTo>
                  <a:cubicBezTo>
                    <a:pt x="127045" y="286872"/>
                    <a:pt x="135924" y="290287"/>
                    <a:pt x="145487" y="293020"/>
                  </a:cubicBezTo>
                  <a:lnTo>
                    <a:pt x="160513" y="323073"/>
                  </a:lnTo>
                  <a:lnTo>
                    <a:pt x="194665" y="323073"/>
                  </a:lnTo>
                  <a:lnTo>
                    <a:pt x="209692" y="293020"/>
                  </a:lnTo>
                  <a:cubicBezTo>
                    <a:pt x="219254" y="290287"/>
                    <a:pt x="228134" y="286872"/>
                    <a:pt x="236330" y="282091"/>
                  </a:cubicBezTo>
                  <a:lnTo>
                    <a:pt x="268433" y="293020"/>
                  </a:lnTo>
                  <a:lnTo>
                    <a:pt x="293022" y="269113"/>
                  </a:lnTo>
                  <a:lnTo>
                    <a:pt x="282094" y="237011"/>
                  </a:lnTo>
                  <a:cubicBezTo>
                    <a:pt x="286875" y="228815"/>
                    <a:pt x="290973" y="219252"/>
                    <a:pt x="293705" y="210373"/>
                  </a:cubicBezTo>
                  <a:lnTo>
                    <a:pt x="323759" y="195346"/>
                  </a:lnTo>
                  <a:lnTo>
                    <a:pt x="323759" y="161195"/>
                  </a:lnTo>
                  <a:lnTo>
                    <a:pt x="293705" y="146168"/>
                  </a:lnTo>
                  <a:close/>
                </a:path>
              </a:pathLst>
            </a:custGeom>
            <a:grpFill/>
            <a:ln w="1270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9" name="Freeform: Shape 120">
              <a:extLst>
                <a:ext uri="{FF2B5EF4-FFF2-40B4-BE49-F238E27FC236}">
                  <a16:creationId xmlns:a16="http://schemas.microsoft.com/office/drawing/2014/main" id="{9390A076-63B6-4173-BB65-976D5D37C926}"/>
                </a:ext>
              </a:extLst>
            </p:cNvPr>
            <p:cNvSpPr/>
            <p:nvPr/>
          </p:nvSpPr>
          <p:spPr>
            <a:xfrm rot="900000">
              <a:off x="8862080" y="3516402"/>
              <a:ext cx="139124" cy="139123"/>
            </a:xfrm>
            <a:custGeom>
              <a:avLst/>
              <a:gdLst>
                <a:gd name="connsiteX0" fmla="*/ 178272 w 355178"/>
                <a:gd name="connsiteY0" fmla="*/ 229498 h 355175"/>
                <a:gd name="connsiteX1" fmla="*/ 127045 w 355178"/>
                <a:gd name="connsiteY1" fmla="*/ 178271 h 355175"/>
                <a:gd name="connsiteX2" fmla="*/ 178272 w 355178"/>
                <a:gd name="connsiteY2" fmla="*/ 127043 h 355175"/>
                <a:gd name="connsiteX3" fmla="*/ 229500 w 355178"/>
                <a:gd name="connsiteY3" fmla="*/ 178271 h 355175"/>
                <a:gd name="connsiteX4" fmla="*/ 178272 w 355178"/>
                <a:gd name="connsiteY4" fmla="*/ 229498 h 355175"/>
                <a:gd name="connsiteX5" fmla="*/ 178272 w 355178"/>
                <a:gd name="connsiteY5" fmla="*/ 229498 h 355175"/>
                <a:gd name="connsiteX6" fmla="*/ 282777 w 355178"/>
                <a:gd name="connsiteY6" fmla="*/ 119530 h 355175"/>
                <a:gd name="connsiteX7" fmla="*/ 293705 w 355178"/>
                <a:gd name="connsiteY7" fmla="*/ 87428 h 355175"/>
                <a:gd name="connsiteX8" fmla="*/ 269116 w 355178"/>
                <a:gd name="connsiteY8" fmla="*/ 62839 h 355175"/>
                <a:gd name="connsiteX9" fmla="*/ 237013 w 355178"/>
                <a:gd name="connsiteY9" fmla="*/ 73767 h 355175"/>
                <a:gd name="connsiteX10" fmla="*/ 210375 w 355178"/>
                <a:gd name="connsiteY10" fmla="*/ 62839 h 355175"/>
                <a:gd name="connsiteX11" fmla="*/ 195348 w 355178"/>
                <a:gd name="connsiteY11" fmla="*/ 32785 h 355175"/>
                <a:gd name="connsiteX12" fmla="*/ 161196 w 355178"/>
                <a:gd name="connsiteY12" fmla="*/ 32785 h 355175"/>
                <a:gd name="connsiteX13" fmla="*/ 146170 w 355178"/>
                <a:gd name="connsiteY13" fmla="*/ 62839 h 355175"/>
                <a:gd name="connsiteX14" fmla="*/ 119531 w 355178"/>
                <a:gd name="connsiteY14" fmla="*/ 73767 h 355175"/>
                <a:gd name="connsiteX15" fmla="*/ 87429 w 355178"/>
                <a:gd name="connsiteY15" fmla="*/ 62839 h 355175"/>
                <a:gd name="connsiteX16" fmla="*/ 63522 w 355178"/>
                <a:gd name="connsiteY16" fmla="*/ 86745 h 355175"/>
                <a:gd name="connsiteX17" fmla="*/ 73768 w 355178"/>
                <a:gd name="connsiteY17" fmla="*/ 118847 h 355175"/>
                <a:gd name="connsiteX18" fmla="*/ 62839 w 355178"/>
                <a:gd name="connsiteY18" fmla="*/ 145485 h 355175"/>
                <a:gd name="connsiteX19" fmla="*/ 32786 w 355178"/>
                <a:gd name="connsiteY19" fmla="*/ 160512 h 355175"/>
                <a:gd name="connsiteX20" fmla="*/ 32786 w 355178"/>
                <a:gd name="connsiteY20" fmla="*/ 194663 h 355175"/>
                <a:gd name="connsiteX21" fmla="*/ 62839 w 355178"/>
                <a:gd name="connsiteY21" fmla="*/ 209690 h 355175"/>
                <a:gd name="connsiteX22" fmla="*/ 73768 w 355178"/>
                <a:gd name="connsiteY22" fmla="*/ 236328 h 355175"/>
                <a:gd name="connsiteX23" fmla="*/ 63522 w 355178"/>
                <a:gd name="connsiteY23" fmla="*/ 268430 h 355175"/>
                <a:gd name="connsiteX24" fmla="*/ 87429 w 355178"/>
                <a:gd name="connsiteY24" fmla="*/ 292337 h 355175"/>
                <a:gd name="connsiteX25" fmla="*/ 119531 w 355178"/>
                <a:gd name="connsiteY25" fmla="*/ 282091 h 355175"/>
                <a:gd name="connsiteX26" fmla="*/ 146170 w 355178"/>
                <a:gd name="connsiteY26" fmla="*/ 293020 h 355175"/>
                <a:gd name="connsiteX27" fmla="*/ 161196 w 355178"/>
                <a:gd name="connsiteY27" fmla="*/ 323073 h 355175"/>
                <a:gd name="connsiteX28" fmla="*/ 195348 w 355178"/>
                <a:gd name="connsiteY28" fmla="*/ 323073 h 355175"/>
                <a:gd name="connsiteX29" fmla="*/ 210375 w 355178"/>
                <a:gd name="connsiteY29" fmla="*/ 293020 h 355175"/>
                <a:gd name="connsiteX30" fmla="*/ 237013 w 355178"/>
                <a:gd name="connsiteY30" fmla="*/ 282091 h 355175"/>
                <a:gd name="connsiteX31" fmla="*/ 269116 w 355178"/>
                <a:gd name="connsiteY31" fmla="*/ 293020 h 355175"/>
                <a:gd name="connsiteX32" fmla="*/ 293022 w 355178"/>
                <a:gd name="connsiteY32" fmla="*/ 268430 h 355175"/>
                <a:gd name="connsiteX33" fmla="*/ 282777 w 355178"/>
                <a:gd name="connsiteY33" fmla="*/ 237011 h 355175"/>
                <a:gd name="connsiteX34" fmla="*/ 293705 w 355178"/>
                <a:gd name="connsiteY34" fmla="*/ 210373 h 355175"/>
                <a:gd name="connsiteX35" fmla="*/ 323759 w 355178"/>
                <a:gd name="connsiteY35" fmla="*/ 195346 h 355175"/>
                <a:gd name="connsiteX36" fmla="*/ 323759 w 355178"/>
                <a:gd name="connsiteY36" fmla="*/ 161195 h 355175"/>
                <a:gd name="connsiteX37" fmla="*/ 293705 w 355178"/>
                <a:gd name="connsiteY37" fmla="*/ 146168 h 355175"/>
                <a:gd name="connsiteX38" fmla="*/ 282777 w 355178"/>
                <a:gd name="connsiteY38" fmla="*/ 119530 h 355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55178" h="355175">
                  <a:moveTo>
                    <a:pt x="178272" y="229498"/>
                  </a:moveTo>
                  <a:cubicBezTo>
                    <a:pt x="149585" y="229498"/>
                    <a:pt x="127045" y="206275"/>
                    <a:pt x="127045" y="178271"/>
                  </a:cubicBezTo>
                  <a:cubicBezTo>
                    <a:pt x="127045" y="149583"/>
                    <a:pt x="150268" y="127043"/>
                    <a:pt x="178272" y="127043"/>
                  </a:cubicBezTo>
                  <a:cubicBezTo>
                    <a:pt x="206960" y="127043"/>
                    <a:pt x="229500" y="150266"/>
                    <a:pt x="229500" y="178271"/>
                  </a:cubicBezTo>
                  <a:cubicBezTo>
                    <a:pt x="229500" y="206275"/>
                    <a:pt x="206960" y="229498"/>
                    <a:pt x="178272" y="229498"/>
                  </a:cubicBezTo>
                  <a:lnTo>
                    <a:pt x="178272" y="229498"/>
                  </a:lnTo>
                  <a:close/>
                  <a:moveTo>
                    <a:pt x="282777" y="119530"/>
                  </a:moveTo>
                  <a:lnTo>
                    <a:pt x="293705" y="87428"/>
                  </a:lnTo>
                  <a:lnTo>
                    <a:pt x="269116" y="62839"/>
                  </a:lnTo>
                  <a:lnTo>
                    <a:pt x="237013" y="73767"/>
                  </a:lnTo>
                  <a:cubicBezTo>
                    <a:pt x="228817" y="68986"/>
                    <a:pt x="219254" y="65571"/>
                    <a:pt x="210375" y="62839"/>
                  </a:cubicBezTo>
                  <a:lnTo>
                    <a:pt x="195348" y="32785"/>
                  </a:lnTo>
                  <a:lnTo>
                    <a:pt x="161196" y="32785"/>
                  </a:lnTo>
                  <a:lnTo>
                    <a:pt x="146170" y="62839"/>
                  </a:lnTo>
                  <a:cubicBezTo>
                    <a:pt x="136607" y="65571"/>
                    <a:pt x="127728" y="68986"/>
                    <a:pt x="119531" y="73767"/>
                  </a:cubicBezTo>
                  <a:lnTo>
                    <a:pt x="87429" y="62839"/>
                  </a:lnTo>
                  <a:lnTo>
                    <a:pt x="63522" y="86745"/>
                  </a:lnTo>
                  <a:lnTo>
                    <a:pt x="73768" y="118847"/>
                  </a:lnTo>
                  <a:cubicBezTo>
                    <a:pt x="68987" y="127043"/>
                    <a:pt x="65571" y="136606"/>
                    <a:pt x="62839" y="145485"/>
                  </a:cubicBezTo>
                  <a:lnTo>
                    <a:pt x="32786" y="160512"/>
                  </a:lnTo>
                  <a:lnTo>
                    <a:pt x="32786" y="194663"/>
                  </a:lnTo>
                  <a:lnTo>
                    <a:pt x="62839" y="209690"/>
                  </a:lnTo>
                  <a:cubicBezTo>
                    <a:pt x="65571" y="219252"/>
                    <a:pt x="68987" y="228132"/>
                    <a:pt x="73768" y="236328"/>
                  </a:cubicBezTo>
                  <a:lnTo>
                    <a:pt x="63522" y="268430"/>
                  </a:lnTo>
                  <a:lnTo>
                    <a:pt x="87429" y="292337"/>
                  </a:lnTo>
                  <a:lnTo>
                    <a:pt x="119531" y="282091"/>
                  </a:lnTo>
                  <a:cubicBezTo>
                    <a:pt x="127728" y="286872"/>
                    <a:pt x="136607" y="290287"/>
                    <a:pt x="146170" y="293020"/>
                  </a:cubicBezTo>
                  <a:lnTo>
                    <a:pt x="161196" y="323073"/>
                  </a:lnTo>
                  <a:lnTo>
                    <a:pt x="195348" y="323073"/>
                  </a:lnTo>
                  <a:lnTo>
                    <a:pt x="210375" y="293020"/>
                  </a:lnTo>
                  <a:cubicBezTo>
                    <a:pt x="219937" y="290287"/>
                    <a:pt x="228817" y="286872"/>
                    <a:pt x="237013" y="282091"/>
                  </a:cubicBezTo>
                  <a:lnTo>
                    <a:pt x="269116" y="293020"/>
                  </a:lnTo>
                  <a:lnTo>
                    <a:pt x="293022" y="268430"/>
                  </a:lnTo>
                  <a:lnTo>
                    <a:pt x="282777" y="237011"/>
                  </a:lnTo>
                  <a:cubicBezTo>
                    <a:pt x="287558" y="228815"/>
                    <a:pt x="290973" y="219935"/>
                    <a:pt x="293705" y="210373"/>
                  </a:cubicBezTo>
                  <a:lnTo>
                    <a:pt x="323759" y="195346"/>
                  </a:lnTo>
                  <a:lnTo>
                    <a:pt x="323759" y="161195"/>
                  </a:lnTo>
                  <a:lnTo>
                    <a:pt x="293705" y="146168"/>
                  </a:lnTo>
                  <a:cubicBezTo>
                    <a:pt x="290973" y="136606"/>
                    <a:pt x="287558" y="127726"/>
                    <a:pt x="282777" y="119530"/>
                  </a:cubicBezTo>
                  <a:close/>
                </a:path>
              </a:pathLst>
            </a:custGeom>
            <a:grpFill/>
            <a:ln w="1270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sp>
        <p:nvSpPr>
          <p:cNvPr id="53" name="Rectangle 52">
            <a:extLst>
              <a:ext uri="{FF2B5EF4-FFF2-40B4-BE49-F238E27FC236}">
                <a16:creationId xmlns:a16="http://schemas.microsoft.com/office/drawing/2014/main" id="{0356FC3B-08EA-4C0C-A805-3D169496D5A7}"/>
              </a:ext>
            </a:extLst>
          </p:cNvPr>
          <p:cNvSpPr/>
          <p:nvPr/>
        </p:nvSpPr>
        <p:spPr>
          <a:xfrm>
            <a:off x="9955978" y="3871088"/>
            <a:ext cx="1316738" cy="1213753"/>
          </a:xfrm>
          <a:prstGeom prst="rect">
            <a:avLst/>
          </a:prstGeom>
          <a:noFill/>
          <a:ln w="12700" cap="flat" cmpd="sng" algn="ctr">
            <a:solidFill>
              <a:srgbClr val="0078D7"/>
            </a:solidFill>
            <a:prstDash val="dash"/>
          </a:ln>
          <a:effectLst/>
        </p:spPr>
        <p:txBody>
          <a:bodyPr rtlCol="0" anchor="b"/>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mj-lt"/>
                <a:ea typeface="+mn-ea"/>
                <a:cs typeface="+mn-cs"/>
              </a:rPr>
              <a:t>Enclave</a:t>
            </a:r>
          </a:p>
        </p:txBody>
      </p:sp>
      <p:sp>
        <p:nvSpPr>
          <p:cNvPr id="57" name="TextBox 56">
            <a:extLst>
              <a:ext uri="{FF2B5EF4-FFF2-40B4-BE49-F238E27FC236}">
                <a16:creationId xmlns:a16="http://schemas.microsoft.com/office/drawing/2014/main" id="{449295E5-8165-4BAD-8AFA-49970E5C598D}"/>
              </a:ext>
            </a:extLst>
          </p:cNvPr>
          <p:cNvSpPr txBox="1"/>
          <p:nvPr/>
        </p:nvSpPr>
        <p:spPr>
          <a:xfrm>
            <a:off x="10234275" y="4469810"/>
            <a:ext cx="760144" cy="26161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78D7"/>
                </a:solidFill>
                <a:effectLst/>
                <a:uLnTx/>
                <a:uFillTx/>
              </a:rPr>
              <a:t>plaintext </a:t>
            </a:r>
          </a:p>
        </p:txBody>
      </p:sp>
      <p:grpSp>
        <p:nvGrpSpPr>
          <p:cNvPr id="58" name="Group 57">
            <a:extLst>
              <a:ext uri="{FF2B5EF4-FFF2-40B4-BE49-F238E27FC236}">
                <a16:creationId xmlns:a16="http://schemas.microsoft.com/office/drawing/2014/main" id="{E1179ED0-F8A8-4C96-B796-DAF24648F990}"/>
              </a:ext>
            </a:extLst>
          </p:cNvPr>
          <p:cNvGrpSpPr/>
          <p:nvPr/>
        </p:nvGrpSpPr>
        <p:grpSpPr>
          <a:xfrm>
            <a:off x="10492140" y="4172014"/>
            <a:ext cx="244414" cy="299196"/>
            <a:chOff x="965200" y="3436897"/>
            <a:chExt cx="528881" cy="647424"/>
          </a:xfrm>
        </p:grpSpPr>
        <p:grpSp>
          <p:nvGrpSpPr>
            <p:cNvPr id="59" name="Group 58">
              <a:extLst>
                <a:ext uri="{FF2B5EF4-FFF2-40B4-BE49-F238E27FC236}">
                  <a16:creationId xmlns:a16="http://schemas.microsoft.com/office/drawing/2014/main" id="{5144156C-D9AC-4EF0-92E5-AE0D6FE58AD2}"/>
                </a:ext>
              </a:extLst>
            </p:cNvPr>
            <p:cNvGrpSpPr/>
            <p:nvPr/>
          </p:nvGrpSpPr>
          <p:grpSpPr>
            <a:xfrm flipH="1">
              <a:off x="965200" y="3436897"/>
              <a:ext cx="528881" cy="647424"/>
              <a:chOff x="3003960" y="3685414"/>
              <a:chExt cx="403310" cy="493707"/>
            </a:xfrm>
          </p:grpSpPr>
          <p:sp>
            <p:nvSpPr>
              <p:cNvPr id="64" name="Snip Single Corner Rectangle 26">
                <a:extLst>
                  <a:ext uri="{FF2B5EF4-FFF2-40B4-BE49-F238E27FC236}">
                    <a16:creationId xmlns:a16="http://schemas.microsoft.com/office/drawing/2014/main" id="{4B7B5263-C14C-4E43-B28A-BFC13F27E744}"/>
                  </a:ext>
                </a:extLst>
              </p:cNvPr>
              <p:cNvSpPr/>
              <p:nvPr/>
            </p:nvSpPr>
            <p:spPr bwMode="auto">
              <a:xfrm flipH="1">
                <a:off x="3003960" y="3685414"/>
                <a:ext cx="403310" cy="493707"/>
              </a:xfrm>
              <a:prstGeom prst="snip1Rect">
                <a:avLst>
                  <a:gd name="adj" fmla="val 28736"/>
                </a:avLst>
              </a:pr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Triangle 27">
                <a:extLst>
                  <a:ext uri="{FF2B5EF4-FFF2-40B4-BE49-F238E27FC236}">
                    <a16:creationId xmlns:a16="http://schemas.microsoft.com/office/drawing/2014/main" id="{91C9A7B9-8429-4529-A0D3-61BF2FCE6D13}"/>
                  </a:ext>
                </a:extLst>
              </p:cNvPr>
              <p:cNvSpPr/>
              <p:nvPr/>
            </p:nvSpPr>
            <p:spPr bwMode="auto">
              <a:xfrm rot="8100000">
                <a:off x="3012552" y="3733609"/>
                <a:ext cx="160049" cy="80930"/>
              </a:xfrm>
              <a:prstGeom prst="triangle">
                <a:avLst/>
              </a:prstGeom>
              <a:noFill/>
              <a:ln w="12700" cap="flat" cmpd="sng" algn="ctr">
                <a:solidFill>
                  <a:srgbClr val="0078D7"/>
                </a:solidFill>
                <a:prstDash val="solid"/>
                <a:bevel/>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60" name="Straight Connector 59">
              <a:extLst>
                <a:ext uri="{FF2B5EF4-FFF2-40B4-BE49-F238E27FC236}">
                  <a16:creationId xmlns:a16="http://schemas.microsoft.com/office/drawing/2014/main" id="{0393D566-7D40-47CE-9E8B-B7EE8E02FA41}"/>
                </a:ext>
              </a:extLst>
            </p:cNvPr>
            <p:cNvCxnSpPr/>
            <p:nvPr/>
          </p:nvCxnSpPr>
          <p:spPr>
            <a:xfrm>
              <a:off x="1047750" y="3578225"/>
              <a:ext cx="215900" cy="0"/>
            </a:xfrm>
            <a:prstGeom prst="line">
              <a:avLst/>
            </a:prstGeom>
            <a:noFill/>
            <a:ln w="12700" cap="rnd" cmpd="sng" algn="ctr">
              <a:solidFill>
                <a:srgbClr val="0078D7"/>
              </a:solidFill>
              <a:prstDash val="solid"/>
              <a:miter lim="800000"/>
              <a:headEnd type="none"/>
              <a:tailEnd type="none"/>
            </a:ln>
            <a:effectLst/>
          </p:spPr>
        </p:cxnSp>
        <p:cxnSp>
          <p:nvCxnSpPr>
            <p:cNvPr id="61" name="Straight Connector 60">
              <a:extLst>
                <a:ext uri="{FF2B5EF4-FFF2-40B4-BE49-F238E27FC236}">
                  <a16:creationId xmlns:a16="http://schemas.microsoft.com/office/drawing/2014/main" id="{A22AAAFE-8E73-45B3-B405-F64DDA6ABE10}"/>
                </a:ext>
              </a:extLst>
            </p:cNvPr>
            <p:cNvCxnSpPr/>
            <p:nvPr/>
          </p:nvCxnSpPr>
          <p:spPr>
            <a:xfrm>
              <a:off x="1047750" y="3697817"/>
              <a:ext cx="368300" cy="0"/>
            </a:xfrm>
            <a:prstGeom prst="line">
              <a:avLst/>
            </a:prstGeom>
            <a:noFill/>
            <a:ln w="12700" cap="rnd" cmpd="sng" algn="ctr">
              <a:solidFill>
                <a:srgbClr val="0078D7"/>
              </a:solidFill>
              <a:prstDash val="solid"/>
              <a:miter lim="800000"/>
              <a:headEnd type="none"/>
              <a:tailEnd type="none"/>
            </a:ln>
            <a:effectLst/>
          </p:spPr>
        </p:cxnSp>
        <p:cxnSp>
          <p:nvCxnSpPr>
            <p:cNvPr id="62" name="Straight Connector 61">
              <a:extLst>
                <a:ext uri="{FF2B5EF4-FFF2-40B4-BE49-F238E27FC236}">
                  <a16:creationId xmlns:a16="http://schemas.microsoft.com/office/drawing/2014/main" id="{62B82A00-416D-410A-ADC6-1B1EA2DCAB8B}"/>
                </a:ext>
              </a:extLst>
            </p:cNvPr>
            <p:cNvCxnSpPr/>
            <p:nvPr/>
          </p:nvCxnSpPr>
          <p:spPr>
            <a:xfrm>
              <a:off x="1047750" y="3817409"/>
              <a:ext cx="368300" cy="0"/>
            </a:xfrm>
            <a:prstGeom prst="line">
              <a:avLst/>
            </a:prstGeom>
            <a:noFill/>
            <a:ln w="12700" cap="rnd" cmpd="sng" algn="ctr">
              <a:solidFill>
                <a:srgbClr val="0078D7"/>
              </a:solidFill>
              <a:prstDash val="solid"/>
              <a:miter lim="800000"/>
              <a:headEnd type="none"/>
              <a:tailEnd type="none"/>
            </a:ln>
            <a:effectLst/>
          </p:spPr>
        </p:cxnSp>
        <p:cxnSp>
          <p:nvCxnSpPr>
            <p:cNvPr id="63" name="Straight Connector 62">
              <a:extLst>
                <a:ext uri="{FF2B5EF4-FFF2-40B4-BE49-F238E27FC236}">
                  <a16:creationId xmlns:a16="http://schemas.microsoft.com/office/drawing/2014/main" id="{E3FB013A-9FA4-4466-9FCF-64713FF42761}"/>
                </a:ext>
              </a:extLst>
            </p:cNvPr>
            <p:cNvCxnSpPr/>
            <p:nvPr/>
          </p:nvCxnSpPr>
          <p:spPr>
            <a:xfrm>
              <a:off x="1047750" y="3937000"/>
              <a:ext cx="368300" cy="0"/>
            </a:xfrm>
            <a:prstGeom prst="line">
              <a:avLst/>
            </a:prstGeom>
            <a:noFill/>
            <a:ln w="12700" cap="rnd" cmpd="sng" algn="ctr">
              <a:solidFill>
                <a:srgbClr val="0078D7"/>
              </a:solidFill>
              <a:prstDash val="solid"/>
              <a:miter lim="800000"/>
              <a:headEnd type="none"/>
              <a:tailEnd type="none"/>
            </a:ln>
            <a:effectLst/>
          </p:spPr>
        </p:cxnSp>
      </p:grpSp>
      <p:grpSp>
        <p:nvGrpSpPr>
          <p:cNvPr id="66" name="Group 65">
            <a:extLst>
              <a:ext uri="{FF2B5EF4-FFF2-40B4-BE49-F238E27FC236}">
                <a16:creationId xmlns:a16="http://schemas.microsoft.com/office/drawing/2014/main" id="{7F2DD1E0-FC57-4BEC-B5CF-7F1CE1233A8B}"/>
              </a:ext>
            </a:extLst>
          </p:cNvPr>
          <p:cNvGrpSpPr/>
          <p:nvPr/>
        </p:nvGrpSpPr>
        <p:grpSpPr>
          <a:xfrm>
            <a:off x="10531470" y="3181276"/>
            <a:ext cx="165754" cy="851821"/>
            <a:chOff x="10621938" y="3597012"/>
            <a:chExt cx="165754" cy="1080557"/>
          </a:xfrm>
        </p:grpSpPr>
        <p:cxnSp>
          <p:nvCxnSpPr>
            <p:cNvPr id="67" name="Straight Arrow Connector 66">
              <a:extLst>
                <a:ext uri="{FF2B5EF4-FFF2-40B4-BE49-F238E27FC236}">
                  <a16:creationId xmlns:a16="http://schemas.microsoft.com/office/drawing/2014/main" id="{C907AAA6-0AD4-43A5-8467-8F4C77C916CC}"/>
                </a:ext>
              </a:extLst>
            </p:cNvPr>
            <p:cNvCxnSpPr>
              <a:cxnSpLocks/>
            </p:cNvCxnSpPr>
            <p:nvPr/>
          </p:nvCxnSpPr>
          <p:spPr>
            <a:xfrm rot="5400000">
              <a:off x="10250504" y="4140382"/>
              <a:ext cx="1074375" cy="0"/>
            </a:xfrm>
            <a:prstGeom prst="straightConnector1">
              <a:avLst/>
            </a:prstGeom>
            <a:noFill/>
            <a:ln w="12700" cap="flat" cmpd="sng" algn="ctr">
              <a:solidFill>
                <a:srgbClr val="0078D7"/>
              </a:solidFill>
              <a:prstDash val="solid"/>
              <a:tailEnd type="triangle"/>
            </a:ln>
            <a:effectLst/>
          </p:spPr>
        </p:cxnSp>
        <p:cxnSp>
          <p:nvCxnSpPr>
            <p:cNvPr id="68" name="Straight Arrow Connector 67">
              <a:extLst>
                <a:ext uri="{FF2B5EF4-FFF2-40B4-BE49-F238E27FC236}">
                  <a16:creationId xmlns:a16="http://schemas.microsoft.com/office/drawing/2014/main" id="{F9B9D081-FA1E-4FE8-A7F0-6883BFC6B2FA}"/>
                </a:ext>
              </a:extLst>
            </p:cNvPr>
            <p:cNvCxnSpPr/>
            <p:nvPr/>
          </p:nvCxnSpPr>
          <p:spPr>
            <a:xfrm rot="5400000">
              <a:off x="10086273" y="4132677"/>
              <a:ext cx="1071330" cy="0"/>
            </a:xfrm>
            <a:prstGeom prst="straightConnector1">
              <a:avLst/>
            </a:prstGeom>
            <a:noFill/>
            <a:ln w="12700" cap="flat" cmpd="sng" algn="ctr">
              <a:solidFill>
                <a:srgbClr val="0078D7"/>
              </a:solidFill>
              <a:prstDash val="solid"/>
              <a:headEnd type="triangle"/>
              <a:tailEnd type="none"/>
            </a:ln>
            <a:effectLst/>
          </p:spPr>
        </p:cxnSp>
      </p:grpSp>
      <p:grpSp>
        <p:nvGrpSpPr>
          <p:cNvPr id="71" name="Group 70">
            <a:extLst>
              <a:ext uri="{FF2B5EF4-FFF2-40B4-BE49-F238E27FC236}">
                <a16:creationId xmlns:a16="http://schemas.microsoft.com/office/drawing/2014/main" id="{772A9BFA-16E9-4129-99C6-0556AB2DC83B}"/>
              </a:ext>
            </a:extLst>
          </p:cNvPr>
          <p:cNvGrpSpPr/>
          <p:nvPr/>
        </p:nvGrpSpPr>
        <p:grpSpPr>
          <a:xfrm>
            <a:off x="6327642" y="2378922"/>
            <a:ext cx="650980" cy="630708"/>
            <a:chOff x="7157554" y="1735934"/>
            <a:chExt cx="397423" cy="398542"/>
          </a:xfrm>
        </p:grpSpPr>
        <p:grpSp>
          <p:nvGrpSpPr>
            <p:cNvPr id="72" name="Group 71">
              <a:extLst>
                <a:ext uri="{FF2B5EF4-FFF2-40B4-BE49-F238E27FC236}">
                  <a16:creationId xmlns:a16="http://schemas.microsoft.com/office/drawing/2014/main" id="{2A9BB19F-F441-473C-BE16-70E943A71330}"/>
                </a:ext>
              </a:extLst>
            </p:cNvPr>
            <p:cNvGrpSpPr/>
            <p:nvPr/>
          </p:nvGrpSpPr>
          <p:grpSpPr>
            <a:xfrm>
              <a:off x="7157554" y="1735934"/>
              <a:ext cx="397423" cy="398542"/>
              <a:chOff x="2107244" y="1575258"/>
              <a:chExt cx="310993" cy="264555"/>
            </a:xfrm>
            <a:solidFill>
              <a:srgbClr val="0078D7"/>
            </a:solidFill>
          </p:grpSpPr>
          <p:sp>
            <p:nvSpPr>
              <p:cNvPr id="77" name="Rectangle 9">
                <a:extLst>
                  <a:ext uri="{FF2B5EF4-FFF2-40B4-BE49-F238E27FC236}">
                    <a16:creationId xmlns:a16="http://schemas.microsoft.com/office/drawing/2014/main" id="{02C1397E-B4B7-4BAF-A686-C516F32C29DE}"/>
                  </a:ext>
                </a:extLst>
              </p:cNvPr>
              <p:cNvSpPr>
                <a:spLocks noChangeArrowheads="1"/>
              </p:cNvSpPr>
              <p:nvPr/>
            </p:nvSpPr>
            <p:spPr bwMode="auto">
              <a:xfrm>
                <a:off x="2107244" y="1575258"/>
                <a:ext cx="310993" cy="264555"/>
              </a:xfrm>
              <a:prstGeom prst="rect">
                <a:avLst/>
              </a:prstGeom>
              <a:grp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sp>
            <p:nvSpPr>
              <p:cNvPr id="78" name="Line 10">
                <a:extLst>
                  <a:ext uri="{FF2B5EF4-FFF2-40B4-BE49-F238E27FC236}">
                    <a16:creationId xmlns:a16="http://schemas.microsoft.com/office/drawing/2014/main" id="{F6212223-F4E8-42CA-95F4-CFFA7B88C79B}"/>
                  </a:ext>
                </a:extLst>
              </p:cNvPr>
              <p:cNvSpPr>
                <a:spLocks noChangeShapeType="1"/>
              </p:cNvSpPr>
              <p:nvPr/>
            </p:nvSpPr>
            <p:spPr bwMode="auto">
              <a:xfrm flipH="1">
                <a:off x="2107244" y="1647026"/>
                <a:ext cx="310993" cy="0"/>
              </a:xfrm>
              <a:prstGeom prst="line">
                <a:avLst/>
              </a:prstGeom>
              <a:grpFill/>
              <a:ln w="1905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grpSp>
        <p:grpSp>
          <p:nvGrpSpPr>
            <p:cNvPr id="73" name="Group 72">
              <a:extLst>
                <a:ext uri="{FF2B5EF4-FFF2-40B4-BE49-F238E27FC236}">
                  <a16:creationId xmlns:a16="http://schemas.microsoft.com/office/drawing/2014/main" id="{70E2C85F-1592-49A0-8C1D-D4C966D200B2}"/>
                </a:ext>
              </a:extLst>
            </p:cNvPr>
            <p:cNvGrpSpPr/>
            <p:nvPr/>
          </p:nvGrpSpPr>
          <p:grpSpPr>
            <a:xfrm>
              <a:off x="7264761" y="1903738"/>
              <a:ext cx="191394" cy="180132"/>
              <a:chOff x="2202934" y="1701907"/>
              <a:chExt cx="95690" cy="90061"/>
            </a:xfrm>
            <a:solidFill>
              <a:srgbClr val="50E6FF"/>
            </a:solidFill>
          </p:grpSpPr>
          <p:sp>
            <p:nvSpPr>
              <p:cNvPr id="75" name="Freeform 14">
                <a:extLst>
                  <a:ext uri="{FF2B5EF4-FFF2-40B4-BE49-F238E27FC236}">
                    <a16:creationId xmlns:a16="http://schemas.microsoft.com/office/drawing/2014/main" id="{58D81EDB-E3F4-4AF1-9EDF-2239059EA32A}"/>
                  </a:ext>
                </a:extLst>
              </p:cNvPr>
              <p:cNvSpPr>
                <a:spLocks/>
              </p:cNvSpPr>
              <p:nvPr/>
            </p:nvSpPr>
            <p:spPr bwMode="auto">
              <a:xfrm>
                <a:off x="2202934"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grpFill/>
              <a:ln w="12700" cap="flat">
                <a:solidFill>
                  <a:srgbClr val="0078D7"/>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76" name="Line 15">
                <a:extLst>
                  <a:ext uri="{FF2B5EF4-FFF2-40B4-BE49-F238E27FC236}">
                    <a16:creationId xmlns:a16="http://schemas.microsoft.com/office/drawing/2014/main" id="{5E250BBD-B2DE-466B-9279-FA8AF0767027}"/>
                  </a:ext>
                </a:extLst>
              </p:cNvPr>
              <p:cNvSpPr>
                <a:spLocks noChangeShapeType="1"/>
              </p:cNvSpPr>
              <p:nvPr/>
            </p:nvSpPr>
            <p:spPr bwMode="auto">
              <a:xfrm>
                <a:off x="2253117" y="1755381"/>
                <a:ext cx="0" cy="36587"/>
              </a:xfrm>
              <a:prstGeom prst="line">
                <a:avLst/>
              </a:prstGeom>
              <a:grpFill/>
              <a:ln w="12700" cap="flat">
                <a:solidFill>
                  <a:srgbClr val="0078D7"/>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sp>
          <p:nvSpPr>
            <p:cNvPr id="74" name="Oval 73">
              <a:extLst>
                <a:ext uri="{FF2B5EF4-FFF2-40B4-BE49-F238E27FC236}">
                  <a16:creationId xmlns:a16="http://schemas.microsoft.com/office/drawing/2014/main" id="{5DE10759-BCFD-4497-B073-1F748C652D56}"/>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grpSp>
        <p:nvGrpSpPr>
          <p:cNvPr id="81" name="Group 80">
            <a:extLst>
              <a:ext uri="{FF2B5EF4-FFF2-40B4-BE49-F238E27FC236}">
                <a16:creationId xmlns:a16="http://schemas.microsoft.com/office/drawing/2014/main" id="{C7B9654B-AE57-4048-92EA-A788966440BD}"/>
              </a:ext>
            </a:extLst>
          </p:cNvPr>
          <p:cNvGrpSpPr/>
          <p:nvPr/>
        </p:nvGrpSpPr>
        <p:grpSpPr>
          <a:xfrm>
            <a:off x="10364764" y="2429570"/>
            <a:ext cx="499166" cy="640202"/>
            <a:chOff x="10344945" y="2179929"/>
            <a:chExt cx="401613" cy="515089"/>
          </a:xfrm>
        </p:grpSpPr>
        <p:sp>
          <p:nvSpPr>
            <p:cNvPr id="80" name="Rectangle 79">
              <a:extLst>
                <a:ext uri="{FF2B5EF4-FFF2-40B4-BE49-F238E27FC236}">
                  <a16:creationId xmlns:a16="http://schemas.microsoft.com/office/drawing/2014/main" id="{530325F3-9864-4347-89CA-D107443BCE6A}"/>
                </a:ext>
              </a:extLst>
            </p:cNvPr>
            <p:cNvSpPr/>
            <p:nvPr/>
          </p:nvSpPr>
          <p:spPr bwMode="auto">
            <a:xfrm>
              <a:off x="10374086" y="2369861"/>
              <a:ext cx="332014" cy="201889"/>
            </a:xfrm>
            <a:prstGeom prst="rect">
              <a:avLst/>
            </a:prstGeom>
            <a:solidFill>
              <a:srgbClr val="50E6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a:gradFill>
                  <a:gsLst>
                    <a:gs pos="40075">
                      <a:srgbClr val="FFFFFF"/>
                    </a:gs>
                    <a:gs pos="30000">
                      <a:srgbClr val="FFFFFF"/>
                    </a:gs>
                  </a:gsLst>
                  <a:lin ang="5400000" scaled="0"/>
                </a:gradFill>
              </a:endParaRPr>
            </a:p>
          </p:txBody>
        </p:sp>
        <p:sp>
          <p:nvSpPr>
            <p:cNvPr id="79" name="Freeform 188">
              <a:extLst>
                <a:ext uri="{FF2B5EF4-FFF2-40B4-BE49-F238E27FC236}">
                  <a16:creationId xmlns:a16="http://schemas.microsoft.com/office/drawing/2014/main" id="{40046D7E-4D3B-4B4E-8B82-D1476999180A}"/>
                </a:ext>
              </a:extLst>
            </p:cNvPr>
            <p:cNvSpPr/>
            <p:nvPr/>
          </p:nvSpPr>
          <p:spPr bwMode="auto">
            <a:xfrm>
              <a:off x="10344945" y="2179929"/>
              <a:ext cx="401613" cy="515089"/>
            </a:xfrm>
            <a:custGeom>
              <a:avLst/>
              <a:gdLst>
                <a:gd name="connsiteX0" fmla="*/ 737517 w 1455401"/>
                <a:gd name="connsiteY0" fmla="*/ 911351 h 1866625"/>
                <a:gd name="connsiteX1" fmla="*/ 785815 w 1455401"/>
                <a:gd name="connsiteY1" fmla="*/ 937839 h 1866625"/>
                <a:gd name="connsiteX2" fmla="*/ 803471 w 1455401"/>
                <a:gd name="connsiteY2" fmla="*/ 1010286 h 1866625"/>
                <a:gd name="connsiteX3" fmla="*/ 784774 w 1455401"/>
                <a:gd name="connsiteY3" fmla="*/ 1079356 h 1866625"/>
                <a:gd name="connsiteX4" fmla="*/ 735697 w 1455401"/>
                <a:gd name="connsiteY4" fmla="*/ 1105062 h 1866625"/>
                <a:gd name="connsiteX5" fmla="*/ 685192 w 1455401"/>
                <a:gd name="connsiteY5" fmla="*/ 1079616 h 1866625"/>
                <a:gd name="connsiteX6" fmla="*/ 666627 w 1455401"/>
                <a:gd name="connsiteY6" fmla="*/ 1008726 h 1866625"/>
                <a:gd name="connsiteX7" fmla="*/ 685324 w 1455401"/>
                <a:gd name="connsiteY7" fmla="*/ 936797 h 1866625"/>
                <a:gd name="connsiteX8" fmla="*/ 737517 w 1455401"/>
                <a:gd name="connsiteY8" fmla="*/ 911351 h 1866625"/>
                <a:gd name="connsiteX9" fmla="*/ 974881 w 1455401"/>
                <a:gd name="connsiteY9" fmla="*/ 822027 h 1866625"/>
                <a:gd name="connsiteX10" fmla="*/ 974881 w 1455401"/>
                <a:gd name="connsiteY10" fmla="*/ 1194390 h 1866625"/>
                <a:gd name="connsiteX11" fmla="*/ 1215333 w 1455401"/>
                <a:gd name="connsiteY11" fmla="*/ 1194390 h 1866625"/>
                <a:gd name="connsiteX12" fmla="*/ 1215333 w 1455401"/>
                <a:gd name="connsiteY12" fmla="*/ 1106622 h 1866625"/>
                <a:gd name="connsiteX13" fmla="*/ 1087058 w 1455401"/>
                <a:gd name="connsiteY13" fmla="*/ 1106622 h 1866625"/>
                <a:gd name="connsiteX14" fmla="*/ 1087058 w 1455401"/>
                <a:gd name="connsiteY14" fmla="*/ 822027 h 1866625"/>
                <a:gd name="connsiteX15" fmla="*/ 738555 w 1455401"/>
                <a:gd name="connsiteY15" fmla="*/ 815793 h 1866625"/>
                <a:gd name="connsiteX16" fmla="*/ 639361 w 1455401"/>
                <a:gd name="connsiteY16" fmla="*/ 840592 h 1866625"/>
                <a:gd name="connsiteX17" fmla="*/ 571587 w 1455401"/>
                <a:gd name="connsiteY17" fmla="*/ 910832 h 1866625"/>
                <a:gd name="connsiteX18" fmla="*/ 547438 w 1455401"/>
                <a:gd name="connsiteY18" fmla="*/ 1013140 h 1866625"/>
                <a:gd name="connsiteX19" fmla="*/ 571328 w 1455401"/>
                <a:gd name="connsiteY19" fmla="*/ 1110386 h 1866625"/>
                <a:gd name="connsiteX20" fmla="*/ 638192 w 1455401"/>
                <a:gd name="connsiteY20" fmla="*/ 1177121 h 1866625"/>
                <a:gd name="connsiteX21" fmla="*/ 733622 w 1455401"/>
                <a:gd name="connsiteY21" fmla="*/ 1200880 h 1866625"/>
                <a:gd name="connsiteX22" fmla="*/ 776983 w 1455401"/>
                <a:gd name="connsiteY22" fmla="*/ 1196466 h 1866625"/>
                <a:gd name="connsiteX23" fmla="*/ 824244 w 1455401"/>
                <a:gd name="connsiteY23" fmla="*/ 1244504 h 1866625"/>
                <a:gd name="connsiteX24" fmla="*/ 964983 w 1455401"/>
                <a:gd name="connsiteY24" fmla="*/ 1244504 h 1866625"/>
                <a:gd name="connsiteX25" fmla="*/ 866571 w 1455401"/>
                <a:gd name="connsiteY25" fmla="*/ 1149465 h 1866625"/>
                <a:gd name="connsiteX26" fmla="*/ 922399 w 1455401"/>
                <a:gd name="connsiteY26" fmla="*/ 1007169 h 1866625"/>
                <a:gd name="connsiteX27" fmla="*/ 899420 w 1455401"/>
                <a:gd name="connsiteY27" fmla="*/ 907325 h 1866625"/>
                <a:gd name="connsiteX28" fmla="*/ 834241 w 1455401"/>
                <a:gd name="connsiteY28" fmla="*/ 839555 h 1866625"/>
                <a:gd name="connsiteX29" fmla="*/ 738555 w 1455401"/>
                <a:gd name="connsiteY29" fmla="*/ 815793 h 1866625"/>
                <a:gd name="connsiteX30" fmla="*/ 391194 w 1455401"/>
                <a:gd name="connsiteY30" fmla="*/ 815793 h 1866625"/>
                <a:gd name="connsiteX31" fmla="*/ 281097 w 1455401"/>
                <a:gd name="connsiteY31" fmla="*/ 848123 h 1866625"/>
                <a:gd name="connsiteX32" fmla="*/ 240067 w 1455401"/>
                <a:gd name="connsiteY32" fmla="*/ 934462 h 1866625"/>
                <a:gd name="connsiteX33" fmla="*/ 329914 w 1455401"/>
                <a:gd name="connsiteY33" fmla="*/ 1046120 h 1866625"/>
                <a:gd name="connsiteX34" fmla="*/ 367955 w 1455401"/>
                <a:gd name="connsiteY34" fmla="*/ 1062479 h 1866625"/>
                <a:gd name="connsiteX35" fmla="*/ 383276 w 1455401"/>
                <a:gd name="connsiteY35" fmla="*/ 1075330 h 1866625"/>
                <a:gd name="connsiteX36" fmla="*/ 388337 w 1455401"/>
                <a:gd name="connsiteY36" fmla="*/ 1091301 h 1866625"/>
                <a:gd name="connsiteX37" fmla="*/ 378212 w 1455401"/>
                <a:gd name="connsiteY37" fmla="*/ 1110645 h 1866625"/>
                <a:gd name="connsiteX38" fmla="*/ 349649 w 1455401"/>
                <a:gd name="connsiteY38" fmla="*/ 1117266 h 1866625"/>
                <a:gd name="connsiteX39" fmla="*/ 296937 w 1455401"/>
                <a:gd name="connsiteY39" fmla="*/ 1106750 h 1866625"/>
                <a:gd name="connsiteX40" fmla="*/ 245263 w 1455401"/>
                <a:gd name="connsiteY40" fmla="*/ 1079097 h 1866625"/>
                <a:gd name="connsiteX41" fmla="*/ 245263 w 1455401"/>
                <a:gd name="connsiteY41" fmla="*/ 1181145 h 1866625"/>
                <a:gd name="connsiteX42" fmla="*/ 352243 w 1455401"/>
                <a:gd name="connsiteY42" fmla="*/ 1200880 h 1866625"/>
                <a:gd name="connsiteX43" fmla="*/ 438454 w 1455401"/>
                <a:gd name="connsiteY43" fmla="*/ 1187378 h 1866625"/>
                <a:gd name="connsiteX44" fmla="*/ 494152 w 1455401"/>
                <a:gd name="connsiteY44" fmla="*/ 1146351 h 1866625"/>
                <a:gd name="connsiteX45" fmla="*/ 514018 w 1455401"/>
                <a:gd name="connsiteY45" fmla="*/ 1081695 h 1866625"/>
                <a:gd name="connsiteX46" fmla="*/ 489997 w 1455401"/>
                <a:gd name="connsiteY46" fmla="*/ 1015737 h 1866625"/>
                <a:gd name="connsiteX47" fmla="*/ 408072 w 1455401"/>
                <a:gd name="connsiteY47" fmla="*/ 964582 h 1866625"/>
                <a:gd name="connsiteX48" fmla="*/ 369512 w 1455401"/>
                <a:gd name="connsiteY48" fmla="*/ 944719 h 1866625"/>
                <a:gd name="connsiteX49" fmla="*/ 360293 w 1455401"/>
                <a:gd name="connsiteY49" fmla="*/ 925372 h 1866625"/>
                <a:gd name="connsiteX50" fmla="*/ 371719 w 1455401"/>
                <a:gd name="connsiteY50" fmla="*/ 906159 h 1866625"/>
                <a:gd name="connsiteX51" fmla="*/ 401842 w 1455401"/>
                <a:gd name="connsiteY51" fmla="*/ 899147 h 1866625"/>
                <a:gd name="connsiteX52" fmla="*/ 494283 w 1455401"/>
                <a:gd name="connsiteY52" fmla="*/ 924853 h 1866625"/>
                <a:gd name="connsiteX53" fmla="*/ 494283 w 1455401"/>
                <a:gd name="connsiteY53" fmla="*/ 830076 h 1866625"/>
                <a:gd name="connsiteX54" fmla="*/ 456761 w 1455401"/>
                <a:gd name="connsiteY54" fmla="*/ 821245 h 1866625"/>
                <a:gd name="connsiteX55" fmla="*/ 427029 w 1455401"/>
                <a:gd name="connsiteY55" fmla="*/ 817350 h 1866625"/>
                <a:gd name="connsiteX56" fmla="*/ 391194 w 1455401"/>
                <a:gd name="connsiteY56" fmla="*/ 815793 h 1866625"/>
                <a:gd name="connsiteX57" fmla="*/ 1 w 1455401"/>
                <a:gd name="connsiteY57" fmla="*/ 235984 h 1866625"/>
                <a:gd name="connsiteX58" fmla="*/ 1 w 1455401"/>
                <a:gd name="connsiteY58" fmla="*/ 257081 h 1866625"/>
                <a:gd name="connsiteX59" fmla="*/ 1 w 1455401"/>
                <a:gd name="connsiteY59" fmla="*/ 296835 h 1866625"/>
                <a:gd name="connsiteX60" fmla="*/ 0 w 1455401"/>
                <a:gd name="connsiteY60" fmla="*/ 296838 h 1866625"/>
                <a:gd name="connsiteX61" fmla="*/ 1 w 1455401"/>
                <a:gd name="connsiteY61" fmla="*/ 235984 h 1866625"/>
                <a:gd name="connsiteX62" fmla="*/ 727701 w 1455401"/>
                <a:gd name="connsiteY62" fmla="*/ 107085 h 1866625"/>
                <a:gd name="connsiteX63" fmla="*/ 225411 w 1455401"/>
                <a:gd name="connsiteY63" fmla="*/ 254506 h 1866625"/>
                <a:gd name="connsiteX64" fmla="*/ 727701 w 1455401"/>
                <a:gd name="connsiteY64" fmla="*/ 401926 h 1866625"/>
                <a:gd name="connsiteX65" fmla="*/ 1229991 w 1455401"/>
                <a:gd name="connsiteY65" fmla="*/ 254506 h 1866625"/>
                <a:gd name="connsiteX66" fmla="*/ 727701 w 1455401"/>
                <a:gd name="connsiteY66" fmla="*/ 107085 h 1866625"/>
                <a:gd name="connsiteX67" fmla="*/ 727700 w 1455401"/>
                <a:gd name="connsiteY67" fmla="*/ 0 h 1866625"/>
                <a:gd name="connsiteX68" fmla="*/ 1451644 w 1455401"/>
                <a:gd name="connsiteY68" fmla="*/ 266488 h 1866625"/>
                <a:gd name="connsiteX69" fmla="*/ 1454289 w 1455401"/>
                <a:gd name="connsiteY69" fmla="*/ 287858 h 1866625"/>
                <a:gd name="connsiteX70" fmla="*/ 1455400 w 1455401"/>
                <a:gd name="connsiteY70" fmla="*/ 287858 h 1866625"/>
                <a:gd name="connsiteX71" fmla="*/ 1455400 w 1455401"/>
                <a:gd name="connsiteY71" fmla="*/ 296838 h 1866625"/>
                <a:gd name="connsiteX72" fmla="*/ 1455401 w 1455401"/>
                <a:gd name="connsiteY72" fmla="*/ 1569784 h 1866625"/>
                <a:gd name="connsiteX73" fmla="*/ 1455401 w 1455401"/>
                <a:gd name="connsiteY73" fmla="*/ 1569787 h 1866625"/>
                <a:gd name="connsiteX74" fmla="*/ 1455401 w 1455401"/>
                <a:gd name="connsiteY74" fmla="*/ 1569790 h 1866625"/>
                <a:gd name="connsiteX75" fmla="*/ 1455401 w 1455401"/>
                <a:gd name="connsiteY75" fmla="*/ 1578767 h 1866625"/>
                <a:gd name="connsiteX76" fmla="*/ 1454289 w 1455401"/>
                <a:gd name="connsiteY76" fmla="*/ 1578767 h 1866625"/>
                <a:gd name="connsiteX77" fmla="*/ 1451644 w 1455401"/>
                <a:gd name="connsiteY77" fmla="*/ 1600137 h 1866625"/>
                <a:gd name="connsiteX78" fmla="*/ 727701 w 1455401"/>
                <a:gd name="connsiteY78" fmla="*/ 1866625 h 1866625"/>
                <a:gd name="connsiteX79" fmla="*/ 3758 w 1455401"/>
                <a:gd name="connsiteY79" fmla="*/ 1600137 h 1866625"/>
                <a:gd name="connsiteX80" fmla="*/ 1113 w 1455401"/>
                <a:gd name="connsiteY80" fmla="*/ 1578767 h 1866625"/>
                <a:gd name="connsiteX81" fmla="*/ 1 w 1455401"/>
                <a:gd name="connsiteY81" fmla="*/ 1578767 h 1866625"/>
                <a:gd name="connsiteX82" fmla="*/ 1 w 1455401"/>
                <a:gd name="connsiteY82" fmla="*/ 1569787 h 1866625"/>
                <a:gd name="connsiteX83" fmla="*/ 1 w 1455401"/>
                <a:gd name="connsiteY83" fmla="*/ 296841 h 1866625"/>
                <a:gd name="connsiteX84" fmla="*/ 1 w 1455401"/>
                <a:gd name="connsiteY84" fmla="*/ 296835 h 1866625"/>
                <a:gd name="connsiteX85" fmla="*/ 1 w 1455401"/>
                <a:gd name="connsiteY85" fmla="*/ 296835 h 1866625"/>
                <a:gd name="connsiteX86" fmla="*/ 3758 w 1455401"/>
                <a:gd name="connsiteY86" fmla="*/ 266488 h 1866625"/>
                <a:gd name="connsiteX87" fmla="*/ 727700 w 1455401"/>
                <a:gd name="connsiteY87"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55401" h="1866625">
                  <a:moveTo>
                    <a:pt x="737517" y="911351"/>
                  </a:moveTo>
                  <a:cubicBezTo>
                    <a:pt x="757941" y="911351"/>
                    <a:pt x="774041" y="920179"/>
                    <a:pt x="785815" y="937839"/>
                  </a:cubicBezTo>
                  <a:cubicBezTo>
                    <a:pt x="797585" y="955495"/>
                    <a:pt x="803471" y="979644"/>
                    <a:pt x="803471" y="1010286"/>
                  </a:cubicBezTo>
                  <a:cubicBezTo>
                    <a:pt x="803471" y="1039193"/>
                    <a:pt x="797241" y="1062219"/>
                    <a:pt x="784774" y="1079356"/>
                  </a:cubicBezTo>
                  <a:cubicBezTo>
                    <a:pt x="772310" y="1096493"/>
                    <a:pt x="755951" y="1105062"/>
                    <a:pt x="735697" y="1105062"/>
                  </a:cubicBezTo>
                  <a:cubicBezTo>
                    <a:pt x="714406" y="1105062"/>
                    <a:pt x="697571" y="1096582"/>
                    <a:pt x="685192" y="1079616"/>
                  </a:cubicBezTo>
                  <a:cubicBezTo>
                    <a:pt x="672814" y="1062649"/>
                    <a:pt x="666627" y="1039023"/>
                    <a:pt x="666627" y="1008726"/>
                  </a:cubicBezTo>
                  <a:cubicBezTo>
                    <a:pt x="666627" y="977739"/>
                    <a:pt x="672857" y="953764"/>
                    <a:pt x="685324" y="936797"/>
                  </a:cubicBezTo>
                  <a:cubicBezTo>
                    <a:pt x="697787" y="919834"/>
                    <a:pt x="715184" y="911351"/>
                    <a:pt x="737517" y="911351"/>
                  </a:cubicBezTo>
                  <a:close/>
                  <a:moveTo>
                    <a:pt x="974881" y="822027"/>
                  </a:moveTo>
                  <a:lnTo>
                    <a:pt x="974881" y="1194390"/>
                  </a:lnTo>
                  <a:lnTo>
                    <a:pt x="1215333" y="1194390"/>
                  </a:lnTo>
                  <a:lnTo>
                    <a:pt x="1215333" y="1106622"/>
                  </a:lnTo>
                  <a:lnTo>
                    <a:pt x="1087058" y="1106622"/>
                  </a:lnTo>
                  <a:lnTo>
                    <a:pt x="1087058" y="822027"/>
                  </a:lnTo>
                  <a:close/>
                  <a:moveTo>
                    <a:pt x="738555" y="815793"/>
                  </a:moveTo>
                  <a:cubicBezTo>
                    <a:pt x="701508" y="815793"/>
                    <a:pt x="668443" y="824059"/>
                    <a:pt x="639361" y="840592"/>
                  </a:cubicBezTo>
                  <a:cubicBezTo>
                    <a:pt x="610279" y="857125"/>
                    <a:pt x="587687" y="880538"/>
                    <a:pt x="571587" y="910832"/>
                  </a:cubicBezTo>
                  <a:cubicBezTo>
                    <a:pt x="555488" y="941126"/>
                    <a:pt x="547438" y="975230"/>
                    <a:pt x="547438" y="1013140"/>
                  </a:cubicBezTo>
                  <a:cubicBezTo>
                    <a:pt x="547438" y="1049322"/>
                    <a:pt x="555403" y="1081737"/>
                    <a:pt x="571328" y="1110386"/>
                  </a:cubicBezTo>
                  <a:cubicBezTo>
                    <a:pt x="587253" y="1139037"/>
                    <a:pt x="609543" y="1161282"/>
                    <a:pt x="638192" y="1177121"/>
                  </a:cubicBezTo>
                  <a:cubicBezTo>
                    <a:pt x="666843" y="1192961"/>
                    <a:pt x="698651" y="1200880"/>
                    <a:pt x="733622" y="1200880"/>
                  </a:cubicBezTo>
                  <a:cubicBezTo>
                    <a:pt x="748680" y="1200880"/>
                    <a:pt x="763137" y="1199408"/>
                    <a:pt x="776983" y="1196466"/>
                  </a:cubicBezTo>
                  <a:lnTo>
                    <a:pt x="824244" y="1244504"/>
                  </a:lnTo>
                  <a:lnTo>
                    <a:pt x="964983" y="1244504"/>
                  </a:lnTo>
                  <a:lnTo>
                    <a:pt x="866571" y="1149465"/>
                  </a:lnTo>
                  <a:cubicBezTo>
                    <a:pt x="903791" y="1112248"/>
                    <a:pt x="922399" y="1064814"/>
                    <a:pt x="922399" y="1007169"/>
                  </a:cubicBezTo>
                  <a:cubicBezTo>
                    <a:pt x="922399" y="969949"/>
                    <a:pt x="914737" y="936669"/>
                    <a:pt x="899420" y="907325"/>
                  </a:cubicBezTo>
                  <a:cubicBezTo>
                    <a:pt x="884099" y="877983"/>
                    <a:pt x="862373" y="855391"/>
                    <a:pt x="834241" y="839555"/>
                  </a:cubicBezTo>
                  <a:cubicBezTo>
                    <a:pt x="806111" y="823715"/>
                    <a:pt x="774215" y="815793"/>
                    <a:pt x="738555" y="815793"/>
                  </a:cubicBezTo>
                  <a:close/>
                  <a:moveTo>
                    <a:pt x="391194" y="815793"/>
                  </a:moveTo>
                  <a:cubicBezTo>
                    <a:pt x="345146" y="815793"/>
                    <a:pt x="308448" y="826569"/>
                    <a:pt x="281097" y="848123"/>
                  </a:cubicBezTo>
                  <a:cubicBezTo>
                    <a:pt x="253743" y="869674"/>
                    <a:pt x="240067" y="898454"/>
                    <a:pt x="240067" y="934462"/>
                  </a:cubicBezTo>
                  <a:cubicBezTo>
                    <a:pt x="240067" y="985877"/>
                    <a:pt x="270016" y="1023094"/>
                    <a:pt x="329914" y="1046120"/>
                  </a:cubicBezTo>
                  <a:cubicBezTo>
                    <a:pt x="348437" y="1053043"/>
                    <a:pt x="361117" y="1058495"/>
                    <a:pt x="367955" y="1062479"/>
                  </a:cubicBezTo>
                  <a:cubicBezTo>
                    <a:pt x="374793" y="1066459"/>
                    <a:pt x="379900" y="1070745"/>
                    <a:pt x="383276" y="1075330"/>
                  </a:cubicBezTo>
                  <a:cubicBezTo>
                    <a:pt x="386652" y="1079918"/>
                    <a:pt x="388337" y="1085242"/>
                    <a:pt x="388337" y="1091301"/>
                  </a:cubicBezTo>
                  <a:cubicBezTo>
                    <a:pt x="388337" y="1099784"/>
                    <a:pt x="384964" y="1106231"/>
                    <a:pt x="378212" y="1110645"/>
                  </a:cubicBezTo>
                  <a:cubicBezTo>
                    <a:pt x="371459" y="1115059"/>
                    <a:pt x="361938" y="1117266"/>
                    <a:pt x="349649" y="1117266"/>
                  </a:cubicBezTo>
                  <a:cubicBezTo>
                    <a:pt x="333375" y="1117266"/>
                    <a:pt x="315805" y="1113762"/>
                    <a:pt x="296937" y="1106750"/>
                  </a:cubicBezTo>
                  <a:cubicBezTo>
                    <a:pt x="278066" y="1099742"/>
                    <a:pt x="260843" y="1090523"/>
                    <a:pt x="245263" y="1079097"/>
                  </a:cubicBezTo>
                  <a:lnTo>
                    <a:pt x="245263" y="1181145"/>
                  </a:lnTo>
                  <a:cubicBezTo>
                    <a:pt x="277632" y="1194301"/>
                    <a:pt x="313296" y="1200880"/>
                    <a:pt x="352243" y="1200880"/>
                  </a:cubicBezTo>
                  <a:cubicBezTo>
                    <a:pt x="385828" y="1200880"/>
                    <a:pt x="414565" y="1196380"/>
                    <a:pt x="438454" y="1187378"/>
                  </a:cubicBezTo>
                  <a:cubicBezTo>
                    <a:pt x="462344" y="1178376"/>
                    <a:pt x="480910" y="1164700"/>
                    <a:pt x="494152" y="1146351"/>
                  </a:cubicBezTo>
                  <a:cubicBezTo>
                    <a:pt x="507397" y="1127999"/>
                    <a:pt x="514018" y="1106448"/>
                    <a:pt x="514018" y="1081695"/>
                  </a:cubicBezTo>
                  <a:cubicBezTo>
                    <a:pt x="514018" y="1056245"/>
                    <a:pt x="506011" y="1034260"/>
                    <a:pt x="489997" y="1015737"/>
                  </a:cubicBezTo>
                  <a:cubicBezTo>
                    <a:pt x="473987" y="997214"/>
                    <a:pt x="446678" y="980163"/>
                    <a:pt x="408072" y="964582"/>
                  </a:cubicBezTo>
                  <a:cubicBezTo>
                    <a:pt x="388511" y="956447"/>
                    <a:pt x="375657" y="949826"/>
                    <a:pt x="369512" y="944719"/>
                  </a:cubicBezTo>
                  <a:cubicBezTo>
                    <a:pt x="363367" y="939612"/>
                    <a:pt x="360293" y="933162"/>
                    <a:pt x="360293" y="925372"/>
                  </a:cubicBezTo>
                  <a:cubicBezTo>
                    <a:pt x="360293" y="917237"/>
                    <a:pt x="364103" y="910832"/>
                    <a:pt x="371719" y="906159"/>
                  </a:cubicBezTo>
                  <a:cubicBezTo>
                    <a:pt x="379338" y="901482"/>
                    <a:pt x="389378" y="899147"/>
                    <a:pt x="401842" y="899147"/>
                  </a:cubicBezTo>
                  <a:cubicBezTo>
                    <a:pt x="432136" y="899147"/>
                    <a:pt x="462948" y="907716"/>
                    <a:pt x="494283" y="924853"/>
                  </a:cubicBezTo>
                  <a:lnTo>
                    <a:pt x="494283" y="830076"/>
                  </a:lnTo>
                  <a:cubicBezTo>
                    <a:pt x="478184" y="825748"/>
                    <a:pt x="465677" y="822805"/>
                    <a:pt x="456761" y="821245"/>
                  </a:cubicBezTo>
                  <a:cubicBezTo>
                    <a:pt x="447847" y="819688"/>
                    <a:pt x="437936" y="818391"/>
                    <a:pt x="427029" y="817350"/>
                  </a:cubicBezTo>
                  <a:cubicBezTo>
                    <a:pt x="416122" y="816312"/>
                    <a:pt x="404177" y="815793"/>
                    <a:pt x="391194" y="815793"/>
                  </a:cubicBezTo>
                  <a:close/>
                  <a:moveTo>
                    <a:pt x="1" y="235984"/>
                  </a:moveTo>
                  <a:cubicBezTo>
                    <a:pt x="1" y="233280"/>
                    <a:pt x="1" y="238148"/>
                    <a:pt x="1" y="257081"/>
                  </a:cubicBezTo>
                  <a:lnTo>
                    <a:pt x="1" y="296835"/>
                  </a:lnTo>
                  <a:lnTo>
                    <a:pt x="0" y="296838"/>
                  </a:lnTo>
                  <a:cubicBezTo>
                    <a:pt x="0" y="296839"/>
                    <a:pt x="0" y="242745"/>
                    <a:pt x="1" y="235984"/>
                  </a:cubicBezTo>
                  <a:close/>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lnTo>
                    <a:pt x="1" y="296835"/>
                  </a:lnTo>
                  <a:lnTo>
                    <a:pt x="1" y="296835"/>
                  </a:lnTo>
                  <a:lnTo>
                    <a:pt x="3758" y="266488"/>
                  </a:lnTo>
                  <a:cubicBezTo>
                    <a:pt x="41023" y="116806"/>
                    <a:pt x="350921" y="0"/>
                    <a:pt x="727700" y="0"/>
                  </a:cubicBezTo>
                  <a:close/>
                </a:path>
              </a:pathLst>
            </a:cu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274" dirty="0">
                <a:solidFill>
                  <a:srgbClr val="FFFFFF">
                    <a:lumMod val="85000"/>
                  </a:srgbClr>
                </a:solidFill>
                <a:latin typeface="Segoe UI Black" panose="020B0A02040204020203" pitchFamily="34" charset="0"/>
                <a:ea typeface="Segoe UI Black" panose="020B0A02040204020203" pitchFamily="34" charset="0"/>
                <a:cs typeface="Segoe UI Black" panose="020B0A02040204020203" pitchFamily="34" charset="0"/>
              </a:endParaRPr>
            </a:p>
          </p:txBody>
        </p:sp>
      </p:grpSp>
      <p:grpSp>
        <p:nvGrpSpPr>
          <p:cNvPr id="82" name="Group 81">
            <a:extLst>
              <a:ext uri="{FF2B5EF4-FFF2-40B4-BE49-F238E27FC236}">
                <a16:creationId xmlns:a16="http://schemas.microsoft.com/office/drawing/2014/main" id="{234E46A2-A761-4E53-9F28-FDA7DBE81DBB}"/>
              </a:ext>
            </a:extLst>
          </p:cNvPr>
          <p:cNvGrpSpPr/>
          <p:nvPr/>
        </p:nvGrpSpPr>
        <p:grpSpPr>
          <a:xfrm>
            <a:off x="5979243" y="3009630"/>
            <a:ext cx="344110" cy="452325"/>
            <a:chOff x="4373323" y="1855264"/>
            <a:chExt cx="2771333" cy="3642856"/>
          </a:xfrm>
        </p:grpSpPr>
        <p:sp>
          <p:nvSpPr>
            <p:cNvPr id="83" name="Freeform: Shape 82">
              <a:extLst>
                <a:ext uri="{FF2B5EF4-FFF2-40B4-BE49-F238E27FC236}">
                  <a16:creationId xmlns:a16="http://schemas.microsoft.com/office/drawing/2014/main" id="{F8B363C5-416D-4EC0-902B-A2ADBB773B9C}"/>
                </a:ext>
              </a:extLst>
            </p:cNvPr>
            <p:cNvSpPr/>
            <p:nvPr/>
          </p:nvSpPr>
          <p:spPr>
            <a:xfrm>
              <a:off x="4373323" y="1855264"/>
              <a:ext cx="2771333" cy="3642856"/>
            </a:xfrm>
            <a:custGeom>
              <a:avLst/>
              <a:gdLst>
                <a:gd name="connsiteX0" fmla="*/ 1405299 w 2771333"/>
                <a:gd name="connsiteY0" fmla="*/ 377758 h 3642856"/>
                <a:gd name="connsiteX1" fmla="*/ 750732 w 2771333"/>
                <a:gd name="connsiteY1" fmla="*/ 940856 h 3642856"/>
                <a:gd name="connsiteX2" fmla="*/ 738261 w 2771333"/>
                <a:gd name="connsiteY2" fmla="*/ 1071423 h 3642856"/>
                <a:gd name="connsiteX3" fmla="*/ 2072337 w 2771333"/>
                <a:gd name="connsiteY3" fmla="*/ 1071423 h 3642856"/>
                <a:gd name="connsiteX4" fmla="*/ 2059867 w 2771333"/>
                <a:gd name="connsiteY4" fmla="*/ 940856 h 3642856"/>
                <a:gd name="connsiteX5" fmla="*/ 1405299 w 2771333"/>
                <a:gd name="connsiteY5" fmla="*/ 377758 h 3642856"/>
                <a:gd name="connsiteX6" fmla="*/ 1405299 w 2771333"/>
                <a:gd name="connsiteY6" fmla="*/ 0 h 3642856"/>
                <a:gd name="connsiteX7" fmla="*/ 2445799 w 2771333"/>
                <a:gd name="connsiteY7" fmla="*/ 972254 h 3642856"/>
                <a:gd name="connsiteX8" fmla="*/ 2450636 w 2771333"/>
                <a:gd name="connsiteY8" fmla="*/ 1071423 h 3642856"/>
                <a:gd name="connsiteX9" fmla="*/ 2771333 w 2771333"/>
                <a:gd name="connsiteY9" fmla="*/ 1071423 h 3642856"/>
                <a:gd name="connsiteX10" fmla="*/ 2771333 w 2771333"/>
                <a:gd name="connsiteY10" fmla="*/ 3642856 h 3642856"/>
                <a:gd name="connsiteX11" fmla="*/ 0 w 2771333"/>
                <a:gd name="connsiteY11" fmla="*/ 3642856 h 3642856"/>
                <a:gd name="connsiteX12" fmla="*/ 0 w 2771333"/>
                <a:gd name="connsiteY12" fmla="*/ 1071423 h 3642856"/>
                <a:gd name="connsiteX13" fmla="*/ 359963 w 2771333"/>
                <a:gd name="connsiteY13" fmla="*/ 1071423 h 3642856"/>
                <a:gd name="connsiteX14" fmla="*/ 364799 w 2771333"/>
                <a:gd name="connsiteY14" fmla="*/ 972254 h 3642856"/>
                <a:gd name="connsiteX15" fmla="*/ 1405299 w 2771333"/>
                <a:gd name="connsiteY15" fmla="*/ 0 h 3642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71333" h="3642856">
                  <a:moveTo>
                    <a:pt x="1405299" y="377758"/>
                  </a:moveTo>
                  <a:cubicBezTo>
                    <a:pt x="1082420" y="377758"/>
                    <a:pt x="813033" y="619497"/>
                    <a:pt x="750732" y="940856"/>
                  </a:cubicBezTo>
                  <a:lnTo>
                    <a:pt x="738261" y="1071423"/>
                  </a:lnTo>
                  <a:lnTo>
                    <a:pt x="2072337" y="1071423"/>
                  </a:lnTo>
                  <a:lnTo>
                    <a:pt x="2059867" y="940856"/>
                  </a:lnTo>
                  <a:cubicBezTo>
                    <a:pt x="1997565" y="619497"/>
                    <a:pt x="1728179" y="377758"/>
                    <a:pt x="1405299" y="377758"/>
                  </a:cubicBezTo>
                  <a:close/>
                  <a:moveTo>
                    <a:pt x="1405299" y="0"/>
                  </a:moveTo>
                  <a:cubicBezTo>
                    <a:pt x="1946832" y="0"/>
                    <a:pt x="2392239" y="426154"/>
                    <a:pt x="2445799" y="972254"/>
                  </a:cubicBezTo>
                  <a:lnTo>
                    <a:pt x="2450636" y="1071423"/>
                  </a:lnTo>
                  <a:lnTo>
                    <a:pt x="2771333" y="1071423"/>
                  </a:lnTo>
                  <a:lnTo>
                    <a:pt x="2771333" y="3642856"/>
                  </a:lnTo>
                  <a:lnTo>
                    <a:pt x="0" y="3642856"/>
                  </a:lnTo>
                  <a:lnTo>
                    <a:pt x="0" y="1071423"/>
                  </a:lnTo>
                  <a:lnTo>
                    <a:pt x="359963" y="1071423"/>
                  </a:lnTo>
                  <a:lnTo>
                    <a:pt x="364799" y="972254"/>
                  </a:lnTo>
                  <a:cubicBezTo>
                    <a:pt x="418360" y="426154"/>
                    <a:pt x="863766" y="0"/>
                    <a:pt x="1405299"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84" name="Freeform: Shape 83">
              <a:extLst>
                <a:ext uri="{FF2B5EF4-FFF2-40B4-BE49-F238E27FC236}">
                  <a16:creationId xmlns:a16="http://schemas.microsoft.com/office/drawing/2014/main" id="{C76676B6-5B8F-4FFD-8F06-E026831BDA1D}"/>
                </a:ext>
              </a:extLst>
            </p:cNvPr>
            <p:cNvSpPr/>
            <p:nvPr/>
          </p:nvSpPr>
          <p:spPr>
            <a:xfrm>
              <a:off x="5451328" y="3779763"/>
              <a:ext cx="615330" cy="1137193"/>
            </a:xfrm>
            <a:custGeom>
              <a:avLst/>
              <a:gdLst>
                <a:gd name="connsiteX0" fmla="*/ 307665 w 615330"/>
                <a:gd name="connsiteY0" fmla="*/ 0 h 1137193"/>
                <a:gd name="connsiteX1" fmla="*/ 615330 w 615330"/>
                <a:gd name="connsiteY1" fmla="*/ 307666 h 1137193"/>
                <a:gd name="connsiteX2" fmla="*/ 427422 w 615330"/>
                <a:gd name="connsiteY2" fmla="*/ 591154 h 1137193"/>
                <a:gd name="connsiteX3" fmla="*/ 412107 w 615330"/>
                <a:gd name="connsiteY3" fmla="*/ 594246 h 1137193"/>
                <a:gd name="connsiteX4" fmla="*/ 412107 w 615330"/>
                <a:gd name="connsiteY4" fmla="*/ 1137193 h 1137193"/>
                <a:gd name="connsiteX5" fmla="*/ 214098 w 615330"/>
                <a:gd name="connsiteY5" fmla="*/ 1137193 h 1137193"/>
                <a:gd name="connsiteX6" fmla="*/ 214098 w 615330"/>
                <a:gd name="connsiteY6" fmla="*/ 596442 h 1137193"/>
                <a:gd name="connsiteX7" fmla="*/ 187908 w 615330"/>
                <a:gd name="connsiteY7" fmla="*/ 591154 h 1137193"/>
                <a:gd name="connsiteX8" fmla="*/ 0 w 615330"/>
                <a:gd name="connsiteY8" fmla="*/ 307666 h 1137193"/>
                <a:gd name="connsiteX9" fmla="*/ 307665 w 615330"/>
                <a:gd name="connsiteY9" fmla="*/ 0 h 1137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5330" h="1137193">
                  <a:moveTo>
                    <a:pt x="307665" y="0"/>
                  </a:moveTo>
                  <a:cubicBezTo>
                    <a:pt x="477584" y="0"/>
                    <a:pt x="615330" y="137747"/>
                    <a:pt x="615330" y="307666"/>
                  </a:cubicBezTo>
                  <a:cubicBezTo>
                    <a:pt x="615330" y="435106"/>
                    <a:pt x="537848" y="544448"/>
                    <a:pt x="427422" y="591154"/>
                  </a:cubicBezTo>
                  <a:lnTo>
                    <a:pt x="412107" y="594246"/>
                  </a:lnTo>
                  <a:lnTo>
                    <a:pt x="412107" y="1137193"/>
                  </a:lnTo>
                  <a:lnTo>
                    <a:pt x="214098" y="1137193"/>
                  </a:lnTo>
                  <a:lnTo>
                    <a:pt x="214098" y="596442"/>
                  </a:lnTo>
                  <a:lnTo>
                    <a:pt x="187908" y="591154"/>
                  </a:lnTo>
                  <a:cubicBezTo>
                    <a:pt x="77482" y="544448"/>
                    <a:pt x="0" y="435106"/>
                    <a:pt x="0" y="307666"/>
                  </a:cubicBezTo>
                  <a:cubicBezTo>
                    <a:pt x="0" y="137747"/>
                    <a:pt x="137746" y="0"/>
                    <a:pt x="307665" y="0"/>
                  </a:cubicBezTo>
                  <a:close/>
                </a:path>
              </a:pathLst>
            </a:cu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grpSp>
        <p:nvGrpSpPr>
          <p:cNvPr id="85" name="Group 84">
            <a:extLst>
              <a:ext uri="{FF2B5EF4-FFF2-40B4-BE49-F238E27FC236}">
                <a16:creationId xmlns:a16="http://schemas.microsoft.com/office/drawing/2014/main" id="{F56068D5-DC04-49DC-B4C3-298048610FE2}"/>
              </a:ext>
            </a:extLst>
          </p:cNvPr>
          <p:cNvGrpSpPr/>
          <p:nvPr/>
        </p:nvGrpSpPr>
        <p:grpSpPr>
          <a:xfrm>
            <a:off x="9910894" y="4678796"/>
            <a:ext cx="344110" cy="452325"/>
            <a:chOff x="4373323" y="1855264"/>
            <a:chExt cx="2771333" cy="3642856"/>
          </a:xfrm>
        </p:grpSpPr>
        <p:sp>
          <p:nvSpPr>
            <p:cNvPr id="86" name="Freeform: Shape 85">
              <a:extLst>
                <a:ext uri="{FF2B5EF4-FFF2-40B4-BE49-F238E27FC236}">
                  <a16:creationId xmlns:a16="http://schemas.microsoft.com/office/drawing/2014/main" id="{17317ED5-A95B-4079-9F03-E4AFA6975CFB}"/>
                </a:ext>
              </a:extLst>
            </p:cNvPr>
            <p:cNvSpPr/>
            <p:nvPr/>
          </p:nvSpPr>
          <p:spPr>
            <a:xfrm>
              <a:off x="4373323" y="1855264"/>
              <a:ext cx="2771333" cy="3642856"/>
            </a:xfrm>
            <a:custGeom>
              <a:avLst/>
              <a:gdLst>
                <a:gd name="connsiteX0" fmla="*/ 1405299 w 2771333"/>
                <a:gd name="connsiteY0" fmla="*/ 377758 h 3642856"/>
                <a:gd name="connsiteX1" fmla="*/ 750732 w 2771333"/>
                <a:gd name="connsiteY1" fmla="*/ 940856 h 3642856"/>
                <a:gd name="connsiteX2" fmla="*/ 738261 w 2771333"/>
                <a:gd name="connsiteY2" fmla="*/ 1071423 h 3642856"/>
                <a:gd name="connsiteX3" fmla="*/ 2072337 w 2771333"/>
                <a:gd name="connsiteY3" fmla="*/ 1071423 h 3642856"/>
                <a:gd name="connsiteX4" fmla="*/ 2059867 w 2771333"/>
                <a:gd name="connsiteY4" fmla="*/ 940856 h 3642856"/>
                <a:gd name="connsiteX5" fmla="*/ 1405299 w 2771333"/>
                <a:gd name="connsiteY5" fmla="*/ 377758 h 3642856"/>
                <a:gd name="connsiteX6" fmla="*/ 1405299 w 2771333"/>
                <a:gd name="connsiteY6" fmla="*/ 0 h 3642856"/>
                <a:gd name="connsiteX7" fmla="*/ 2445799 w 2771333"/>
                <a:gd name="connsiteY7" fmla="*/ 972254 h 3642856"/>
                <a:gd name="connsiteX8" fmla="*/ 2450636 w 2771333"/>
                <a:gd name="connsiteY8" fmla="*/ 1071423 h 3642856"/>
                <a:gd name="connsiteX9" fmla="*/ 2771333 w 2771333"/>
                <a:gd name="connsiteY9" fmla="*/ 1071423 h 3642856"/>
                <a:gd name="connsiteX10" fmla="*/ 2771333 w 2771333"/>
                <a:gd name="connsiteY10" fmla="*/ 3642856 h 3642856"/>
                <a:gd name="connsiteX11" fmla="*/ 0 w 2771333"/>
                <a:gd name="connsiteY11" fmla="*/ 3642856 h 3642856"/>
                <a:gd name="connsiteX12" fmla="*/ 0 w 2771333"/>
                <a:gd name="connsiteY12" fmla="*/ 1071423 h 3642856"/>
                <a:gd name="connsiteX13" fmla="*/ 359963 w 2771333"/>
                <a:gd name="connsiteY13" fmla="*/ 1071423 h 3642856"/>
                <a:gd name="connsiteX14" fmla="*/ 364799 w 2771333"/>
                <a:gd name="connsiteY14" fmla="*/ 972254 h 3642856"/>
                <a:gd name="connsiteX15" fmla="*/ 1405299 w 2771333"/>
                <a:gd name="connsiteY15" fmla="*/ 0 h 3642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71333" h="3642856">
                  <a:moveTo>
                    <a:pt x="1405299" y="377758"/>
                  </a:moveTo>
                  <a:cubicBezTo>
                    <a:pt x="1082420" y="377758"/>
                    <a:pt x="813033" y="619497"/>
                    <a:pt x="750732" y="940856"/>
                  </a:cubicBezTo>
                  <a:lnTo>
                    <a:pt x="738261" y="1071423"/>
                  </a:lnTo>
                  <a:lnTo>
                    <a:pt x="2072337" y="1071423"/>
                  </a:lnTo>
                  <a:lnTo>
                    <a:pt x="2059867" y="940856"/>
                  </a:lnTo>
                  <a:cubicBezTo>
                    <a:pt x="1997565" y="619497"/>
                    <a:pt x="1728179" y="377758"/>
                    <a:pt x="1405299" y="377758"/>
                  </a:cubicBezTo>
                  <a:close/>
                  <a:moveTo>
                    <a:pt x="1405299" y="0"/>
                  </a:moveTo>
                  <a:cubicBezTo>
                    <a:pt x="1946832" y="0"/>
                    <a:pt x="2392239" y="426154"/>
                    <a:pt x="2445799" y="972254"/>
                  </a:cubicBezTo>
                  <a:lnTo>
                    <a:pt x="2450636" y="1071423"/>
                  </a:lnTo>
                  <a:lnTo>
                    <a:pt x="2771333" y="1071423"/>
                  </a:lnTo>
                  <a:lnTo>
                    <a:pt x="2771333" y="3642856"/>
                  </a:lnTo>
                  <a:lnTo>
                    <a:pt x="0" y="3642856"/>
                  </a:lnTo>
                  <a:lnTo>
                    <a:pt x="0" y="1071423"/>
                  </a:lnTo>
                  <a:lnTo>
                    <a:pt x="359963" y="1071423"/>
                  </a:lnTo>
                  <a:lnTo>
                    <a:pt x="364799" y="972254"/>
                  </a:lnTo>
                  <a:cubicBezTo>
                    <a:pt x="418360" y="426154"/>
                    <a:pt x="863766" y="0"/>
                    <a:pt x="1405299"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87" name="Freeform: Shape 86">
              <a:extLst>
                <a:ext uri="{FF2B5EF4-FFF2-40B4-BE49-F238E27FC236}">
                  <a16:creationId xmlns:a16="http://schemas.microsoft.com/office/drawing/2014/main" id="{CB3BB067-760E-415B-B83E-5A9A20E8C61A}"/>
                </a:ext>
              </a:extLst>
            </p:cNvPr>
            <p:cNvSpPr/>
            <p:nvPr/>
          </p:nvSpPr>
          <p:spPr>
            <a:xfrm>
              <a:off x="5451328" y="3779763"/>
              <a:ext cx="615330" cy="1137193"/>
            </a:xfrm>
            <a:custGeom>
              <a:avLst/>
              <a:gdLst>
                <a:gd name="connsiteX0" fmla="*/ 307665 w 615330"/>
                <a:gd name="connsiteY0" fmla="*/ 0 h 1137193"/>
                <a:gd name="connsiteX1" fmla="*/ 615330 w 615330"/>
                <a:gd name="connsiteY1" fmla="*/ 307666 h 1137193"/>
                <a:gd name="connsiteX2" fmla="*/ 427422 w 615330"/>
                <a:gd name="connsiteY2" fmla="*/ 591154 h 1137193"/>
                <a:gd name="connsiteX3" fmla="*/ 412107 w 615330"/>
                <a:gd name="connsiteY3" fmla="*/ 594246 h 1137193"/>
                <a:gd name="connsiteX4" fmla="*/ 412107 w 615330"/>
                <a:gd name="connsiteY4" fmla="*/ 1137193 h 1137193"/>
                <a:gd name="connsiteX5" fmla="*/ 214098 w 615330"/>
                <a:gd name="connsiteY5" fmla="*/ 1137193 h 1137193"/>
                <a:gd name="connsiteX6" fmla="*/ 214098 w 615330"/>
                <a:gd name="connsiteY6" fmla="*/ 596442 h 1137193"/>
                <a:gd name="connsiteX7" fmla="*/ 187908 w 615330"/>
                <a:gd name="connsiteY7" fmla="*/ 591154 h 1137193"/>
                <a:gd name="connsiteX8" fmla="*/ 0 w 615330"/>
                <a:gd name="connsiteY8" fmla="*/ 307666 h 1137193"/>
                <a:gd name="connsiteX9" fmla="*/ 307665 w 615330"/>
                <a:gd name="connsiteY9" fmla="*/ 0 h 1137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5330" h="1137193">
                  <a:moveTo>
                    <a:pt x="307665" y="0"/>
                  </a:moveTo>
                  <a:cubicBezTo>
                    <a:pt x="477584" y="0"/>
                    <a:pt x="615330" y="137747"/>
                    <a:pt x="615330" y="307666"/>
                  </a:cubicBezTo>
                  <a:cubicBezTo>
                    <a:pt x="615330" y="435106"/>
                    <a:pt x="537848" y="544448"/>
                    <a:pt x="427422" y="591154"/>
                  </a:cubicBezTo>
                  <a:lnTo>
                    <a:pt x="412107" y="594246"/>
                  </a:lnTo>
                  <a:lnTo>
                    <a:pt x="412107" y="1137193"/>
                  </a:lnTo>
                  <a:lnTo>
                    <a:pt x="214098" y="1137193"/>
                  </a:lnTo>
                  <a:lnTo>
                    <a:pt x="214098" y="596442"/>
                  </a:lnTo>
                  <a:lnTo>
                    <a:pt x="187908" y="591154"/>
                  </a:lnTo>
                  <a:cubicBezTo>
                    <a:pt x="77482" y="544448"/>
                    <a:pt x="0" y="435106"/>
                    <a:pt x="0" y="307666"/>
                  </a:cubicBezTo>
                  <a:cubicBezTo>
                    <a:pt x="0" y="137747"/>
                    <a:pt x="137746" y="0"/>
                    <a:pt x="307665" y="0"/>
                  </a:cubicBezTo>
                  <a:close/>
                </a:path>
              </a:pathLst>
            </a:cu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grpSp>
        <p:nvGrpSpPr>
          <p:cNvPr id="88" name="Group 87">
            <a:extLst>
              <a:ext uri="{FF2B5EF4-FFF2-40B4-BE49-F238E27FC236}">
                <a16:creationId xmlns:a16="http://schemas.microsoft.com/office/drawing/2014/main" id="{48451ECF-1B8F-4F36-8439-17585B6596AA}"/>
              </a:ext>
            </a:extLst>
          </p:cNvPr>
          <p:cNvGrpSpPr/>
          <p:nvPr/>
        </p:nvGrpSpPr>
        <p:grpSpPr>
          <a:xfrm>
            <a:off x="9783903" y="2296944"/>
            <a:ext cx="147488" cy="193870"/>
            <a:chOff x="4373323" y="1855264"/>
            <a:chExt cx="2771333" cy="3642856"/>
          </a:xfrm>
        </p:grpSpPr>
        <p:sp>
          <p:nvSpPr>
            <p:cNvPr id="89" name="Freeform: Shape 88">
              <a:extLst>
                <a:ext uri="{FF2B5EF4-FFF2-40B4-BE49-F238E27FC236}">
                  <a16:creationId xmlns:a16="http://schemas.microsoft.com/office/drawing/2014/main" id="{67102BBD-4490-41A8-B46E-4EB194B8CC5E}"/>
                </a:ext>
              </a:extLst>
            </p:cNvPr>
            <p:cNvSpPr/>
            <p:nvPr/>
          </p:nvSpPr>
          <p:spPr>
            <a:xfrm>
              <a:off x="4373323" y="1855264"/>
              <a:ext cx="2771333" cy="3642856"/>
            </a:xfrm>
            <a:custGeom>
              <a:avLst/>
              <a:gdLst>
                <a:gd name="connsiteX0" fmla="*/ 1405299 w 2771333"/>
                <a:gd name="connsiteY0" fmla="*/ 377758 h 3642856"/>
                <a:gd name="connsiteX1" fmla="*/ 750732 w 2771333"/>
                <a:gd name="connsiteY1" fmla="*/ 940856 h 3642856"/>
                <a:gd name="connsiteX2" fmla="*/ 738261 w 2771333"/>
                <a:gd name="connsiteY2" fmla="*/ 1071423 h 3642856"/>
                <a:gd name="connsiteX3" fmla="*/ 2072337 w 2771333"/>
                <a:gd name="connsiteY3" fmla="*/ 1071423 h 3642856"/>
                <a:gd name="connsiteX4" fmla="*/ 2059867 w 2771333"/>
                <a:gd name="connsiteY4" fmla="*/ 940856 h 3642856"/>
                <a:gd name="connsiteX5" fmla="*/ 1405299 w 2771333"/>
                <a:gd name="connsiteY5" fmla="*/ 377758 h 3642856"/>
                <a:gd name="connsiteX6" fmla="*/ 1405299 w 2771333"/>
                <a:gd name="connsiteY6" fmla="*/ 0 h 3642856"/>
                <a:gd name="connsiteX7" fmla="*/ 2445799 w 2771333"/>
                <a:gd name="connsiteY7" fmla="*/ 972254 h 3642856"/>
                <a:gd name="connsiteX8" fmla="*/ 2450636 w 2771333"/>
                <a:gd name="connsiteY8" fmla="*/ 1071423 h 3642856"/>
                <a:gd name="connsiteX9" fmla="*/ 2771333 w 2771333"/>
                <a:gd name="connsiteY9" fmla="*/ 1071423 h 3642856"/>
                <a:gd name="connsiteX10" fmla="*/ 2771333 w 2771333"/>
                <a:gd name="connsiteY10" fmla="*/ 3642856 h 3642856"/>
                <a:gd name="connsiteX11" fmla="*/ 0 w 2771333"/>
                <a:gd name="connsiteY11" fmla="*/ 3642856 h 3642856"/>
                <a:gd name="connsiteX12" fmla="*/ 0 w 2771333"/>
                <a:gd name="connsiteY12" fmla="*/ 1071423 h 3642856"/>
                <a:gd name="connsiteX13" fmla="*/ 359963 w 2771333"/>
                <a:gd name="connsiteY13" fmla="*/ 1071423 h 3642856"/>
                <a:gd name="connsiteX14" fmla="*/ 364799 w 2771333"/>
                <a:gd name="connsiteY14" fmla="*/ 972254 h 3642856"/>
                <a:gd name="connsiteX15" fmla="*/ 1405299 w 2771333"/>
                <a:gd name="connsiteY15" fmla="*/ 0 h 3642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71333" h="3642856">
                  <a:moveTo>
                    <a:pt x="1405299" y="377758"/>
                  </a:moveTo>
                  <a:cubicBezTo>
                    <a:pt x="1082420" y="377758"/>
                    <a:pt x="813033" y="619497"/>
                    <a:pt x="750732" y="940856"/>
                  </a:cubicBezTo>
                  <a:lnTo>
                    <a:pt x="738261" y="1071423"/>
                  </a:lnTo>
                  <a:lnTo>
                    <a:pt x="2072337" y="1071423"/>
                  </a:lnTo>
                  <a:lnTo>
                    <a:pt x="2059867" y="940856"/>
                  </a:lnTo>
                  <a:cubicBezTo>
                    <a:pt x="1997565" y="619497"/>
                    <a:pt x="1728179" y="377758"/>
                    <a:pt x="1405299" y="377758"/>
                  </a:cubicBezTo>
                  <a:close/>
                  <a:moveTo>
                    <a:pt x="1405299" y="0"/>
                  </a:moveTo>
                  <a:cubicBezTo>
                    <a:pt x="1946832" y="0"/>
                    <a:pt x="2392239" y="426154"/>
                    <a:pt x="2445799" y="972254"/>
                  </a:cubicBezTo>
                  <a:lnTo>
                    <a:pt x="2450636" y="1071423"/>
                  </a:lnTo>
                  <a:lnTo>
                    <a:pt x="2771333" y="1071423"/>
                  </a:lnTo>
                  <a:lnTo>
                    <a:pt x="2771333" y="3642856"/>
                  </a:lnTo>
                  <a:lnTo>
                    <a:pt x="0" y="3642856"/>
                  </a:lnTo>
                  <a:lnTo>
                    <a:pt x="0" y="1071423"/>
                  </a:lnTo>
                  <a:lnTo>
                    <a:pt x="359963" y="1071423"/>
                  </a:lnTo>
                  <a:lnTo>
                    <a:pt x="364799" y="972254"/>
                  </a:lnTo>
                  <a:cubicBezTo>
                    <a:pt x="418360" y="426154"/>
                    <a:pt x="863766" y="0"/>
                    <a:pt x="1405299"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90" name="Freeform: Shape 89">
              <a:extLst>
                <a:ext uri="{FF2B5EF4-FFF2-40B4-BE49-F238E27FC236}">
                  <a16:creationId xmlns:a16="http://schemas.microsoft.com/office/drawing/2014/main" id="{42E58A83-BBD4-4660-B31C-EB64BF56ACD8}"/>
                </a:ext>
              </a:extLst>
            </p:cNvPr>
            <p:cNvSpPr/>
            <p:nvPr/>
          </p:nvSpPr>
          <p:spPr>
            <a:xfrm>
              <a:off x="5451328" y="3779763"/>
              <a:ext cx="615330" cy="1137193"/>
            </a:xfrm>
            <a:custGeom>
              <a:avLst/>
              <a:gdLst>
                <a:gd name="connsiteX0" fmla="*/ 307665 w 615330"/>
                <a:gd name="connsiteY0" fmla="*/ 0 h 1137193"/>
                <a:gd name="connsiteX1" fmla="*/ 615330 w 615330"/>
                <a:gd name="connsiteY1" fmla="*/ 307666 h 1137193"/>
                <a:gd name="connsiteX2" fmla="*/ 427422 w 615330"/>
                <a:gd name="connsiteY2" fmla="*/ 591154 h 1137193"/>
                <a:gd name="connsiteX3" fmla="*/ 412107 w 615330"/>
                <a:gd name="connsiteY3" fmla="*/ 594246 h 1137193"/>
                <a:gd name="connsiteX4" fmla="*/ 412107 w 615330"/>
                <a:gd name="connsiteY4" fmla="*/ 1137193 h 1137193"/>
                <a:gd name="connsiteX5" fmla="*/ 214098 w 615330"/>
                <a:gd name="connsiteY5" fmla="*/ 1137193 h 1137193"/>
                <a:gd name="connsiteX6" fmla="*/ 214098 w 615330"/>
                <a:gd name="connsiteY6" fmla="*/ 596442 h 1137193"/>
                <a:gd name="connsiteX7" fmla="*/ 187908 w 615330"/>
                <a:gd name="connsiteY7" fmla="*/ 591154 h 1137193"/>
                <a:gd name="connsiteX8" fmla="*/ 0 w 615330"/>
                <a:gd name="connsiteY8" fmla="*/ 307666 h 1137193"/>
                <a:gd name="connsiteX9" fmla="*/ 307665 w 615330"/>
                <a:gd name="connsiteY9" fmla="*/ 0 h 1137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5330" h="1137193">
                  <a:moveTo>
                    <a:pt x="307665" y="0"/>
                  </a:moveTo>
                  <a:cubicBezTo>
                    <a:pt x="477584" y="0"/>
                    <a:pt x="615330" y="137747"/>
                    <a:pt x="615330" y="307666"/>
                  </a:cubicBezTo>
                  <a:cubicBezTo>
                    <a:pt x="615330" y="435106"/>
                    <a:pt x="537848" y="544448"/>
                    <a:pt x="427422" y="591154"/>
                  </a:cubicBezTo>
                  <a:lnTo>
                    <a:pt x="412107" y="594246"/>
                  </a:lnTo>
                  <a:lnTo>
                    <a:pt x="412107" y="1137193"/>
                  </a:lnTo>
                  <a:lnTo>
                    <a:pt x="214098" y="1137193"/>
                  </a:lnTo>
                  <a:lnTo>
                    <a:pt x="214098" y="596442"/>
                  </a:lnTo>
                  <a:lnTo>
                    <a:pt x="187908" y="591154"/>
                  </a:lnTo>
                  <a:cubicBezTo>
                    <a:pt x="77482" y="544448"/>
                    <a:pt x="0" y="435106"/>
                    <a:pt x="0" y="307666"/>
                  </a:cubicBezTo>
                  <a:cubicBezTo>
                    <a:pt x="0" y="137747"/>
                    <a:pt x="137746" y="0"/>
                    <a:pt x="307665" y="0"/>
                  </a:cubicBezTo>
                  <a:close/>
                </a:path>
              </a:pathLst>
            </a:cu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91" name="TextBox 90">
            <a:extLst>
              <a:ext uri="{FF2B5EF4-FFF2-40B4-BE49-F238E27FC236}">
                <a16:creationId xmlns:a16="http://schemas.microsoft.com/office/drawing/2014/main" id="{5AA3326B-E831-4B30-BF92-1379DDD4E1F2}"/>
              </a:ext>
            </a:extLst>
          </p:cNvPr>
          <p:cNvSpPr txBox="1"/>
          <p:nvPr/>
        </p:nvSpPr>
        <p:spPr>
          <a:xfrm>
            <a:off x="5764979" y="568999"/>
            <a:ext cx="5507737" cy="341632"/>
          </a:xfrm>
          <a:prstGeom prst="rect">
            <a:avLst/>
          </a:prstGeom>
          <a:noFill/>
        </p:spPr>
        <p:txBody>
          <a:bodyPr wrap="square" lIns="91440" tIns="45720" rIns="91440" bIns="45720" rtlCol="0">
            <a:spAutoFit/>
          </a:bodyPr>
          <a:lstStyle>
            <a:defPPr>
              <a:defRPr lang="en-US"/>
            </a:defPPr>
            <a:lvl1pPr defTabSz="914400">
              <a:lnSpc>
                <a:spcPct val="90000"/>
              </a:lnSpc>
              <a:spcAft>
                <a:spcPts val="600"/>
              </a:spcAft>
              <a:defRPr sz="1800" kern="0">
                <a:solidFill>
                  <a:srgbClr val="0078D7"/>
                </a:solidFill>
                <a:latin typeface="Segoe UI Semibold" panose="020B0702040204020203" pitchFamily="34" charset="0"/>
                <a:ea typeface="MS PGothic" charset="0"/>
                <a:cs typeface="Segoe UI Semibold" panose="020B0702040204020203" pitchFamily="34" charset="0"/>
              </a:defRPr>
            </a:lvl1pPr>
          </a:lstStyle>
          <a:p>
            <a:pPr algn="ctr"/>
            <a:r>
              <a:rPr lang="en-US" dirty="0"/>
              <a:t>Always Encrypted with secure enclaves</a:t>
            </a:r>
          </a:p>
        </p:txBody>
      </p:sp>
    </p:spTree>
    <p:extLst>
      <p:ext uri="{BB962C8B-B14F-4D97-AF65-F5344CB8AC3E}">
        <p14:creationId xmlns:p14="http://schemas.microsoft.com/office/powerpoint/2010/main" val="11229107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3ACC7E-3464-43A0-9B77-A63D1077980B}"/>
              </a:ext>
            </a:extLst>
          </p:cNvPr>
          <p:cNvSpPr>
            <a:spLocks noGrp="1"/>
          </p:cNvSpPr>
          <p:nvPr>
            <p:ph type="title"/>
          </p:nvPr>
        </p:nvSpPr>
        <p:spPr>
          <a:xfrm>
            <a:off x="588263" y="353096"/>
            <a:ext cx="11018520" cy="553998"/>
          </a:xfrm>
        </p:spPr>
        <p:txBody>
          <a:bodyPr/>
          <a:lstStyle/>
          <a:p>
            <a:r>
              <a:rPr lang="en-US" dirty="0"/>
              <a:t>Data Classification and Auditing</a:t>
            </a:r>
          </a:p>
        </p:txBody>
      </p:sp>
      <p:pic>
        <p:nvPicPr>
          <p:cNvPr id="5" name="Picture 4">
            <a:extLst>
              <a:ext uri="{FF2B5EF4-FFF2-40B4-BE49-F238E27FC236}">
                <a16:creationId xmlns:a16="http://schemas.microsoft.com/office/drawing/2014/main" id="{ECEEF45B-ADF1-406C-B231-20FF9156F5A2}"/>
              </a:ext>
            </a:extLst>
          </p:cNvPr>
          <p:cNvPicPr>
            <a:picLocks noChangeAspect="1"/>
          </p:cNvPicPr>
          <p:nvPr/>
        </p:nvPicPr>
        <p:blipFill>
          <a:blip r:embed="rId3"/>
          <a:stretch>
            <a:fillRect/>
          </a:stretch>
        </p:blipFill>
        <p:spPr>
          <a:xfrm>
            <a:off x="588263" y="2860055"/>
            <a:ext cx="4375674" cy="2367878"/>
          </a:xfrm>
          <a:prstGeom prst="rect">
            <a:avLst/>
          </a:prstGeom>
        </p:spPr>
      </p:pic>
      <p:sp>
        <p:nvSpPr>
          <p:cNvPr id="6" name="TextBox 5">
            <a:extLst>
              <a:ext uri="{FF2B5EF4-FFF2-40B4-BE49-F238E27FC236}">
                <a16:creationId xmlns:a16="http://schemas.microsoft.com/office/drawing/2014/main" id="{A21289FC-8B65-482A-BDED-67EBEB96D433}"/>
              </a:ext>
            </a:extLst>
          </p:cNvPr>
          <p:cNvSpPr txBox="1"/>
          <p:nvPr/>
        </p:nvSpPr>
        <p:spPr>
          <a:xfrm>
            <a:off x="588263" y="2398390"/>
            <a:ext cx="1860253"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SQL Server 2017</a:t>
            </a:r>
          </a:p>
        </p:txBody>
      </p:sp>
      <p:sp>
        <p:nvSpPr>
          <p:cNvPr id="7" name="TextBox 6">
            <a:extLst>
              <a:ext uri="{FF2B5EF4-FFF2-40B4-BE49-F238E27FC236}">
                <a16:creationId xmlns:a16="http://schemas.microsoft.com/office/drawing/2014/main" id="{48BE313C-E370-460E-8929-9B419CB6C4E2}"/>
              </a:ext>
            </a:extLst>
          </p:cNvPr>
          <p:cNvSpPr txBox="1"/>
          <p:nvPr/>
        </p:nvSpPr>
        <p:spPr>
          <a:xfrm>
            <a:off x="6370498" y="2706167"/>
            <a:ext cx="4713213"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SQL Server 2019 and Azure SQL Database</a:t>
            </a:r>
          </a:p>
        </p:txBody>
      </p:sp>
      <p:sp>
        <p:nvSpPr>
          <p:cNvPr id="8" name="Rectangle 7">
            <a:extLst>
              <a:ext uri="{FF2B5EF4-FFF2-40B4-BE49-F238E27FC236}">
                <a16:creationId xmlns:a16="http://schemas.microsoft.com/office/drawing/2014/main" id="{6D7515E9-1671-44DD-9EB5-983BC81CD3AE}"/>
              </a:ext>
            </a:extLst>
          </p:cNvPr>
          <p:cNvSpPr/>
          <p:nvPr/>
        </p:nvSpPr>
        <p:spPr>
          <a:xfrm>
            <a:off x="6697145" y="3205715"/>
            <a:ext cx="4455459" cy="1178784"/>
          </a:xfrm>
          <a:prstGeom prst="rect">
            <a:avLst/>
          </a:prstGeom>
        </p:spPr>
        <p:txBody>
          <a:bodyPr wrap="square">
            <a:spAutoFit/>
          </a:bodyPr>
          <a:lstStyle/>
          <a:p>
            <a:r>
              <a:rPr lang="en-US" b="1" dirty="0"/>
              <a:t>ADD SENSITIVITY CLASSIFICATION </a:t>
            </a:r>
            <a:r>
              <a:rPr lang="en-US" dirty="0"/>
              <a:t>TO</a:t>
            </a:r>
          </a:p>
          <a:p>
            <a:r>
              <a:rPr lang="en-US" dirty="0"/>
              <a:t>    dbo.sales.price, dbo.sales.discount</a:t>
            </a:r>
          </a:p>
          <a:p>
            <a:r>
              <a:rPr lang="en-US" dirty="0"/>
              <a:t>    WITH ( LABEL='Highly Confidential', INFORMATION_TYPE='Financial' )</a:t>
            </a:r>
          </a:p>
        </p:txBody>
      </p:sp>
      <p:sp>
        <p:nvSpPr>
          <p:cNvPr id="9" name="TextBox 8">
            <a:extLst>
              <a:ext uri="{FF2B5EF4-FFF2-40B4-BE49-F238E27FC236}">
                <a16:creationId xmlns:a16="http://schemas.microsoft.com/office/drawing/2014/main" id="{2EA4C099-3C82-4188-9922-9A9FFBEC13C7}"/>
              </a:ext>
            </a:extLst>
          </p:cNvPr>
          <p:cNvSpPr txBox="1"/>
          <p:nvPr/>
        </p:nvSpPr>
        <p:spPr>
          <a:xfrm>
            <a:off x="7458908" y="4743023"/>
            <a:ext cx="2439514" cy="307777"/>
          </a:xfrm>
          <a:prstGeom prst="rect">
            <a:avLst/>
          </a:prstGeom>
          <a:noFill/>
        </p:spPr>
        <p:txBody>
          <a:bodyPr wrap="none" lIns="0" tIns="0" rIns="0" bIns="0" rtlCol="0">
            <a:spAutoFit/>
          </a:bodyPr>
          <a:lstStyle/>
          <a:p>
            <a:pPr algn="l"/>
            <a:r>
              <a:rPr lang="en-US" sz="2000" b="1" dirty="0">
                <a:gradFill>
                  <a:gsLst>
                    <a:gs pos="2917">
                      <a:schemeClr val="tx1"/>
                    </a:gs>
                    <a:gs pos="30000">
                      <a:schemeClr val="tx1"/>
                    </a:gs>
                  </a:gsLst>
                  <a:lin ang="5400000" scaled="0"/>
                </a:gradFill>
              </a:rPr>
              <a:t>SQL Server Auditing</a:t>
            </a:r>
          </a:p>
        </p:txBody>
      </p:sp>
      <p:sp>
        <p:nvSpPr>
          <p:cNvPr id="10" name="Rectangle 9">
            <a:extLst>
              <a:ext uri="{FF2B5EF4-FFF2-40B4-BE49-F238E27FC236}">
                <a16:creationId xmlns:a16="http://schemas.microsoft.com/office/drawing/2014/main" id="{62062057-EF7F-40EB-9743-DBC1D532F57C}"/>
              </a:ext>
            </a:extLst>
          </p:cNvPr>
          <p:cNvSpPr/>
          <p:nvPr/>
        </p:nvSpPr>
        <p:spPr>
          <a:xfrm>
            <a:off x="6884292" y="5100312"/>
            <a:ext cx="3685624" cy="363946"/>
          </a:xfrm>
          <a:prstGeom prst="rect">
            <a:avLst/>
          </a:prstGeom>
        </p:spPr>
        <p:txBody>
          <a:bodyPr wrap="none">
            <a:spAutoFit/>
          </a:bodyPr>
          <a:lstStyle/>
          <a:p>
            <a:r>
              <a:rPr lang="en-US" dirty="0">
                <a:solidFill>
                  <a:srgbClr val="000000"/>
                </a:solidFill>
                <a:latin typeface="Consolas" panose="020B0609020204030204" pitchFamily="49" charset="0"/>
              </a:rPr>
              <a:t>data_sensitivity_information</a:t>
            </a:r>
            <a:endParaRPr lang="en-US" dirty="0"/>
          </a:p>
        </p:txBody>
      </p:sp>
      <p:sp>
        <p:nvSpPr>
          <p:cNvPr id="11" name="Rectangle 10">
            <a:extLst>
              <a:ext uri="{FF2B5EF4-FFF2-40B4-BE49-F238E27FC236}">
                <a16:creationId xmlns:a16="http://schemas.microsoft.com/office/drawing/2014/main" id="{2917E357-D616-4131-8A62-31992CE687BE}"/>
              </a:ext>
            </a:extLst>
          </p:cNvPr>
          <p:cNvSpPr/>
          <p:nvPr/>
        </p:nvSpPr>
        <p:spPr>
          <a:xfrm>
            <a:off x="6460634" y="5544512"/>
            <a:ext cx="4455459" cy="635559"/>
          </a:xfrm>
          <a:prstGeom prst="rect">
            <a:avLst/>
          </a:prstGeom>
        </p:spPr>
        <p:txBody>
          <a:bodyPr wrap="square">
            <a:spAutoFit/>
          </a:bodyPr>
          <a:lstStyle/>
          <a:p>
            <a:pPr algn="ctr"/>
            <a:r>
              <a:rPr lang="en-US" dirty="0"/>
              <a:t>Who, what, and when accessed my classified data?</a:t>
            </a:r>
          </a:p>
        </p:txBody>
      </p:sp>
      <p:cxnSp>
        <p:nvCxnSpPr>
          <p:cNvPr id="13" name="Straight Arrow Connector 12">
            <a:extLst>
              <a:ext uri="{FF2B5EF4-FFF2-40B4-BE49-F238E27FC236}">
                <a16:creationId xmlns:a16="http://schemas.microsoft.com/office/drawing/2014/main" id="{84B4C49E-F9BC-45E4-A5E9-A4C0E8EC776B}"/>
              </a:ext>
            </a:extLst>
          </p:cNvPr>
          <p:cNvCxnSpPr>
            <a:cxnSpLocks/>
          </p:cNvCxnSpPr>
          <p:nvPr/>
        </p:nvCxnSpPr>
        <p:spPr>
          <a:xfrm>
            <a:off x="5195459" y="3865203"/>
            <a:ext cx="1348776" cy="0"/>
          </a:xfrm>
          <a:prstGeom prst="straightConnector1">
            <a:avLst/>
          </a:prstGeom>
          <a:ln w="38100">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1069F900-AD4D-4520-BF58-524280930516}"/>
              </a:ext>
            </a:extLst>
          </p:cNvPr>
          <p:cNvSpPr txBox="1">
            <a:spLocks/>
          </p:cNvSpPr>
          <p:nvPr/>
        </p:nvSpPr>
        <p:spPr>
          <a:xfrm>
            <a:off x="588263" y="1192426"/>
            <a:ext cx="11744742" cy="866904"/>
          </a:xfrm>
          <a:prstGeom prst="rect">
            <a:avLst/>
          </a:prstGeom>
          <a:solidFill>
            <a:schemeClr val="bg1">
              <a:lumMod val="85000"/>
            </a:schemeClr>
          </a:solidFill>
        </p:spPr>
        <p:txBody>
          <a:bodyPr vert="horz" wrap="square" lIns="0" tIns="0" rIns="0" bIns="0" rtlCol="0">
            <a:spAutoFit/>
          </a:bodyPr>
          <a:lstStyle>
            <a:lvl1pPr marL="228600" marR="0" indent="-228600" algn="l" defTabSz="932742" rtl="0" eaLnBrk="1" fontAlgn="auto" latinLnBrk="0" hangingPunct="1">
              <a:lnSpc>
                <a:spcPct val="100000"/>
              </a:lnSpc>
              <a:spcBef>
                <a:spcPts val="1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2400" b="1" dirty="0"/>
              <a:t>The problem</a:t>
            </a:r>
          </a:p>
          <a:p>
            <a:pPr marL="0" indent="0">
              <a:buFont typeface="Wingdings" panose="05000000000000000000" pitchFamily="2" charset="2"/>
              <a:buNone/>
            </a:pPr>
            <a:r>
              <a:rPr lang="en-US" sz="2400" dirty="0"/>
              <a:t>I need to classify my data in SQL Server and audit access to the classified data</a:t>
            </a:r>
          </a:p>
        </p:txBody>
      </p:sp>
      <p:sp>
        <p:nvSpPr>
          <p:cNvPr id="17" name="TextBox 16">
            <a:extLst>
              <a:ext uri="{FF2B5EF4-FFF2-40B4-BE49-F238E27FC236}">
                <a16:creationId xmlns:a16="http://schemas.microsoft.com/office/drawing/2014/main" id="{3F9FA4B7-3AF2-429C-944D-A3145D988BF3}"/>
              </a:ext>
            </a:extLst>
          </p:cNvPr>
          <p:cNvSpPr txBox="1"/>
          <p:nvPr/>
        </p:nvSpPr>
        <p:spPr>
          <a:xfrm>
            <a:off x="5412991" y="3487330"/>
            <a:ext cx="913712"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Planned</a:t>
            </a:r>
          </a:p>
        </p:txBody>
      </p:sp>
    </p:spTree>
    <p:extLst>
      <p:ext uri="{BB962C8B-B14F-4D97-AF65-F5344CB8AC3E}">
        <p14:creationId xmlns:p14="http://schemas.microsoft.com/office/powerpoint/2010/main" val="32281370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9" grpId="0"/>
      <p:bldP spid="10" grpId="0"/>
      <p:bldP spid="11" grpId="0"/>
      <p:bldP spid="17"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3ACC7E-3464-43A0-9B77-A63D1077980B}"/>
              </a:ext>
            </a:extLst>
          </p:cNvPr>
          <p:cNvSpPr>
            <a:spLocks noGrp="1"/>
          </p:cNvSpPr>
          <p:nvPr>
            <p:ph type="title"/>
          </p:nvPr>
        </p:nvSpPr>
        <p:spPr>
          <a:xfrm>
            <a:off x="403413" y="266618"/>
            <a:ext cx="11018520" cy="553998"/>
          </a:xfrm>
        </p:spPr>
        <p:txBody>
          <a:bodyPr/>
          <a:lstStyle/>
          <a:p>
            <a:r>
              <a:rPr lang="en-US" dirty="0"/>
              <a:t>Static Data Masking</a:t>
            </a:r>
          </a:p>
        </p:txBody>
      </p:sp>
      <p:pic>
        <p:nvPicPr>
          <p:cNvPr id="2050" name="Picture 2" descr="Static data masking">
            <a:extLst>
              <a:ext uri="{FF2B5EF4-FFF2-40B4-BE49-F238E27FC236}">
                <a16:creationId xmlns:a16="http://schemas.microsoft.com/office/drawing/2014/main" id="{A0467D90-A83A-46C9-802F-90473448B2F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2024" y="2479221"/>
            <a:ext cx="4795902" cy="2436043"/>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D8DE14EB-90EB-4E89-B133-CD1E7777784D}"/>
              </a:ext>
            </a:extLst>
          </p:cNvPr>
          <p:cNvPicPr>
            <a:picLocks noChangeAspect="1"/>
          </p:cNvPicPr>
          <p:nvPr/>
        </p:nvPicPr>
        <p:blipFill>
          <a:blip r:embed="rId3"/>
          <a:stretch>
            <a:fillRect/>
          </a:stretch>
        </p:blipFill>
        <p:spPr>
          <a:xfrm>
            <a:off x="6894076" y="928465"/>
            <a:ext cx="4795902" cy="2595282"/>
          </a:xfrm>
          <a:prstGeom prst="rect">
            <a:avLst/>
          </a:prstGeom>
        </p:spPr>
      </p:pic>
      <p:sp>
        <p:nvSpPr>
          <p:cNvPr id="5" name="Flowchart: Magnetic Disk 4">
            <a:extLst>
              <a:ext uri="{FF2B5EF4-FFF2-40B4-BE49-F238E27FC236}">
                <a16:creationId xmlns:a16="http://schemas.microsoft.com/office/drawing/2014/main" id="{18D20E96-8837-4648-9CB5-6D2124B62CE9}"/>
              </a:ext>
            </a:extLst>
          </p:cNvPr>
          <p:cNvSpPr/>
          <p:nvPr/>
        </p:nvSpPr>
        <p:spPr bwMode="auto">
          <a:xfrm>
            <a:off x="6974542" y="4595030"/>
            <a:ext cx="2124637" cy="1425389"/>
          </a:xfrm>
          <a:prstGeom prst="flowChartMagneticDisk">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Source database</a:t>
            </a:r>
          </a:p>
        </p:txBody>
      </p:sp>
      <p:cxnSp>
        <p:nvCxnSpPr>
          <p:cNvPr id="9" name="Straight Arrow Connector 8">
            <a:extLst>
              <a:ext uri="{FF2B5EF4-FFF2-40B4-BE49-F238E27FC236}">
                <a16:creationId xmlns:a16="http://schemas.microsoft.com/office/drawing/2014/main" id="{7E1FA4AD-DE47-4FCA-A703-40954CF98E7B}"/>
              </a:ext>
            </a:extLst>
          </p:cNvPr>
          <p:cNvCxnSpPr>
            <a:stCxn id="5" idx="1"/>
            <a:endCxn id="4" idx="2"/>
          </p:cNvCxnSpPr>
          <p:nvPr/>
        </p:nvCxnSpPr>
        <p:spPr>
          <a:xfrm flipV="1">
            <a:off x="8036861" y="3523747"/>
            <a:ext cx="1255166" cy="1071283"/>
          </a:xfrm>
          <a:prstGeom prst="straightConnector1">
            <a:avLst/>
          </a:prstGeom>
          <a:ln w="381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1" name="Flowchart: Magnetic Disk 10">
            <a:extLst>
              <a:ext uri="{FF2B5EF4-FFF2-40B4-BE49-F238E27FC236}">
                <a16:creationId xmlns:a16="http://schemas.microsoft.com/office/drawing/2014/main" id="{8875BE50-F503-4229-9BC9-E1C7B10F49AC}"/>
              </a:ext>
            </a:extLst>
          </p:cNvPr>
          <p:cNvSpPr/>
          <p:nvPr/>
        </p:nvSpPr>
        <p:spPr bwMode="auto">
          <a:xfrm>
            <a:off x="9744636" y="4595029"/>
            <a:ext cx="2124637" cy="1425389"/>
          </a:xfrm>
          <a:prstGeom prst="flowChartMagneticDisk">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Masked database</a:t>
            </a:r>
          </a:p>
        </p:txBody>
      </p:sp>
      <p:cxnSp>
        <p:nvCxnSpPr>
          <p:cNvPr id="12" name="Straight Arrow Connector 11">
            <a:extLst>
              <a:ext uri="{FF2B5EF4-FFF2-40B4-BE49-F238E27FC236}">
                <a16:creationId xmlns:a16="http://schemas.microsoft.com/office/drawing/2014/main" id="{E5BE3862-FD13-4964-986A-BCFB936BC0CF}"/>
              </a:ext>
            </a:extLst>
          </p:cNvPr>
          <p:cNvCxnSpPr>
            <a:cxnSpLocks/>
            <a:stCxn id="4" idx="2"/>
            <a:endCxn id="11" idx="1"/>
          </p:cNvCxnSpPr>
          <p:nvPr/>
        </p:nvCxnSpPr>
        <p:spPr>
          <a:xfrm>
            <a:off x="9292027" y="3523747"/>
            <a:ext cx="1514928" cy="1071282"/>
          </a:xfrm>
          <a:prstGeom prst="straightConnector1">
            <a:avLst/>
          </a:prstGeom>
          <a:ln w="381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0082B6D1-6C31-43E6-917B-5767E3C40929}"/>
              </a:ext>
            </a:extLst>
          </p:cNvPr>
          <p:cNvSpPr txBox="1"/>
          <p:nvPr/>
        </p:nvSpPr>
        <p:spPr>
          <a:xfrm>
            <a:off x="8564826" y="529804"/>
            <a:ext cx="1179810"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SSMS 18.0</a:t>
            </a:r>
          </a:p>
        </p:txBody>
      </p:sp>
      <p:sp>
        <p:nvSpPr>
          <p:cNvPr id="15" name="TextBox 14">
            <a:extLst>
              <a:ext uri="{FF2B5EF4-FFF2-40B4-BE49-F238E27FC236}">
                <a16:creationId xmlns:a16="http://schemas.microsoft.com/office/drawing/2014/main" id="{2220F019-6199-443F-ACC4-04F8DD6E24A4}"/>
              </a:ext>
            </a:extLst>
          </p:cNvPr>
          <p:cNvSpPr txBox="1"/>
          <p:nvPr/>
        </p:nvSpPr>
        <p:spPr>
          <a:xfrm>
            <a:off x="618298" y="5052499"/>
            <a:ext cx="4085798" cy="1538883"/>
          </a:xfrm>
          <a:prstGeom prst="rect">
            <a:avLst/>
          </a:prstGeom>
          <a:noFill/>
        </p:spPr>
        <p:txBody>
          <a:bodyPr wrap="none" lIns="0" tIns="0" rIns="0" bIns="0" rtlCol="0">
            <a:spAutoFit/>
          </a:bodyPr>
          <a:lstStyle/>
          <a:p>
            <a:pPr marL="342900" indent="-342900" algn="l">
              <a:buFont typeface="Arial" panose="020B0604020202020204" pitchFamily="34" charset="0"/>
              <a:buChar char="•"/>
            </a:pPr>
            <a:r>
              <a:rPr lang="en-US" sz="2000" dirty="0">
                <a:gradFill>
                  <a:gsLst>
                    <a:gs pos="2917">
                      <a:schemeClr val="tx1"/>
                    </a:gs>
                    <a:gs pos="30000">
                      <a:schemeClr val="tx1"/>
                    </a:gs>
                  </a:gsLst>
                  <a:lin ang="5400000" scaled="0"/>
                </a:gradFill>
              </a:rPr>
              <a:t>Choose masking functions</a:t>
            </a:r>
          </a:p>
          <a:p>
            <a:pPr marL="342900" indent="-342900" algn="l">
              <a:buFont typeface="Arial" panose="020B0604020202020204" pitchFamily="34" charset="0"/>
              <a:buChar char="•"/>
            </a:pPr>
            <a:r>
              <a:rPr lang="en-US" sz="2000" dirty="0">
                <a:gradFill>
                  <a:gsLst>
                    <a:gs pos="2917">
                      <a:schemeClr val="tx1"/>
                    </a:gs>
                    <a:gs pos="30000">
                      <a:schemeClr val="tx1"/>
                    </a:gs>
                  </a:gsLst>
                  <a:lin ang="5400000" scaled="0"/>
                </a:gradFill>
              </a:rPr>
              <a:t>Save choices to configuration file</a:t>
            </a:r>
          </a:p>
          <a:p>
            <a:pPr marL="342900" indent="-342900" algn="l">
              <a:buFont typeface="Arial" panose="020B0604020202020204" pitchFamily="34" charset="0"/>
              <a:buChar char="•"/>
            </a:pPr>
            <a:r>
              <a:rPr lang="en-US" sz="2000" dirty="0">
                <a:gradFill>
                  <a:gsLst>
                    <a:gs pos="2917">
                      <a:schemeClr val="tx1"/>
                    </a:gs>
                    <a:gs pos="30000">
                      <a:schemeClr val="tx1"/>
                    </a:gs>
                  </a:gsLst>
                  <a:lin ang="5400000" scaled="0"/>
                </a:gradFill>
              </a:rPr>
              <a:t>Some limitations</a:t>
            </a:r>
          </a:p>
          <a:p>
            <a:pPr marL="342900" indent="-342900" algn="l">
              <a:buFont typeface="Arial" panose="020B0604020202020204" pitchFamily="34" charset="0"/>
              <a:buChar char="•"/>
            </a:pPr>
            <a:r>
              <a:rPr lang="en-US" sz="2000" dirty="0">
                <a:gradFill>
                  <a:gsLst>
                    <a:gs pos="2917">
                      <a:schemeClr val="tx1"/>
                    </a:gs>
                    <a:gs pos="30000">
                      <a:schemeClr val="tx1"/>
                    </a:gs>
                  </a:gsLst>
                  <a:lin ang="5400000" scaled="0"/>
                </a:gradFill>
              </a:rPr>
              <a:t>Supports Azure SQL Database</a:t>
            </a:r>
          </a:p>
          <a:p>
            <a:pPr marL="342900" indent="-342900" algn="l">
              <a:buFont typeface="Arial" panose="020B0604020202020204" pitchFamily="34" charset="0"/>
              <a:buChar char="•"/>
            </a:pPr>
            <a:r>
              <a:rPr lang="en-US" sz="2000" dirty="0">
                <a:gradFill>
                  <a:gsLst>
                    <a:gs pos="2917">
                      <a:schemeClr val="tx1"/>
                    </a:gs>
                    <a:gs pos="30000">
                      <a:schemeClr val="tx1"/>
                    </a:gs>
                  </a:gsLst>
                  <a:lin ang="5400000" scaled="0"/>
                </a:gradFill>
              </a:rPr>
              <a:t>Update stats and use TDE</a:t>
            </a:r>
          </a:p>
        </p:txBody>
      </p:sp>
      <p:sp>
        <p:nvSpPr>
          <p:cNvPr id="17" name="Text Placeholder 2">
            <a:extLst>
              <a:ext uri="{FF2B5EF4-FFF2-40B4-BE49-F238E27FC236}">
                <a16:creationId xmlns:a16="http://schemas.microsoft.com/office/drawing/2014/main" id="{953E24D1-59C3-4EF9-9BB9-2EC057064A2E}"/>
              </a:ext>
            </a:extLst>
          </p:cNvPr>
          <p:cNvSpPr txBox="1">
            <a:spLocks/>
          </p:cNvSpPr>
          <p:nvPr/>
        </p:nvSpPr>
        <p:spPr>
          <a:xfrm>
            <a:off x="403413" y="989870"/>
            <a:ext cx="5615313" cy="1236236"/>
          </a:xfrm>
          <a:prstGeom prst="rect">
            <a:avLst/>
          </a:prstGeom>
          <a:solidFill>
            <a:schemeClr val="bg1">
              <a:lumMod val="85000"/>
            </a:schemeClr>
          </a:solidFill>
        </p:spPr>
        <p:txBody>
          <a:bodyPr vert="horz" wrap="square" lIns="0" tIns="0" rIns="0" bIns="0" rtlCol="0">
            <a:spAutoFit/>
          </a:bodyPr>
          <a:lstStyle>
            <a:lvl1pPr marL="228600" marR="0" indent="-228600" algn="l" defTabSz="932742" rtl="0" eaLnBrk="1" fontAlgn="auto" latinLnBrk="0" hangingPunct="1">
              <a:lnSpc>
                <a:spcPct val="100000"/>
              </a:lnSpc>
              <a:spcBef>
                <a:spcPts val="1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2400" b="1" dirty="0"/>
              <a:t>The problem</a:t>
            </a:r>
          </a:p>
          <a:p>
            <a:pPr marL="0" indent="0">
              <a:buFont typeface="Wingdings" panose="05000000000000000000" pitchFamily="2" charset="2"/>
              <a:buNone/>
            </a:pPr>
            <a:r>
              <a:rPr lang="en-US" sz="2400" dirty="0"/>
              <a:t>I need to provide a copy of production data with certain data masked</a:t>
            </a:r>
          </a:p>
        </p:txBody>
      </p:sp>
    </p:spTree>
    <p:extLst>
      <p:ext uri="{BB962C8B-B14F-4D97-AF65-F5344CB8AC3E}">
        <p14:creationId xmlns:p14="http://schemas.microsoft.com/office/powerpoint/2010/main" val="27449881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1"/>
                                        </p:tgtEl>
                                        <p:attrNameLst>
                                          <p:attrName>style.visibility</p:attrName>
                                        </p:attrNameLst>
                                      </p:cBhvr>
                                      <p:to>
                                        <p:strVal val="visible"/>
                                      </p:to>
                                    </p:set>
                                  </p:childTnLst>
                                </p:cTn>
                              </p:par>
                            </p:childTnLst>
                          </p:cTn>
                        </p:par>
                        <p:par>
                          <p:cTn id="25" fill="hold">
                            <p:stCondLst>
                              <p:cond delay="0"/>
                            </p:stCondLst>
                            <p:childTnLst>
                              <p:par>
                                <p:cTn id="26" presetID="1" presetClass="entr" presetSubtype="0" fill="hold" grpId="0" nodeType="afterEffect">
                                  <p:stCondLst>
                                    <p:cond delay="0"/>
                                  </p:stCondLst>
                                  <p:childTnLst>
                                    <p:set>
                                      <p:cBhvr>
                                        <p:cTn id="27"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1" grpId="0" animBg="1"/>
      <p:bldP spid="14" grpId="0"/>
      <p:bldP spid="15"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6" y="2534625"/>
            <a:ext cx="6400800" cy="997196"/>
          </a:xfrm>
        </p:spPr>
        <p:txBody>
          <a:bodyPr/>
          <a:lstStyle/>
          <a:p>
            <a:r>
              <a:rPr lang="en-US" dirty="0"/>
              <a:t>Module 3 Activity: Security and SQL Server</a:t>
            </a:r>
          </a:p>
        </p:txBody>
      </p:sp>
      <p:sp>
        <p:nvSpPr>
          <p:cNvPr id="4" name="Text Placeholder 3"/>
          <p:cNvSpPr>
            <a:spLocks noGrp="1"/>
          </p:cNvSpPr>
          <p:nvPr>
            <p:ph type="body" sz="quarter" idx="12"/>
          </p:nvPr>
        </p:nvSpPr>
        <p:spPr>
          <a:xfrm>
            <a:off x="585216" y="3977319"/>
            <a:ext cx="6400800" cy="307777"/>
          </a:xfrm>
        </p:spPr>
        <p:txBody>
          <a:bodyPr/>
          <a:lstStyle/>
          <a:p>
            <a:r>
              <a:rPr lang="en-US" dirty="0"/>
              <a:t>Static Data Masking</a:t>
            </a:r>
          </a:p>
        </p:txBody>
      </p:sp>
    </p:spTree>
    <p:extLst>
      <p:ext uri="{BB962C8B-B14F-4D97-AF65-F5344CB8AC3E}">
        <p14:creationId xmlns:p14="http://schemas.microsoft.com/office/powerpoint/2010/main" val="7377238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DE104-D85B-43D4-AC99-58903696A798}"/>
              </a:ext>
            </a:extLst>
          </p:cNvPr>
          <p:cNvSpPr>
            <a:spLocks noGrp="1"/>
          </p:cNvSpPr>
          <p:nvPr>
            <p:ph type="title"/>
          </p:nvPr>
        </p:nvSpPr>
        <p:spPr>
          <a:xfrm>
            <a:off x="585216" y="2537210"/>
            <a:ext cx="6400800" cy="997196"/>
          </a:xfrm>
        </p:spPr>
        <p:txBody>
          <a:bodyPr/>
          <a:lstStyle/>
          <a:p>
            <a:r>
              <a:rPr lang="en-US" dirty="0"/>
              <a:t>Module 4: Mission Critical Availability</a:t>
            </a:r>
          </a:p>
        </p:txBody>
      </p:sp>
    </p:spTree>
    <p:extLst>
      <p:ext uri="{BB962C8B-B14F-4D97-AF65-F5344CB8AC3E}">
        <p14:creationId xmlns:p14="http://schemas.microsoft.com/office/powerpoint/2010/main" val="2723179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304EC1A-A7CE-2647-ABB8-844B21BB62CE}"/>
              </a:ext>
            </a:extLst>
          </p:cNvPr>
          <p:cNvSpPr/>
          <p:nvPr/>
        </p:nvSpPr>
        <p:spPr>
          <a:xfrm>
            <a:off x="5175115" y="278398"/>
            <a:ext cx="6736701" cy="622109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2"/>
              </a:solidFill>
              <a:effectLst/>
              <a:uLnTx/>
              <a:uFillTx/>
              <a:latin typeface="Segoe UI"/>
              <a:ea typeface="+mn-ea"/>
              <a:cs typeface="+mn-cs"/>
            </a:endParaRPr>
          </a:p>
        </p:txBody>
      </p:sp>
      <p:sp>
        <p:nvSpPr>
          <p:cNvPr id="10" name="TextBox 9">
            <a:extLst>
              <a:ext uri="{FF2B5EF4-FFF2-40B4-BE49-F238E27FC236}">
                <a16:creationId xmlns:a16="http://schemas.microsoft.com/office/drawing/2014/main" id="{ADE20943-3BAD-4093-967B-EAAA88156D2C}"/>
              </a:ext>
            </a:extLst>
          </p:cNvPr>
          <p:cNvSpPr txBox="1"/>
          <p:nvPr/>
        </p:nvSpPr>
        <p:spPr>
          <a:xfrm>
            <a:off x="5784713" y="609734"/>
            <a:ext cx="5507737" cy="341632"/>
          </a:xfrm>
          <a:prstGeom prst="rect">
            <a:avLst/>
          </a:prstGeom>
          <a:noFill/>
        </p:spPr>
        <p:txBody>
          <a:bodyPr wrap="square" lIns="91440" tIns="45720" rIns="91440" bIns="45720" rtlCol="0">
            <a:spAutoFit/>
          </a:bodyPr>
          <a:lstStyle>
            <a:defPPr>
              <a:defRPr lang="en-US"/>
            </a:defPPr>
            <a:lvl1pPr defTabSz="914400">
              <a:lnSpc>
                <a:spcPct val="90000"/>
              </a:lnSpc>
              <a:spcAft>
                <a:spcPts val="600"/>
              </a:spcAft>
              <a:defRPr sz="1800" kern="0">
                <a:solidFill>
                  <a:srgbClr val="0078D7"/>
                </a:solidFill>
                <a:latin typeface="Segoe UI Semibold" panose="020B0702040204020203" pitchFamily="34" charset="0"/>
                <a:ea typeface="MS PGothic" charset="0"/>
                <a:cs typeface="Segoe UI Semibold" panose="020B0702040204020203" pitchFamily="34" charset="0"/>
              </a:defRPr>
            </a:lvl1pPr>
          </a:lstStyle>
          <a:p>
            <a:pPr algn="ctr"/>
            <a:r>
              <a:rPr lang="en-US" dirty="0"/>
              <a:t>Availability groups on Kubernetes </a:t>
            </a:r>
          </a:p>
        </p:txBody>
      </p:sp>
      <p:sp>
        <p:nvSpPr>
          <p:cNvPr id="3" name="Title 2">
            <a:extLst>
              <a:ext uri="{FF2B5EF4-FFF2-40B4-BE49-F238E27FC236}">
                <a16:creationId xmlns:a16="http://schemas.microsoft.com/office/drawing/2014/main" id="{7DFDEBE8-E81F-4B46-8FF5-2022D3DF8C70}"/>
              </a:ext>
            </a:extLst>
          </p:cNvPr>
          <p:cNvSpPr>
            <a:spLocks noGrp="1"/>
          </p:cNvSpPr>
          <p:nvPr>
            <p:ph type="title"/>
          </p:nvPr>
        </p:nvSpPr>
        <p:spPr>
          <a:xfrm>
            <a:off x="588263" y="457200"/>
            <a:ext cx="4586852" cy="1661993"/>
          </a:xfrm>
        </p:spPr>
        <p:txBody>
          <a:bodyPr/>
          <a:lstStyle/>
          <a:p>
            <a:r>
              <a:rPr lang="en-US" dirty="0"/>
              <a:t>Mission critical availability</a:t>
            </a:r>
            <a:br>
              <a:rPr lang="en-US" dirty="0"/>
            </a:br>
            <a:r>
              <a:rPr lang="en-US" sz="2400" dirty="0">
                <a:solidFill>
                  <a:schemeClr val="accent1"/>
                </a:solidFill>
              </a:rPr>
              <a:t>Keep SQL Server running</a:t>
            </a:r>
            <a:r>
              <a:rPr lang="en-US" dirty="0">
                <a:solidFill>
                  <a:schemeClr val="accent1"/>
                </a:solidFill>
              </a:rPr>
              <a:t> </a:t>
            </a:r>
            <a:endParaRPr lang="en-US" sz="2400" dirty="0"/>
          </a:p>
        </p:txBody>
      </p:sp>
      <p:sp>
        <p:nvSpPr>
          <p:cNvPr id="6" name="Text Placeholder 5"/>
          <p:cNvSpPr>
            <a:spLocks noGrp="1"/>
          </p:cNvSpPr>
          <p:nvPr>
            <p:ph type="body" sz="quarter" idx="10"/>
          </p:nvPr>
        </p:nvSpPr>
        <p:spPr>
          <a:xfrm>
            <a:off x="584201" y="2331261"/>
            <a:ext cx="4260174" cy="3718967"/>
          </a:xfrm>
        </p:spPr>
        <p:txBody>
          <a:bodyPr/>
          <a:lstStyle/>
          <a:p>
            <a:pPr>
              <a:spcBef>
                <a:spcPts val="1000"/>
              </a:spcBef>
            </a:pPr>
            <a:r>
              <a:rPr lang="en-US" sz="2000" dirty="0"/>
              <a:t>Resumable online index creation</a:t>
            </a:r>
          </a:p>
          <a:p>
            <a:pPr>
              <a:spcBef>
                <a:spcPts val="1000"/>
              </a:spcBef>
            </a:pPr>
            <a:r>
              <a:rPr lang="en-US" sz="2000" dirty="0"/>
              <a:t>Online Clustered Columnstore index creation and rebuild</a:t>
            </a:r>
          </a:p>
          <a:p>
            <a:r>
              <a:rPr lang="en-US" dirty="0"/>
              <a:t>Always On availability group enhancements</a:t>
            </a:r>
          </a:p>
          <a:p>
            <a:r>
              <a:rPr lang="en-US" dirty="0"/>
              <a:t>Availability groups on Kubernetes</a:t>
            </a:r>
          </a:p>
          <a:p>
            <a:pPr>
              <a:spcBef>
                <a:spcPts val="1000"/>
              </a:spcBef>
            </a:pPr>
            <a:r>
              <a:rPr lang="en-US" b="1" dirty="0">
                <a:latin typeface="+mj-lt"/>
              </a:rPr>
              <a:t>Accelerated Database Recovery (Planned)</a:t>
            </a:r>
          </a:p>
          <a:p>
            <a:pPr>
              <a:spcBef>
                <a:spcPts val="1000"/>
              </a:spcBef>
            </a:pPr>
            <a:r>
              <a:rPr lang="en-US" b="1" dirty="0">
                <a:latin typeface="+mj-lt"/>
              </a:rPr>
              <a:t>AGs for System Databases (Planned)</a:t>
            </a:r>
          </a:p>
        </p:txBody>
      </p:sp>
      <p:sp>
        <p:nvSpPr>
          <p:cNvPr id="8" name="Rectangle 7">
            <a:extLst>
              <a:ext uri="{FF2B5EF4-FFF2-40B4-BE49-F238E27FC236}">
                <a16:creationId xmlns:a16="http://schemas.microsoft.com/office/drawing/2014/main" id="{30479CBA-FAEE-584C-8313-E41B890A8435}"/>
              </a:ext>
            </a:extLst>
          </p:cNvPr>
          <p:cNvSpPr/>
          <p:nvPr/>
        </p:nvSpPr>
        <p:spPr>
          <a:xfrm>
            <a:off x="6015109" y="3673845"/>
            <a:ext cx="5030264" cy="588145"/>
          </a:xfrm>
          <a:prstGeom prst="rect">
            <a:avLst/>
          </a:prstGeom>
          <a:solidFill>
            <a:schemeClr val="accent1">
              <a:alpha val="10000"/>
            </a:schemeClr>
          </a:solidFill>
          <a:ln w="1270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t" anchorCtr="1"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accent1"/>
                </a:solidFill>
                <a:effectLst/>
                <a:uLnTx/>
                <a:uFillTx/>
                <a:latin typeface="Segoe UI"/>
                <a:ea typeface="+mn-ea"/>
                <a:cs typeface="+mn-cs"/>
              </a:rPr>
              <a:t>AG</a:t>
            </a:r>
          </a:p>
        </p:txBody>
      </p:sp>
      <p:grpSp>
        <p:nvGrpSpPr>
          <p:cNvPr id="57" name="Group 56">
            <a:extLst>
              <a:ext uri="{FF2B5EF4-FFF2-40B4-BE49-F238E27FC236}">
                <a16:creationId xmlns:a16="http://schemas.microsoft.com/office/drawing/2014/main" id="{9E6DDDEF-F4F0-BD4E-9C19-8E856A54DBCD}"/>
              </a:ext>
            </a:extLst>
          </p:cNvPr>
          <p:cNvGrpSpPr/>
          <p:nvPr/>
        </p:nvGrpSpPr>
        <p:grpSpPr>
          <a:xfrm>
            <a:off x="6335598" y="1442289"/>
            <a:ext cx="1401968" cy="1177477"/>
            <a:chOff x="7929992" y="1937589"/>
            <a:chExt cx="1335176" cy="1177477"/>
          </a:xfrm>
        </p:grpSpPr>
        <p:sp>
          <p:nvSpPr>
            <p:cNvPr id="9" name="Rectangle 8">
              <a:extLst>
                <a:ext uri="{FF2B5EF4-FFF2-40B4-BE49-F238E27FC236}">
                  <a16:creationId xmlns:a16="http://schemas.microsoft.com/office/drawing/2014/main" id="{0CCD239A-92BF-CE48-864A-DCE125D227F6}"/>
                </a:ext>
              </a:extLst>
            </p:cNvPr>
            <p:cNvSpPr/>
            <p:nvPr/>
          </p:nvSpPr>
          <p:spPr bwMode="auto">
            <a:xfrm>
              <a:off x="7929992" y="2221899"/>
              <a:ext cx="1335176" cy="893167"/>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prstClr val="white"/>
                </a:solidFill>
                <a:latin typeface="Segoe UI" panose="020B0502040204020203" pitchFamily="34" charset="0"/>
                <a:cs typeface="Segoe UI" panose="020B0502040204020203" pitchFamily="34" charset="0"/>
              </a:endParaRPr>
            </a:p>
          </p:txBody>
        </p:sp>
        <p:sp>
          <p:nvSpPr>
            <p:cNvPr id="11" name="TextBox 10">
              <a:extLst>
                <a:ext uri="{FF2B5EF4-FFF2-40B4-BE49-F238E27FC236}">
                  <a16:creationId xmlns:a16="http://schemas.microsoft.com/office/drawing/2014/main" id="{7AA55975-3FDE-AB49-B5E0-FD8CEC774C0B}"/>
                </a:ext>
              </a:extLst>
            </p:cNvPr>
            <p:cNvSpPr txBox="1"/>
            <p:nvPr/>
          </p:nvSpPr>
          <p:spPr>
            <a:xfrm>
              <a:off x="7929992" y="1937589"/>
              <a:ext cx="561372" cy="276999"/>
            </a:xfrm>
            <a:prstGeom prst="rect">
              <a:avLst/>
            </a:prstGeom>
            <a:noFill/>
          </p:spPr>
          <p:txBody>
            <a:bodyPr wrap="none" lIns="91440" tIns="45720" rIns="91440" bIns="4572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Node</a:t>
              </a:r>
            </a:p>
          </p:txBody>
        </p:sp>
        <p:sp>
          <p:nvSpPr>
            <p:cNvPr id="12" name="Rectangle 11">
              <a:extLst>
                <a:ext uri="{FF2B5EF4-FFF2-40B4-BE49-F238E27FC236}">
                  <a16:creationId xmlns:a16="http://schemas.microsoft.com/office/drawing/2014/main" id="{927311D4-271B-244E-8E2A-644FABF5CA1A}"/>
                </a:ext>
              </a:extLst>
            </p:cNvPr>
            <p:cNvSpPr/>
            <p:nvPr/>
          </p:nvSpPr>
          <p:spPr bwMode="auto">
            <a:xfrm>
              <a:off x="8018486" y="2344783"/>
              <a:ext cx="1176668" cy="619413"/>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r>
                <a:rPr lang="en-US" sz="1000" b="1" dirty="0">
                  <a:solidFill>
                    <a:schemeClr val="tx2"/>
                  </a:solidFill>
                  <a:latin typeface="+mj-lt"/>
                  <a:cs typeface="Segoe UI" panose="020B0502040204020203" pitchFamily="34" charset="0"/>
                </a:rPr>
                <a:t>Pod</a:t>
              </a:r>
            </a:p>
          </p:txBody>
        </p:sp>
        <p:sp>
          <p:nvSpPr>
            <p:cNvPr id="13" name="Rectangle 12">
              <a:extLst>
                <a:ext uri="{FF2B5EF4-FFF2-40B4-BE49-F238E27FC236}">
                  <a16:creationId xmlns:a16="http://schemas.microsoft.com/office/drawing/2014/main" id="{A93CFF41-76A2-4541-9B03-D9FA49773C17}"/>
                </a:ext>
              </a:extLst>
            </p:cNvPr>
            <p:cNvSpPr/>
            <p:nvPr/>
          </p:nvSpPr>
          <p:spPr bwMode="auto">
            <a:xfrm>
              <a:off x="8211334" y="2610704"/>
              <a:ext cx="740148" cy="246221"/>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200"/>
              <a:r>
                <a:rPr lang="en-US" sz="1000" dirty="0">
                  <a:solidFill>
                    <a:schemeClr val="tx1"/>
                  </a:solidFill>
                  <a:latin typeface="Segoe UI" panose="020B0502040204020203" pitchFamily="34" charset="0"/>
                  <a:cs typeface="Segoe UI" panose="020B0502040204020203" pitchFamily="34" charset="0"/>
                </a:rPr>
                <a:t>Operator</a:t>
              </a:r>
            </a:p>
          </p:txBody>
        </p:sp>
      </p:grpSp>
      <p:sp>
        <p:nvSpPr>
          <p:cNvPr id="18" name="TextBox 17">
            <a:extLst>
              <a:ext uri="{FF2B5EF4-FFF2-40B4-BE49-F238E27FC236}">
                <a16:creationId xmlns:a16="http://schemas.microsoft.com/office/drawing/2014/main" id="{A52E3042-0DA3-E449-BA5C-0C794C3AFCCF}"/>
              </a:ext>
            </a:extLst>
          </p:cNvPr>
          <p:cNvSpPr txBox="1"/>
          <p:nvPr/>
        </p:nvSpPr>
        <p:spPr>
          <a:xfrm>
            <a:off x="11222786" y="2307504"/>
            <a:ext cx="618759"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000" dirty="0">
                <a:gradFill>
                  <a:gsLst>
                    <a:gs pos="2917">
                      <a:srgbClr val="1A1A1A"/>
                    </a:gs>
                    <a:gs pos="30000">
                      <a:srgbClr val="1A1A1A"/>
                    </a:gs>
                  </a:gsLst>
                  <a:lin ang="5400000" scaled="0"/>
                </a:gradFill>
                <a:latin typeface="+mj-lt"/>
              </a:rPr>
              <a:t>Reporting </a:t>
            </a:r>
            <a:br>
              <a:rPr lang="en-US" sz="1000" dirty="0">
                <a:gradFill>
                  <a:gsLst>
                    <a:gs pos="2917">
                      <a:srgbClr val="1A1A1A"/>
                    </a:gs>
                    <a:gs pos="30000">
                      <a:srgbClr val="1A1A1A"/>
                    </a:gs>
                  </a:gsLst>
                  <a:lin ang="5400000" scaled="0"/>
                </a:gradFill>
                <a:latin typeface="+mj-lt"/>
              </a:rPr>
            </a:br>
            <a:r>
              <a:rPr lang="en-US" sz="1000" dirty="0">
                <a:gradFill>
                  <a:gsLst>
                    <a:gs pos="2917">
                      <a:srgbClr val="1A1A1A"/>
                    </a:gs>
                    <a:gs pos="30000">
                      <a:srgbClr val="1A1A1A"/>
                    </a:gs>
                  </a:gsLst>
                  <a:lin ang="5400000" scaled="0"/>
                </a:gradFill>
                <a:latin typeface="+mj-lt"/>
              </a:rPr>
              <a:t>app</a:t>
            </a:r>
          </a:p>
        </p:txBody>
      </p:sp>
      <p:sp>
        <p:nvSpPr>
          <p:cNvPr id="34" name="TextBox 33">
            <a:extLst>
              <a:ext uri="{FF2B5EF4-FFF2-40B4-BE49-F238E27FC236}">
                <a16:creationId xmlns:a16="http://schemas.microsoft.com/office/drawing/2014/main" id="{9927CF62-DD5B-3C40-ACE4-60F053D1BDB1}"/>
              </a:ext>
            </a:extLst>
          </p:cNvPr>
          <p:cNvSpPr txBox="1"/>
          <p:nvPr/>
        </p:nvSpPr>
        <p:spPr>
          <a:xfrm>
            <a:off x="5228741" y="5858411"/>
            <a:ext cx="570816"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2917">
                      <a:srgbClr val="1A1A1A"/>
                    </a:gs>
                    <a:gs pos="30000">
                      <a:srgbClr val="1A1A1A"/>
                    </a:gs>
                  </a:gsLst>
                  <a:lin ang="5400000" scaled="0"/>
                </a:gradFill>
                <a:effectLst/>
                <a:uLnTx/>
                <a:uFillTx/>
                <a:latin typeface="+mj-lt"/>
                <a:ea typeface="+mn-ea"/>
                <a:cs typeface="+mn-cs"/>
              </a:rPr>
              <a:t>Primary</a:t>
            </a:r>
            <a:br>
              <a:rPr kumimoji="0" lang="en-US" sz="1000" b="0" i="0" u="none" strike="noStrike" kern="1200" cap="none" spc="0" normalizeH="0" baseline="0" noProof="0" dirty="0">
                <a:ln>
                  <a:noFill/>
                </a:ln>
                <a:gradFill>
                  <a:gsLst>
                    <a:gs pos="2917">
                      <a:srgbClr val="1A1A1A"/>
                    </a:gs>
                    <a:gs pos="30000">
                      <a:srgbClr val="1A1A1A"/>
                    </a:gs>
                  </a:gsLst>
                  <a:lin ang="5400000" scaled="0"/>
                </a:gradFill>
                <a:effectLst/>
                <a:uLnTx/>
                <a:uFillTx/>
                <a:latin typeface="+mj-lt"/>
                <a:ea typeface="+mn-ea"/>
                <a:cs typeface="+mn-cs"/>
              </a:rPr>
            </a:br>
            <a:r>
              <a:rPr kumimoji="0" lang="en-US" sz="1000" b="0" i="0" u="none" strike="noStrike" kern="1200" cap="none" spc="0" normalizeH="0" baseline="0" noProof="0" dirty="0">
                <a:ln>
                  <a:noFill/>
                </a:ln>
                <a:gradFill>
                  <a:gsLst>
                    <a:gs pos="2917">
                      <a:srgbClr val="1A1A1A"/>
                    </a:gs>
                    <a:gs pos="30000">
                      <a:srgbClr val="1A1A1A"/>
                    </a:gs>
                  </a:gsLst>
                  <a:lin ang="5400000" scaled="0"/>
                </a:gradFill>
                <a:effectLst/>
                <a:uLnTx/>
                <a:uFillTx/>
                <a:latin typeface="+mj-lt"/>
                <a:ea typeface="+mn-ea"/>
                <a:cs typeface="+mn-cs"/>
              </a:rPr>
              <a:t>app</a:t>
            </a:r>
          </a:p>
        </p:txBody>
      </p:sp>
      <p:sp>
        <p:nvSpPr>
          <p:cNvPr id="19" name="Rectangle 18">
            <a:extLst>
              <a:ext uri="{FF2B5EF4-FFF2-40B4-BE49-F238E27FC236}">
                <a16:creationId xmlns:a16="http://schemas.microsoft.com/office/drawing/2014/main" id="{6BB124B6-36F8-1E4D-9984-D86DE4F3E98F}"/>
              </a:ext>
            </a:extLst>
          </p:cNvPr>
          <p:cNvSpPr/>
          <p:nvPr/>
        </p:nvSpPr>
        <p:spPr bwMode="auto">
          <a:xfrm>
            <a:off x="6351064" y="3127938"/>
            <a:ext cx="1371037" cy="1677938"/>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prstClr val="white"/>
              </a:solidFill>
              <a:latin typeface="Segoe UI" panose="020B0502040204020203" pitchFamily="34" charset="0"/>
              <a:cs typeface="Segoe UI" panose="020B0502040204020203" pitchFamily="34" charset="0"/>
            </a:endParaRPr>
          </a:p>
        </p:txBody>
      </p:sp>
      <p:sp>
        <p:nvSpPr>
          <p:cNvPr id="20" name="TextBox 19">
            <a:extLst>
              <a:ext uri="{FF2B5EF4-FFF2-40B4-BE49-F238E27FC236}">
                <a16:creationId xmlns:a16="http://schemas.microsoft.com/office/drawing/2014/main" id="{24019F77-40A1-DC4D-91A6-44B8AF17E1A8}"/>
              </a:ext>
            </a:extLst>
          </p:cNvPr>
          <p:cNvSpPr txBox="1"/>
          <p:nvPr/>
        </p:nvSpPr>
        <p:spPr>
          <a:xfrm>
            <a:off x="6347215" y="3111946"/>
            <a:ext cx="561372" cy="276999"/>
          </a:xfrm>
          <a:prstGeom prst="rect">
            <a:avLst/>
          </a:prstGeom>
          <a:noFill/>
        </p:spPr>
        <p:txBody>
          <a:bodyPr wrap="none" lIns="91440" tIns="45720" rIns="91440" bIns="4572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Node</a:t>
            </a:r>
          </a:p>
        </p:txBody>
      </p:sp>
      <p:sp>
        <p:nvSpPr>
          <p:cNvPr id="21" name="Rectangle 20">
            <a:extLst>
              <a:ext uri="{FF2B5EF4-FFF2-40B4-BE49-F238E27FC236}">
                <a16:creationId xmlns:a16="http://schemas.microsoft.com/office/drawing/2014/main" id="{0B892F49-BC1F-3643-8F42-F7E8365387AC}"/>
              </a:ext>
            </a:extLst>
          </p:cNvPr>
          <p:cNvSpPr/>
          <p:nvPr/>
        </p:nvSpPr>
        <p:spPr bwMode="auto">
          <a:xfrm>
            <a:off x="6441021" y="3416817"/>
            <a:ext cx="1191123" cy="1291626"/>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r>
              <a:rPr lang="en-US" sz="1000" b="1" dirty="0">
                <a:solidFill>
                  <a:schemeClr val="tx2"/>
                </a:solidFill>
                <a:latin typeface="+mj-lt"/>
                <a:cs typeface="Segoe UI" panose="020B0502040204020203" pitchFamily="34" charset="0"/>
              </a:rPr>
              <a:t>Pod</a:t>
            </a:r>
          </a:p>
        </p:txBody>
      </p:sp>
      <p:sp>
        <p:nvSpPr>
          <p:cNvPr id="22" name="Rectangle 21">
            <a:extLst>
              <a:ext uri="{FF2B5EF4-FFF2-40B4-BE49-F238E27FC236}">
                <a16:creationId xmlns:a16="http://schemas.microsoft.com/office/drawing/2014/main" id="{DF8E67FE-6F00-AB47-9499-27EB5E89D833}"/>
              </a:ext>
            </a:extLst>
          </p:cNvPr>
          <p:cNvSpPr/>
          <p:nvPr/>
        </p:nvSpPr>
        <p:spPr bwMode="auto">
          <a:xfrm>
            <a:off x="6516247" y="3764976"/>
            <a:ext cx="1040671" cy="400110"/>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lIns="320040" rtlCol="0" anchor="ctr">
            <a:spAutoFit/>
          </a:bodyPr>
          <a:lstStyle/>
          <a:p>
            <a:pPr defTabSz="457200"/>
            <a:r>
              <a:rPr lang="en-US" sz="1000" dirty="0">
                <a:solidFill>
                  <a:schemeClr val="tx1"/>
                </a:solidFill>
                <a:latin typeface="Segoe UI" panose="020B0502040204020203" pitchFamily="34" charset="0"/>
                <a:cs typeface="Segoe UI" panose="020B0502040204020203" pitchFamily="34" charset="0"/>
              </a:rPr>
              <a:t>SQL Server primary</a:t>
            </a:r>
          </a:p>
        </p:txBody>
      </p:sp>
      <p:sp>
        <p:nvSpPr>
          <p:cNvPr id="23" name="Rectangle 22">
            <a:extLst>
              <a:ext uri="{FF2B5EF4-FFF2-40B4-BE49-F238E27FC236}">
                <a16:creationId xmlns:a16="http://schemas.microsoft.com/office/drawing/2014/main" id="{0C5A24E6-E42C-EA42-B271-60A4FBA6B135}"/>
              </a:ext>
            </a:extLst>
          </p:cNvPr>
          <p:cNvSpPr/>
          <p:nvPr/>
        </p:nvSpPr>
        <p:spPr bwMode="auto">
          <a:xfrm>
            <a:off x="6534048" y="4344590"/>
            <a:ext cx="1005068" cy="246221"/>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200"/>
            <a:r>
              <a:rPr lang="en-US" sz="1000" dirty="0">
                <a:solidFill>
                  <a:schemeClr val="tx1"/>
                </a:solidFill>
                <a:latin typeface="Segoe UI" panose="020B0502040204020203" pitchFamily="34" charset="0"/>
                <a:cs typeface="Segoe UI" panose="020B0502040204020203" pitchFamily="34" charset="0"/>
              </a:rPr>
              <a:t>AG agent</a:t>
            </a:r>
          </a:p>
        </p:txBody>
      </p:sp>
      <p:sp>
        <p:nvSpPr>
          <p:cNvPr id="35" name="Freeform 63">
            <a:extLst>
              <a:ext uri="{FF2B5EF4-FFF2-40B4-BE49-F238E27FC236}">
                <a16:creationId xmlns:a16="http://schemas.microsoft.com/office/drawing/2014/main" id="{87706611-4869-5947-AAB1-95FC48418440}"/>
              </a:ext>
            </a:extLst>
          </p:cNvPr>
          <p:cNvSpPr/>
          <p:nvPr/>
        </p:nvSpPr>
        <p:spPr bwMode="auto">
          <a:xfrm>
            <a:off x="6599351" y="3861554"/>
            <a:ext cx="180575" cy="223123"/>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Rectangle 37">
            <a:extLst>
              <a:ext uri="{FF2B5EF4-FFF2-40B4-BE49-F238E27FC236}">
                <a16:creationId xmlns:a16="http://schemas.microsoft.com/office/drawing/2014/main" id="{6F1817F9-B4C0-BF45-AAAB-538752DA81C5}"/>
              </a:ext>
            </a:extLst>
          </p:cNvPr>
          <p:cNvSpPr/>
          <p:nvPr/>
        </p:nvSpPr>
        <p:spPr bwMode="auto">
          <a:xfrm>
            <a:off x="5904414" y="1168401"/>
            <a:ext cx="5204473" cy="5021384"/>
          </a:xfrm>
          <a:prstGeom prst="rect">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9" name="TextBox 38">
            <a:extLst>
              <a:ext uri="{FF2B5EF4-FFF2-40B4-BE49-F238E27FC236}">
                <a16:creationId xmlns:a16="http://schemas.microsoft.com/office/drawing/2014/main" id="{D34AB543-9B39-7C4F-956C-3659623C879E}"/>
              </a:ext>
            </a:extLst>
          </p:cNvPr>
          <p:cNvSpPr txBox="1"/>
          <p:nvPr/>
        </p:nvSpPr>
        <p:spPr>
          <a:xfrm>
            <a:off x="5964343" y="1203380"/>
            <a:ext cx="2326943" cy="184666"/>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gradFill>
                  <a:gsLst>
                    <a:gs pos="2917">
                      <a:srgbClr val="1A1A1A"/>
                    </a:gs>
                    <a:gs pos="30000">
                      <a:srgbClr val="1A1A1A"/>
                    </a:gs>
                  </a:gsLst>
                  <a:lin ang="5400000" scaled="0"/>
                </a:gradFill>
                <a:effectLst/>
                <a:uLnTx/>
                <a:uFillTx/>
                <a:latin typeface="Segoe UI Semibold" panose="020B0502040204020203" pitchFamily="34" charset="0"/>
                <a:cs typeface="Segoe UI Semibold" panose="020B0502040204020203" pitchFamily="34" charset="0"/>
              </a:rPr>
              <a:t>Kubernetes </a:t>
            </a:r>
            <a:r>
              <a:rPr lang="en-US" sz="1200" b="1" dirty="0">
                <a:gradFill>
                  <a:gsLst>
                    <a:gs pos="2917">
                      <a:srgbClr val="1A1A1A"/>
                    </a:gs>
                    <a:gs pos="30000">
                      <a:srgbClr val="1A1A1A"/>
                    </a:gs>
                  </a:gsLst>
                  <a:lin ang="5400000" scaled="0"/>
                </a:gradFill>
                <a:latin typeface="Segoe UI Semibold" panose="020B0502040204020203" pitchFamily="34" charset="0"/>
                <a:cs typeface="Segoe UI Semibold" panose="020B0502040204020203" pitchFamily="34" charset="0"/>
              </a:rPr>
              <a:t>c</a:t>
            </a:r>
            <a:r>
              <a:rPr kumimoji="0" lang="en-US" sz="1200" b="1" u="none" strike="noStrike" kern="1200" cap="none" spc="0" normalizeH="0" baseline="0" noProof="0" dirty="0">
                <a:ln>
                  <a:noFill/>
                </a:ln>
                <a:gradFill>
                  <a:gsLst>
                    <a:gs pos="2917">
                      <a:srgbClr val="1A1A1A"/>
                    </a:gs>
                    <a:gs pos="30000">
                      <a:srgbClr val="1A1A1A"/>
                    </a:gs>
                  </a:gsLst>
                  <a:lin ang="5400000" scaled="0"/>
                </a:gradFill>
                <a:effectLst/>
                <a:uLnTx/>
                <a:uFillTx/>
                <a:latin typeface="Segoe UI Semibold" panose="020B0502040204020203" pitchFamily="34" charset="0"/>
                <a:cs typeface="Segoe UI Semibold" panose="020B0502040204020203" pitchFamily="34" charset="0"/>
              </a:rPr>
              <a:t>luster</a:t>
            </a:r>
          </a:p>
        </p:txBody>
      </p:sp>
      <p:cxnSp>
        <p:nvCxnSpPr>
          <p:cNvPr id="40" name="Straight Arrow Connector 39">
            <a:extLst>
              <a:ext uri="{FF2B5EF4-FFF2-40B4-BE49-F238E27FC236}">
                <a16:creationId xmlns:a16="http://schemas.microsoft.com/office/drawing/2014/main" id="{F2CEFD97-E100-2344-8D11-ED84C72D9AF4}"/>
              </a:ext>
            </a:extLst>
          </p:cNvPr>
          <p:cNvCxnSpPr>
            <a:cxnSpLocks/>
            <a:stCxn id="87" idx="1"/>
            <a:endCxn id="83" idx="3"/>
          </p:cNvCxnSpPr>
          <p:nvPr/>
        </p:nvCxnSpPr>
        <p:spPr>
          <a:xfrm flipH="1">
            <a:off x="10899291" y="2059775"/>
            <a:ext cx="415444" cy="3516"/>
          </a:xfrm>
          <a:prstGeom prst="straightConnector1">
            <a:avLst/>
          </a:prstGeom>
          <a:ln w="1270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BD72A5ED-6366-D54F-AFCC-D1E91173A896}"/>
              </a:ext>
            </a:extLst>
          </p:cNvPr>
          <p:cNvCxnSpPr>
            <a:cxnSpLocks/>
          </p:cNvCxnSpPr>
          <p:nvPr/>
        </p:nvCxnSpPr>
        <p:spPr>
          <a:xfrm flipH="1" flipV="1">
            <a:off x="7040430" y="4805877"/>
            <a:ext cx="5854" cy="646253"/>
          </a:xfrm>
          <a:prstGeom prst="straightConnector1">
            <a:avLst/>
          </a:prstGeom>
          <a:ln w="12700">
            <a:solidFill>
              <a:srgbClr val="0078D7"/>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8B580124-ECA6-9349-A9E9-C1A5233E3184}"/>
              </a:ext>
            </a:extLst>
          </p:cNvPr>
          <p:cNvCxnSpPr>
            <a:cxnSpLocks/>
          </p:cNvCxnSpPr>
          <p:nvPr/>
        </p:nvCxnSpPr>
        <p:spPr>
          <a:xfrm>
            <a:off x="10606400" y="2245871"/>
            <a:ext cx="7428" cy="882067"/>
          </a:xfrm>
          <a:prstGeom prst="straightConnector1">
            <a:avLst/>
          </a:prstGeom>
          <a:ln w="12700">
            <a:solidFill>
              <a:srgbClr val="0078D7"/>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71BB703E-EBB5-9D44-B0EC-054915C2FE64}"/>
              </a:ext>
            </a:extLst>
          </p:cNvPr>
          <p:cNvCxnSpPr>
            <a:cxnSpLocks/>
            <a:stCxn id="9" idx="2"/>
            <a:endCxn id="19" idx="0"/>
          </p:cNvCxnSpPr>
          <p:nvPr/>
        </p:nvCxnSpPr>
        <p:spPr>
          <a:xfrm>
            <a:off x="7036582" y="2619766"/>
            <a:ext cx="1" cy="508172"/>
          </a:xfrm>
          <a:prstGeom prst="line">
            <a:avLst/>
          </a:prstGeom>
          <a:ln w="12700">
            <a:solidFill>
              <a:srgbClr val="0078D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868C1014-66C6-6F40-BA6C-FB54BFBB17EF}"/>
              </a:ext>
            </a:extLst>
          </p:cNvPr>
          <p:cNvSpPr/>
          <p:nvPr/>
        </p:nvSpPr>
        <p:spPr bwMode="auto">
          <a:xfrm>
            <a:off x="6565680" y="5452719"/>
            <a:ext cx="931452" cy="400110"/>
          </a:xfrm>
          <a:prstGeom prst="rect">
            <a:avLst/>
          </a:prstGeom>
          <a:noFill/>
          <a:ln w="19050">
            <a:solidFill>
              <a:schemeClr val="accent2">
                <a:lumMod val="90000"/>
                <a:lumOff val="10000"/>
              </a:schemeClr>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200"/>
            <a:r>
              <a:rPr lang="en-US" sz="1000" dirty="0">
                <a:solidFill>
                  <a:schemeClr val="tx1"/>
                </a:solidFill>
                <a:latin typeface="Segoe UI" panose="020B0502040204020203" pitchFamily="34" charset="0"/>
                <a:cs typeface="Segoe UI" panose="020B0502040204020203" pitchFamily="34" charset="0"/>
              </a:rPr>
              <a:t>Load balancer</a:t>
            </a:r>
          </a:p>
        </p:txBody>
      </p:sp>
      <p:sp>
        <p:nvSpPr>
          <p:cNvPr id="71" name="Rectangle 70">
            <a:extLst>
              <a:ext uri="{FF2B5EF4-FFF2-40B4-BE49-F238E27FC236}">
                <a16:creationId xmlns:a16="http://schemas.microsoft.com/office/drawing/2014/main" id="{85C93B3F-59B0-7F47-B21E-0434E54B4CDE}"/>
              </a:ext>
            </a:extLst>
          </p:cNvPr>
          <p:cNvSpPr/>
          <p:nvPr/>
        </p:nvSpPr>
        <p:spPr bwMode="auto">
          <a:xfrm>
            <a:off x="7957604" y="3127938"/>
            <a:ext cx="1371037" cy="1677938"/>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prstClr val="white"/>
              </a:solidFill>
              <a:latin typeface="Segoe UI" panose="020B0502040204020203" pitchFamily="34" charset="0"/>
              <a:cs typeface="Segoe UI" panose="020B0502040204020203" pitchFamily="34" charset="0"/>
            </a:endParaRPr>
          </a:p>
        </p:txBody>
      </p:sp>
      <p:sp>
        <p:nvSpPr>
          <p:cNvPr id="72" name="TextBox 71">
            <a:extLst>
              <a:ext uri="{FF2B5EF4-FFF2-40B4-BE49-F238E27FC236}">
                <a16:creationId xmlns:a16="http://schemas.microsoft.com/office/drawing/2014/main" id="{90CDF9AE-15BC-0B4E-84F6-26A71F973436}"/>
              </a:ext>
            </a:extLst>
          </p:cNvPr>
          <p:cNvSpPr txBox="1"/>
          <p:nvPr/>
        </p:nvSpPr>
        <p:spPr>
          <a:xfrm>
            <a:off x="7954744" y="3111946"/>
            <a:ext cx="561372" cy="276999"/>
          </a:xfrm>
          <a:prstGeom prst="rect">
            <a:avLst/>
          </a:prstGeom>
          <a:noFill/>
        </p:spPr>
        <p:txBody>
          <a:bodyPr wrap="none" lIns="91440" tIns="45720" rIns="91440" bIns="4572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Node</a:t>
            </a:r>
          </a:p>
        </p:txBody>
      </p:sp>
      <p:sp>
        <p:nvSpPr>
          <p:cNvPr id="73" name="Rectangle 72">
            <a:extLst>
              <a:ext uri="{FF2B5EF4-FFF2-40B4-BE49-F238E27FC236}">
                <a16:creationId xmlns:a16="http://schemas.microsoft.com/office/drawing/2014/main" id="{73302909-689D-AB48-9148-37284FF22EB8}"/>
              </a:ext>
            </a:extLst>
          </p:cNvPr>
          <p:cNvSpPr/>
          <p:nvPr/>
        </p:nvSpPr>
        <p:spPr bwMode="auto">
          <a:xfrm>
            <a:off x="8047561" y="3416817"/>
            <a:ext cx="1191123" cy="1291626"/>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r>
              <a:rPr lang="en-US" sz="1000" b="1" dirty="0">
                <a:solidFill>
                  <a:schemeClr val="tx2"/>
                </a:solidFill>
                <a:latin typeface="+mj-lt"/>
                <a:cs typeface="Segoe UI" panose="020B0502040204020203" pitchFamily="34" charset="0"/>
              </a:rPr>
              <a:t>Pod</a:t>
            </a:r>
          </a:p>
        </p:txBody>
      </p:sp>
      <p:sp>
        <p:nvSpPr>
          <p:cNvPr id="74" name="Rectangle 73">
            <a:extLst>
              <a:ext uri="{FF2B5EF4-FFF2-40B4-BE49-F238E27FC236}">
                <a16:creationId xmlns:a16="http://schemas.microsoft.com/office/drawing/2014/main" id="{599BE885-3CE4-E042-9F10-DEADD0FB7159}"/>
              </a:ext>
            </a:extLst>
          </p:cNvPr>
          <p:cNvSpPr/>
          <p:nvPr/>
        </p:nvSpPr>
        <p:spPr bwMode="auto">
          <a:xfrm>
            <a:off x="8122787" y="3764976"/>
            <a:ext cx="1040671" cy="400110"/>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lIns="320040" rtlCol="0" anchor="ctr">
            <a:spAutoFit/>
          </a:bodyPr>
          <a:lstStyle/>
          <a:p>
            <a:pPr defTabSz="457200"/>
            <a:r>
              <a:rPr lang="en-US" sz="1000" dirty="0">
                <a:solidFill>
                  <a:schemeClr val="tx1"/>
                </a:solidFill>
                <a:latin typeface="Segoe UI" panose="020B0502040204020203" pitchFamily="34" charset="0"/>
                <a:cs typeface="Segoe UI" panose="020B0502040204020203" pitchFamily="34" charset="0"/>
              </a:rPr>
              <a:t>SQL Server secondary</a:t>
            </a:r>
          </a:p>
        </p:txBody>
      </p:sp>
      <p:sp>
        <p:nvSpPr>
          <p:cNvPr id="75" name="Rectangle 74">
            <a:extLst>
              <a:ext uri="{FF2B5EF4-FFF2-40B4-BE49-F238E27FC236}">
                <a16:creationId xmlns:a16="http://schemas.microsoft.com/office/drawing/2014/main" id="{906227A3-E954-4244-BE63-3DD4E8E3464F}"/>
              </a:ext>
            </a:extLst>
          </p:cNvPr>
          <p:cNvSpPr/>
          <p:nvPr/>
        </p:nvSpPr>
        <p:spPr bwMode="auto">
          <a:xfrm>
            <a:off x="8140588" y="4344590"/>
            <a:ext cx="1005068" cy="246221"/>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200"/>
            <a:r>
              <a:rPr lang="en-US" sz="1000" dirty="0">
                <a:solidFill>
                  <a:schemeClr val="tx1"/>
                </a:solidFill>
                <a:latin typeface="Segoe UI" panose="020B0502040204020203" pitchFamily="34" charset="0"/>
                <a:cs typeface="Segoe UI" panose="020B0502040204020203" pitchFamily="34" charset="0"/>
              </a:rPr>
              <a:t>AG agent</a:t>
            </a:r>
          </a:p>
        </p:txBody>
      </p:sp>
      <p:sp>
        <p:nvSpPr>
          <p:cNvPr id="78" name="Rectangle 77">
            <a:extLst>
              <a:ext uri="{FF2B5EF4-FFF2-40B4-BE49-F238E27FC236}">
                <a16:creationId xmlns:a16="http://schemas.microsoft.com/office/drawing/2014/main" id="{450F06FE-8FEB-FD44-9175-57533EC4B178}"/>
              </a:ext>
            </a:extLst>
          </p:cNvPr>
          <p:cNvSpPr/>
          <p:nvPr/>
        </p:nvSpPr>
        <p:spPr bwMode="auto">
          <a:xfrm>
            <a:off x="9590649" y="3120318"/>
            <a:ext cx="1371037" cy="1685558"/>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prstClr val="white"/>
              </a:solidFill>
              <a:latin typeface="Segoe UI" panose="020B0502040204020203" pitchFamily="34" charset="0"/>
              <a:cs typeface="Segoe UI" panose="020B0502040204020203" pitchFamily="34" charset="0"/>
            </a:endParaRPr>
          </a:p>
        </p:txBody>
      </p:sp>
      <p:sp>
        <p:nvSpPr>
          <p:cNvPr id="79" name="TextBox 78">
            <a:extLst>
              <a:ext uri="{FF2B5EF4-FFF2-40B4-BE49-F238E27FC236}">
                <a16:creationId xmlns:a16="http://schemas.microsoft.com/office/drawing/2014/main" id="{4CEF4F96-B143-1E40-9F8D-D55DE4C41A19}"/>
              </a:ext>
            </a:extLst>
          </p:cNvPr>
          <p:cNvSpPr txBox="1"/>
          <p:nvPr/>
        </p:nvSpPr>
        <p:spPr>
          <a:xfrm>
            <a:off x="9596710" y="3111946"/>
            <a:ext cx="561372" cy="276999"/>
          </a:xfrm>
          <a:prstGeom prst="rect">
            <a:avLst/>
          </a:prstGeom>
          <a:noFill/>
        </p:spPr>
        <p:txBody>
          <a:bodyPr wrap="none" lIns="91440" tIns="45720" rIns="91440" bIns="4572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Node</a:t>
            </a:r>
          </a:p>
        </p:txBody>
      </p:sp>
      <p:sp>
        <p:nvSpPr>
          <p:cNvPr id="80" name="Rectangle 79">
            <a:extLst>
              <a:ext uri="{FF2B5EF4-FFF2-40B4-BE49-F238E27FC236}">
                <a16:creationId xmlns:a16="http://schemas.microsoft.com/office/drawing/2014/main" id="{7B7153A3-CF75-DB4A-96C9-ECCAECF79530}"/>
              </a:ext>
            </a:extLst>
          </p:cNvPr>
          <p:cNvSpPr/>
          <p:nvPr/>
        </p:nvSpPr>
        <p:spPr bwMode="auto">
          <a:xfrm>
            <a:off x="9680606" y="3416817"/>
            <a:ext cx="1191123" cy="1291626"/>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r>
              <a:rPr lang="en-US" sz="1000" b="1" dirty="0">
                <a:solidFill>
                  <a:schemeClr val="tx2"/>
                </a:solidFill>
                <a:latin typeface="+mj-lt"/>
                <a:cs typeface="Segoe UI" panose="020B0502040204020203" pitchFamily="34" charset="0"/>
              </a:rPr>
              <a:t>Pod</a:t>
            </a:r>
          </a:p>
        </p:txBody>
      </p:sp>
      <p:sp>
        <p:nvSpPr>
          <p:cNvPr id="81" name="Rectangle 80">
            <a:extLst>
              <a:ext uri="{FF2B5EF4-FFF2-40B4-BE49-F238E27FC236}">
                <a16:creationId xmlns:a16="http://schemas.microsoft.com/office/drawing/2014/main" id="{C11387B4-5E8D-AC40-B606-E4B521C5F301}"/>
              </a:ext>
            </a:extLst>
          </p:cNvPr>
          <p:cNvSpPr/>
          <p:nvPr/>
        </p:nvSpPr>
        <p:spPr bwMode="auto">
          <a:xfrm>
            <a:off x="9743322" y="3764976"/>
            <a:ext cx="1065690" cy="400110"/>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lIns="320040" rtlCol="0" anchor="ctr">
            <a:spAutoFit/>
          </a:bodyPr>
          <a:lstStyle/>
          <a:p>
            <a:pPr defTabSz="457200"/>
            <a:r>
              <a:rPr lang="en-US" sz="1000" dirty="0">
                <a:solidFill>
                  <a:schemeClr val="tx1"/>
                </a:solidFill>
                <a:latin typeface="Segoe UI" panose="020B0502040204020203" pitchFamily="34" charset="0"/>
                <a:cs typeface="Segoe UI" panose="020B0502040204020203" pitchFamily="34" charset="0"/>
              </a:rPr>
              <a:t>SQL Server secondary</a:t>
            </a:r>
          </a:p>
        </p:txBody>
      </p:sp>
      <p:sp>
        <p:nvSpPr>
          <p:cNvPr id="82" name="Rectangle 81">
            <a:extLst>
              <a:ext uri="{FF2B5EF4-FFF2-40B4-BE49-F238E27FC236}">
                <a16:creationId xmlns:a16="http://schemas.microsoft.com/office/drawing/2014/main" id="{7424CBBF-DEAB-694E-AA24-3BC0689B4A47}"/>
              </a:ext>
            </a:extLst>
          </p:cNvPr>
          <p:cNvSpPr/>
          <p:nvPr/>
        </p:nvSpPr>
        <p:spPr bwMode="auto">
          <a:xfrm>
            <a:off x="9773633" y="4344590"/>
            <a:ext cx="1005068" cy="246221"/>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200"/>
            <a:r>
              <a:rPr lang="en-US" sz="1000" dirty="0">
                <a:solidFill>
                  <a:schemeClr val="tx1"/>
                </a:solidFill>
                <a:latin typeface="Segoe UI" panose="020B0502040204020203" pitchFamily="34" charset="0"/>
                <a:cs typeface="Segoe UI" panose="020B0502040204020203" pitchFamily="34" charset="0"/>
              </a:rPr>
              <a:t>AG agent</a:t>
            </a:r>
          </a:p>
        </p:txBody>
      </p:sp>
      <p:cxnSp>
        <p:nvCxnSpPr>
          <p:cNvPr id="97" name="Straight Arrow Connector 96">
            <a:extLst>
              <a:ext uri="{FF2B5EF4-FFF2-40B4-BE49-F238E27FC236}">
                <a16:creationId xmlns:a16="http://schemas.microsoft.com/office/drawing/2014/main" id="{29CE2F97-D213-C440-92EE-EA41762568CD}"/>
              </a:ext>
            </a:extLst>
          </p:cNvPr>
          <p:cNvCxnSpPr>
            <a:cxnSpLocks/>
            <a:stCxn id="53" idx="1"/>
          </p:cNvCxnSpPr>
          <p:nvPr/>
        </p:nvCxnSpPr>
        <p:spPr>
          <a:xfrm flipH="1">
            <a:off x="5731580" y="5652774"/>
            <a:ext cx="834100" cy="0"/>
          </a:xfrm>
          <a:prstGeom prst="straightConnector1">
            <a:avLst/>
          </a:prstGeom>
          <a:ln w="1270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5" name="Freeform 63">
            <a:extLst>
              <a:ext uri="{FF2B5EF4-FFF2-40B4-BE49-F238E27FC236}">
                <a16:creationId xmlns:a16="http://schemas.microsoft.com/office/drawing/2014/main" id="{9D643444-C062-3942-B31D-995A1249D836}"/>
              </a:ext>
            </a:extLst>
          </p:cNvPr>
          <p:cNvSpPr/>
          <p:nvPr/>
        </p:nvSpPr>
        <p:spPr bwMode="auto">
          <a:xfrm>
            <a:off x="8200555" y="3861554"/>
            <a:ext cx="180575" cy="223123"/>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Freeform 63">
            <a:extLst>
              <a:ext uri="{FF2B5EF4-FFF2-40B4-BE49-F238E27FC236}">
                <a16:creationId xmlns:a16="http://schemas.microsoft.com/office/drawing/2014/main" id="{0C974F9C-50C2-F84C-BA52-9C4D10929426}"/>
              </a:ext>
            </a:extLst>
          </p:cNvPr>
          <p:cNvSpPr/>
          <p:nvPr/>
        </p:nvSpPr>
        <p:spPr bwMode="auto">
          <a:xfrm>
            <a:off x="9809729" y="3861554"/>
            <a:ext cx="180575" cy="223123"/>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Multiply 3">
            <a:extLst>
              <a:ext uri="{FF2B5EF4-FFF2-40B4-BE49-F238E27FC236}">
                <a16:creationId xmlns:a16="http://schemas.microsoft.com/office/drawing/2014/main" id="{8A62B52D-95CB-8C4E-977F-7E0141C0C1E7}"/>
              </a:ext>
            </a:extLst>
          </p:cNvPr>
          <p:cNvSpPr/>
          <p:nvPr/>
        </p:nvSpPr>
        <p:spPr bwMode="auto">
          <a:xfrm>
            <a:off x="6541049" y="3434791"/>
            <a:ext cx="1070650" cy="1070650"/>
          </a:xfrm>
          <a:prstGeom prst="mathMultiply">
            <a:avLst>
              <a:gd name="adj1" fmla="val 6836"/>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cxnSp>
        <p:nvCxnSpPr>
          <p:cNvPr id="25" name="Connector: Elbow 24">
            <a:extLst>
              <a:ext uri="{FF2B5EF4-FFF2-40B4-BE49-F238E27FC236}">
                <a16:creationId xmlns:a16="http://schemas.microsoft.com/office/drawing/2014/main" id="{1A42EA53-AD29-4FFB-ACFF-58C8A657938F}"/>
              </a:ext>
            </a:extLst>
          </p:cNvPr>
          <p:cNvCxnSpPr>
            <a:cxnSpLocks/>
            <a:stCxn id="9" idx="2"/>
            <a:endCxn id="71" idx="0"/>
          </p:cNvCxnSpPr>
          <p:nvPr/>
        </p:nvCxnSpPr>
        <p:spPr>
          <a:xfrm rot="16200000" flipH="1">
            <a:off x="7585766" y="2070581"/>
            <a:ext cx="508172" cy="1606541"/>
          </a:xfrm>
          <a:prstGeom prst="bentConnector3">
            <a:avLst>
              <a:gd name="adj1" fmla="val 50000"/>
            </a:avLst>
          </a:prstGeom>
          <a:ln w="12700">
            <a:solidFill>
              <a:srgbClr val="0078D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9" name="Connector: Elbow 58">
            <a:extLst>
              <a:ext uri="{FF2B5EF4-FFF2-40B4-BE49-F238E27FC236}">
                <a16:creationId xmlns:a16="http://schemas.microsoft.com/office/drawing/2014/main" id="{4298A196-1D94-4F61-BC74-8A41809BA852}"/>
              </a:ext>
            </a:extLst>
          </p:cNvPr>
          <p:cNvCxnSpPr>
            <a:cxnSpLocks/>
            <a:stCxn id="9" idx="2"/>
            <a:endCxn id="78" idx="0"/>
          </p:cNvCxnSpPr>
          <p:nvPr/>
        </p:nvCxnSpPr>
        <p:spPr>
          <a:xfrm rot="16200000" flipH="1">
            <a:off x="8406099" y="1250249"/>
            <a:ext cx="500552" cy="3239586"/>
          </a:xfrm>
          <a:prstGeom prst="bentConnector3">
            <a:avLst>
              <a:gd name="adj1" fmla="val 50000"/>
            </a:avLst>
          </a:prstGeom>
          <a:ln w="12700">
            <a:solidFill>
              <a:srgbClr val="0078D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6" name="Connector: Elbow 75">
            <a:extLst>
              <a:ext uri="{FF2B5EF4-FFF2-40B4-BE49-F238E27FC236}">
                <a16:creationId xmlns:a16="http://schemas.microsoft.com/office/drawing/2014/main" id="{EDB4966A-25C5-4B5C-8174-E7E23A83CA92}"/>
              </a:ext>
            </a:extLst>
          </p:cNvPr>
          <p:cNvCxnSpPr>
            <a:cxnSpLocks/>
            <a:stCxn id="53" idx="3"/>
            <a:endCxn id="71" idx="2"/>
          </p:cNvCxnSpPr>
          <p:nvPr/>
        </p:nvCxnSpPr>
        <p:spPr>
          <a:xfrm flipV="1">
            <a:off x="7497132" y="4805876"/>
            <a:ext cx="1145991" cy="846898"/>
          </a:xfrm>
          <a:prstGeom prst="bentConnector2">
            <a:avLst/>
          </a:prstGeom>
          <a:ln w="12700">
            <a:solidFill>
              <a:srgbClr val="0078D7"/>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602F9412-A8A4-4510-8D0F-8A770C952F79}"/>
              </a:ext>
            </a:extLst>
          </p:cNvPr>
          <p:cNvGrpSpPr/>
          <p:nvPr/>
        </p:nvGrpSpPr>
        <p:grpSpPr>
          <a:xfrm>
            <a:off x="5296719" y="5395174"/>
            <a:ext cx="434861" cy="421319"/>
            <a:chOff x="7157554" y="1735934"/>
            <a:chExt cx="397423" cy="398542"/>
          </a:xfrm>
        </p:grpSpPr>
        <p:grpSp>
          <p:nvGrpSpPr>
            <p:cNvPr id="60" name="Group 59">
              <a:extLst>
                <a:ext uri="{FF2B5EF4-FFF2-40B4-BE49-F238E27FC236}">
                  <a16:creationId xmlns:a16="http://schemas.microsoft.com/office/drawing/2014/main" id="{A7ADC9FD-7CE5-489D-A583-68A082AEC44F}"/>
                </a:ext>
              </a:extLst>
            </p:cNvPr>
            <p:cNvGrpSpPr/>
            <p:nvPr/>
          </p:nvGrpSpPr>
          <p:grpSpPr>
            <a:xfrm>
              <a:off x="7157554" y="1735934"/>
              <a:ext cx="397423" cy="398542"/>
              <a:chOff x="2107244" y="1575258"/>
              <a:chExt cx="310993" cy="264555"/>
            </a:xfrm>
            <a:solidFill>
              <a:srgbClr val="0078D7"/>
            </a:solidFill>
          </p:grpSpPr>
          <p:sp>
            <p:nvSpPr>
              <p:cNvPr id="67" name="Rectangle 9">
                <a:extLst>
                  <a:ext uri="{FF2B5EF4-FFF2-40B4-BE49-F238E27FC236}">
                    <a16:creationId xmlns:a16="http://schemas.microsoft.com/office/drawing/2014/main" id="{1C4D5238-B2B6-4751-BF2F-9E5EE3E86871}"/>
                  </a:ext>
                </a:extLst>
              </p:cNvPr>
              <p:cNvSpPr>
                <a:spLocks noChangeArrowheads="1"/>
              </p:cNvSpPr>
              <p:nvPr/>
            </p:nvSpPr>
            <p:spPr bwMode="auto">
              <a:xfrm>
                <a:off x="2107244" y="1575258"/>
                <a:ext cx="310993" cy="264555"/>
              </a:xfrm>
              <a:prstGeom prst="rect">
                <a:avLst/>
              </a:prstGeom>
              <a:grp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sp>
            <p:nvSpPr>
              <p:cNvPr id="69" name="Line 10">
                <a:extLst>
                  <a:ext uri="{FF2B5EF4-FFF2-40B4-BE49-F238E27FC236}">
                    <a16:creationId xmlns:a16="http://schemas.microsoft.com/office/drawing/2014/main" id="{B6E34797-DDAE-41A4-8490-D4270C965FCD}"/>
                  </a:ext>
                </a:extLst>
              </p:cNvPr>
              <p:cNvSpPr>
                <a:spLocks noChangeShapeType="1"/>
              </p:cNvSpPr>
              <p:nvPr/>
            </p:nvSpPr>
            <p:spPr bwMode="auto">
              <a:xfrm flipH="1">
                <a:off x="2107244" y="1647026"/>
                <a:ext cx="310993" cy="0"/>
              </a:xfrm>
              <a:prstGeom prst="line">
                <a:avLst/>
              </a:prstGeom>
              <a:grpFill/>
              <a:ln w="1905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grpSp>
        <p:grpSp>
          <p:nvGrpSpPr>
            <p:cNvPr id="61" name="Group 60">
              <a:extLst>
                <a:ext uri="{FF2B5EF4-FFF2-40B4-BE49-F238E27FC236}">
                  <a16:creationId xmlns:a16="http://schemas.microsoft.com/office/drawing/2014/main" id="{3DCDF7AC-CBD5-4ADE-BAC6-5E6A7B87A450}"/>
                </a:ext>
              </a:extLst>
            </p:cNvPr>
            <p:cNvGrpSpPr/>
            <p:nvPr/>
          </p:nvGrpSpPr>
          <p:grpSpPr>
            <a:xfrm>
              <a:off x="7255156" y="1903738"/>
              <a:ext cx="191394" cy="180132"/>
              <a:chOff x="2198132" y="1701907"/>
              <a:chExt cx="95690" cy="90061"/>
            </a:xfrm>
            <a:solidFill>
              <a:srgbClr val="50E6FF"/>
            </a:solidFill>
          </p:grpSpPr>
          <p:sp>
            <p:nvSpPr>
              <p:cNvPr id="63" name="Freeform 14">
                <a:extLst>
                  <a:ext uri="{FF2B5EF4-FFF2-40B4-BE49-F238E27FC236}">
                    <a16:creationId xmlns:a16="http://schemas.microsoft.com/office/drawing/2014/main" id="{E7B9DCBC-9E2E-4D9F-B9B2-56508BEAE6A3}"/>
                  </a:ext>
                </a:extLst>
              </p:cNvPr>
              <p:cNvSpPr>
                <a:spLocks/>
              </p:cNvSpPr>
              <p:nvPr/>
            </p:nvSpPr>
            <p:spPr bwMode="auto">
              <a:xfrm>
                <a:off x="2198132"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grpFill/>
              <a:ln w="12700" cap="flat">
                <a:solidFill>
                  <a:srgbClr val="0078D7"/>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64" name="Line 15">
                <a:extLst>
                  <a:ext uri="{FF2B5EF4-FFF2-40B4-BE49-F238E27FC236}">
                    <a16:creationId xmlns:a16="http://schemas.microsoft.com/office/drawing/2014/main" id="{639849A9-C4A2-4A71-8A43-556310E35BE9}"/>
                  </a:ext>
                </a:extLst>
              </p:cNvPr>
              <p:cNvSpPr>
                <a:spLocks noChangeShapeType="1"/>
              </p:cNvSpPr>
              <p:nvPr/>
            </p:nvSpPr>
            <p:spPr bwMode="auto">
              <a:xfrm>
                <a:off x="2248542" y="1755381"/>
                <a:ext cx="0" cy="36587"/>
              </a:xfrm>
              <a:prstGeom prst="line">
                <a:avLst/>
              </a:prstGeom>
              <a:grpFill/>
              <a:ln w="12700" cap="flat">
                <a:solidFill>
                  <a:srgbClr val="0078D7"/>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sp>
          <p:nvSpPr>
            <p:cNvPr id="62" name="Oval 61">
              <a:extLst>
                <a:ext uri="{FF2B5EF4-FFF2-40B4-BE49-F238E27FC236}">
                  <a16:creationId xmlns:a16="http://schemas.microsoft.com/office/drawing/2014/main" id="{1AF7569A-C9E9-4C34-B02E-BD3AD61E6CE9}"/>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grpSp>
        <p:nvGrpSpPr>
          <p:cNvPr id="70" name="Group 69">
            <a:extLst>
              <a:ext uri="{FF2B5EF4-FFF2-40B4-BE49-F238E27FC236}">
                <a16:creationId xmlns:a16="http://schemas.microsoft.com/office/drawing/2014/main" id="{916411EB-E209-4DBD-A89C-2D1443FADC11}"/>
              </a:ext>
            </a:extLst>
          </p:cNvPr>
          <p:cNvGrpSpPr/>
          <p:nvPr/>
        </p:nvGrpSpPr>
        <p:grpSpPr>
          <a:xfrm>
            <a:off x="11314735" y="1849115"/>
            <a:ext cx="434861" cy="421319"/>
            <a:chOff x="7157554" y="1735934"/>
            <a:chExt cx="397423" cy="398542"/>
          </a:xfrm>
        </p:grpSpPr>
        <p:grpSp>
          <p:nvGrpSpPr>
            <p:cNvPr id="77" name="Group 76">
              <a:extLst>
                <a:ext uri="{FF2B5EF4-FFF2-40B4-BE49-F238E27FC236}">
                  <a16:creationId xmlns:a16="http://schemas.microsoft.com/office/drawing/2014/main" id="{4BE753FA-8498-492D-86BE-0F9DDA62489F}"/>
                </a:ext>
              </a:extLst>
            </p:cNvPr>
            <p:cNvGrpSpPr/>
            <p:nvPr/>
          </p:nvGrpSpPr>
          <p:grpSpPr>
            <a:xfrm>
              <a:off x="7157554" y="1735934"/>
              <a:ext cx="397423" cy="398542"/>
              <a:chOff x="2107244" y="1575258"/>
              <a:chExt cx="310993" cy="264555"/>
            </a:xfrm>
            <a:solidFill>
              <a:srgbClr val="0078D7"/>
            </a:solidFill>
          </p:grpSpPr>
          <p:sp>
            <p:nvSpPr>
              <p:cNvPr id="87" name="Rectangle 9">
                <a:extLst>
                  <a:ext uri="{FF2B5EF4-FFF2-40B4-BE49-F238E27FC236}">
                    <a16:creationId xmlns:a16="http://schemas.microsoft.com/office/drawing/2014/main" id="{C667EEBF-5BD2-4620-B409-7397C143B0AC}"/>
                  </a:ext>
                </a:extLst>
              </p:cNvPr>
              <p:cNvSpPr>
                <a:spLocks noChangeArrowheads="1"/>
              </p:cNvSpPr>
              <p:nvPr/>
            </p:nvSpPr>
            <p:spPr bwMode="auto">
              <a:xfrm>
                <a:off x="2107244" y="1575258"/>
                <a:ext cx="310993" cy="264555"/>
              </a:xfrm>
              <a:prstGeom prst="rect">
                <a:avLst/>
              </a:prstGeom>
              <a:grp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ctr"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sp>
            <p:nvSpPr>
              <p:cNvPr id="88" name="Line 10">
                <a:extLst>
                  <a:ext uri="{FF2B5EF4-FFF2-40B4-BE49-F238E27FC236}">
                    <a16:creationId xmlns:a16="http://schemas.microsoft.com/office/drawing/2014/main" id="{34063534-9FE0-4D62-8881-4419814E093D}"/>
                  </a:ext>
                </a:extLst>
              </p:cNvPr>
              <p:cNvSpPr>
                <a:spLocks noChangeShapeType="1"/>
              </p:cNvSpPr>
              <p:nvPr/>
            </p:nvSpPr>
            <p:spPr bwMode="auto">
              <a:xfrm flipH="1">
                <a:off x="2107244" y="1647026"/>
                <a:ext cx="310993" cy="0"/>
              </a:xfrm>
              <a:prstGeom prst="line">
                <a:avLst/>
              </a:prstGeom>
              <a:grpFill/>
              <a:ln w="1905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ctr"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grpSp>
        <p:sp>
          <p:nvSpPr>
            <p:cNvPr id="86" name="Line 15">
              <a:extLst>
                <a:ext uri="{FF2B5EF4-FFF2-40B4-BE49-F238E27FC236}">
                  <a16:creationId xmlns:a16="http://schemas.microsoft.com/office/drawing/2014/main" id="{23CB0C1C-C20D-4DBC-ACFD-6A960FB00274}"/>
                </a:ext>
              </a:extLst>
            </p:cNvPr>
            <p:cNvSpPr>
              <a:spLocks noChangeShapeType="1"/>
            </p:cNvSpPr>
            <p:nvPr/>
          </p:nvSpPr>
          <p:spPr bwMode="auto">
            <a:xfrm>
              <a:off x="7365135" y="2010692"/>
              <a:ext cx="0" cy="73178"/>
            </a:xfrm>
            <a:prstGeom prst="line">
              <a:avLst/>
            </a:prstGeom>
            <a:solidFill>
              <a:srgbClr val="50E6FF"/>
            </a:solidFill>
            <a:ln w="12700" cap="flat">
              <a:solidFill>
                <a:srgbClr val="0078D7"/>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84" name="Oval 83">
              <a:extLst>
                <a:ext uri="{FF2B5EF4-FFF2-40B4-BE49-F238E27FC236}">
                  <a16:creationId xmlns:a16="http://schemas.microsoft.com/office/drawing/2014/main" id="{717814C4-62CD-4B51-9AFF-542817933DC9}"/>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85" name="Rectangle 84">
            <a:extLst>
              <a:ext uri="{FF2B5EF4-FFF2-40B4-BE49-F238E27FC236}">
                <a16:creationId xmlns:a16="http://schemas.microsoft.com/office/drawing/2014/main" id="{EC662379-BF93-4C2B-887E-1EB0293C0DAE}"/>
              </a:ext>
            </a:extLst>
          </p:cNvPr>
          <p:cNvSpPr/>
          <p:nvPr/>
        </p:nvSpPr>
        <p:spPr bwMode="auto">
          <a:xfrm>
            <a:off x="8121039" y="3764975"/>
            <a:ext cx="1040671" cy="400110"/>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lIns="320040" rtlCol="0" anchor="ctr">
            <a:spAutoFit/>
          </a:bodyPr>
          <a:lstStyle/>
          <a:p>
            <a:pPr defTabSz="457200"/>
            <a:r>
              <a:rPr lang="en-US" sz="1000" dirty="0">
                <a:solidFill>
                  <a:schemeClr val="tx1"/>
                </a:solidFill>
                <a:latin typeface="Segoe UI" panose="020B0502040204020203" pitchFamily="34" charset="0"/>
                <a:cs typeface="Segoe UI" panose="020B0502040204020203" pitchFamily="34" charset="0"/>
              </a:rPr>
              <a:t>SQL Server primary</a:t>
            </a:r>
          </a:p>
        </p:txBody>
      </p:sp>
      <p:sp>
        <p:nvSpPr>
          <p:cNvPr id="89" name="Rectangle 88">
            <a:extLst>
              <a:ext uri="{FF2B5EF4-FFF2-40B4-BE49-F238E27FC236}">
                <a16:creationId xmlns:a16="http://schemas.microsoft.com/office/drawing/2014/main" id="{41AF4ABE-F05A-4693-A474-D881230B68F0}"/>
              </a:ext>
            </a:extLst>
          </p:cNvPr>
          <p:cNvSpPr/>
          <p:nvPr/>
        </p:nvSpPr>
        <p:spPr bwMode="auto">
          <a:xfrm>
            <a:off x="6517722" y="3766691"/>
            <a:ext cx="1040671" cy="400110"/>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lIns="320040" rtlCol="0" anchor="ctr">
            <a:spAutoFit/>
          </a:bodyPr>
          <a:lstStyle/>
          <a:p>
            <a:pPr defTabSz="457200"/>
            <a:r>
              <a:rPr lang="en-US" sz="1000" dirty="0">
                <a:solidFill>
                  <a:schemeClr val="tx1"/>
                </a:solidFill>
                <a:latin typeface="Segoe UI" panose="020B0502040204020203" pitchFamily="34" charset="0"/>
                <a:cs typeface="Segoe UI" panose="020B0502040204020203" pitchFamily="34" charset="0"/>
              </a:rPr>
              <a:t>SQL Server secondary</a:t>
            </a:r>
          </a:p>
        </p:txBody>
      </p:sp>
      <p:sp>
        <p:nvSpPr>
          <p:cNvPr id="83" name="Rectangle 82">
            <a:extLst>
              <a:ext uri="{FF2B5EF4-FFF2-40B4-BE49-F238E27FC236}">
                <a16:creationId xmlns:a16="http://schemas.microsoft.com/office/drawing/2014/main" id="{566738C9-E1BD-48CB-9987-6EDE32E0C229}"/>
              </a:ext>
            </a:extLst>
          </p:cNvPr>
          <p:cNvSpPr/>
          <p:nvPr/>
        </p:nvSpPr>
        <p:spPr bwMode="auto">
          <a:xfrm>
            <a:off x="9967839" y="1863236"/>
            <a:ext cx="931452" cy="400110"/>
          </a:xfrm>
          <a:prstGeom prst="rect">
            <a:avLst/>
          </a:prstGeom>
          <a:noFill/>
          <a:ln w="19050">
            <a:solidFill>
              <a:schemeClr val="accent2">
                <a:lumMod val="90000"/>
                <a:lumOff val="10000"/>
              </a:schemeClr>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200"/>
            <a:r>
              <a:rPr lang="en-US" sz="1000" dirty="0">
                <a:solidFill>
                  <a:schemeClr val="tx1"/>
                </a:solidFill>
                <a:latin typeface="Segoe UI" panose="020B0502040204020203" pitchFamily="34" charset="0"/>
                <a:cs typeface="Segoe UI" panose="020B0502040204020203" pitchFamily="34" charset="0"/>
              </a:rPr>
              <a:t>Load balancer</a:t>
            </a:r>
          </a:p>
        </p:txBody>
      </p:sp>
      <p:grpSp>
        <p:nvGrpSpPr>
          <p:cNvPr id="142" name="Group 141">
            <a:extLst>
              <a:ext uri="{FF2B5EF4-FFF2-40B4-BE49-F238E27FC236}">
                <a16:creationId xmlns:a16="http://schemas.microsoft.com/office/drawing/2014/main" id="{B2D4E7EF-FF68-461C-9664-A153C298CC21}"/>
              </a:ext>
            </a:extLst>
          </p:cNvPr>
          <p:cNvGrpSpPr/>
          <p:nvPr/>
        </p:nvGrpSpPr>
        <p:grpSpPr>
          <a:xfrm>
            <a:off x="7233465" y="2263347"/>
            <a:ext cx="3200100" cy="848599"/>
            <a:chOff x="7233465" y="2263347"/>
            <a:chExt cx="3200100" cy="848599"/>
          </a:xfrm>
        </p:grpSpPr>
        <p:cxnSp>
          <p:nvCxnSpPr>
            <p:cNvPr id="114" name="Connector: Elbow 113">
              <a:extLst>
                <a:ext uri="{FF2B5EF4-FFF2-40B4-BE49-F238E27FC236}">
                  <a16:creationId xmlns:a16="http://schemas.microsoft.com/office/drawing/2014/main" id="{CBC3401E-A63A-4E8A-8745-2D93F37AFF0D}"/>
                </a:ext>
              </a:extLst>
            </p:cNvPr>
            <p:cNvCxnSpPr>
              <a:cxnSpLocks/>
              <a:stCxn id="83" idx="2"/>
            </p:cNvCxnSpPr>
            <p:nvPr/>
          </p:nvCxnSpPr>
          <p:spPr>
            <a:xfrm rot="5400000">
              <a:off x="8605846" y="890967"/>
              <a:ext cx="455340" cy="3200099"/>
            </a:xfrm>
            <a:prstGeom prst="bentConnector2">
              <a:avLst/>
            </a:prstGeom>
            <a:ln>
              <a:solidFill>
                <a:srgbClr val="0078D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0" name="Straight Arrow Connector 119">
              <a:extLst>
                <a:ext uri="{FF2B5EF4-FFF2-40B4-BE49-F238E27FC236}">
                  <a16:creationId xmlns:a16="http://schemas.microsoft.com/office/drawing/2014/main" id="{8F87D55D-C36F-4897-A898-52E9C4CAA95D}"/>
                </a:ext>
              </a:extLst>
            </p:cNvPr>
            <p:cNvCxnSpPr>
              <a:cxnSpLocks/>
            </p:cNvCxnSpPr>
            <p:nvPr/>
          </p:nvCxnSpPr>
          <p:spPr>
            <a:xfrm flipH="1">
              <a:off x="7233465" y="2718687"/>
              <a:ext cx="2" cy="393259"/>
            </a:xfrm>
            <a:prstGeom prst="straightConnector1">
              <a:avLst/>
            </a:prstGeom>
            <a:ln w="12700">
              <a:solidFill>
                <a:srgbClr val="0078D7"/>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grpSp>
        <p:nvGrpSpPr>
          <p:cNvPr id="141" name="Group 140">
            <a:extLst>
              <a:ext uri="{FF2B5EF4-FFF2-40B4-BE49-F238E27FC236}">
                <a16:creationId xmlns:a16="http://schemas.microsoft.com/office/drawing/2014/main" id="{39AEC6FD-3DA7-43D2-A757-0FE4DC11CB37}"/>
              </a:ext>
            </a:extLst>
          </p:cNvPr>
          <p:cNvGrpSpPr/>
          <p:nvPr/>
        </p:nvGrpSpPr>
        <p:grpSpPr>
          <a:xfrm>
            <a:off x="8840003" y="2261380"/>
            <a:ext cx="1591750" cy="856971"/>
            <a:chOff x="8840003" y="2261380"/>
            <a:chExt cx="1591750" cy="856971"/>
          </a:xfrm>
        </p:grpSpPr>
        <p:cxnSp>
          <p:nvCxnSpPr>
            <p:cNvPr id="133" name="Straight Arrow Connector 132">
              <a:extLst>
                <a:ext uri="{FF2B5EF4-FFF2-40B4-BE49-F238E27FC236}">
                  <a16:creationId xmlns:a16="http://schemas.microsoft.com/office/drawing/2014/main" id="{8B112CFE-3E10-4B1E-A1E8-B916D545961A}"/>
                </a:ext>
              </a:extLst>
            </p:cNvPr>
            <p:cNvCxnSpPr>
              <a:cxnSpLocks/>
            </p:cNvCxnSpPr>
            <p:nvPr/>
          </p:nvCxnSpPr>
          <p:spPr>
            <a:xfrm flipH="1">
              <a:off x="8840003" y="2725092"/>
              <a:ext cx="2" cy="393259"/>
            </a:xfrm>
            <a:prstGeom prst="straightConnector1">
              <a:avLst/>
            </a:prstGeom>
            <a:ln w="12700">
              <a:solidFill>
                <a:srgbClr val="0078D7"/>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38" name="Connector: Elbow 137">
              <a:extLst>
                <a:ext uri="{FF2B5EF4-FFF2-40B4-BE49-F238E27FC236}">
                  <a16:creationId xmlns:a16="http://schemas.microsoft.com/office/drawing/2014/main" id="{9164C372-B415-43A5-AA20-CCE9A70CCE7B}"/>
                </a:ext>
              </a:extLst>
            </p:cNvPr>
            <p:cNvCxnSpPr>
              <a:cxnSpLocks/>
            </p:cNvCxnSpPr>
            <p:nvPr/>
          </p:nvCxnSpPr>
          <p:spPr>
            <a:xfrm rot="10800000" flipV="1">
              <a:off x="8848971" y="2261380"/>
              <a:ext cx="1582782" cy="464546"/>
            </a:xfrm>
            <a:prstGeom prst="bentConnector3">
              <a:avLst>
                <a:gd name="adj1" fmla="val 316"/>
              </a:avLst>
            </a:prstGeom>
            <a:ln>
              <a:solidFill>
                <a:srgbClr val="0078D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495583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26D575-D382-4619-BA7D-CBED1BE81195}"/>
              </a:ext>
            </a:extLst>
          </p:cNvPr>
          <p:cNvSpPr>
            <a:spLocks noGrp="1"/>
          </p:cNvSpPr>
          <p:nvPr>
            <p:ph type="title"/>
          </p:nvPr>
        </p:nvSpPr>
        <p:spPr/>
        <p:txBody>
          <a:bodyPr/>
          <a:lstStyle/>
          <a:p>
            <a:r>
              <a:rPr lang="en-US" dirty="0"/>
              <a:t>Using Online Indexing in SQL Server 2019</a:t>
            </a:r>
          </a:p>
        </p:txBody>
      </p:sp>
      <p:sp>
        <p:nvSpPr>
          <p:cNvPr id="4" name="Text Placeholder 2">
            <a:extLst>
              <a:ext uri="{FF2B5EF4-FFF2-40B4-BE49-F238E27FC236}">
                <a16:creationId xmlns:a16="http://schemas.microsoft.com/office/drawing/2014/main" id="{80857454-2958-4273-80C9-952144791BD4}"/>
              </a:ext>
            </a:extLst>
          </p:cNvPr>
          <p:cNvSpPr txBox="1">
            <a:spLocks/>
          </p:cNvSpPr>
          <p:nvPr/>
        </p:nvSpPr>
        <p:spPr>
          <a:xfrm>
            <a:off x="588263" y="1192426"/>
            <a:ext cx="11744742" cy="866904"/>
          </a:xfrm>
          <a:prstGeom prst="rect">
            <a:avLst/>
          </a:prstGeom>
          <a:solidFill>
            <a:schemeClr val="bg1">
              <a:lumMod val="85000"/>
            </a:schemeClr>
          </a:solidFill>
        </p:spPr>
        <p:txBody>
          <a:bodyPr vert="horz" wrap="square" lIns="0" tIns="0" rIns="0" bIns="0" rtlCol="0">
            <a:spAutoFit/>
          </a:bodyPr>
          <a:lstStyle>
            <a:lvl1pPr marL="228600" marR="0" indent="-228600" algn="l" defTabSz="932742" rtl="0" eaLnBrk="1" fontAlgn="auto" latinLnBrk="0" hangingPunct="1">
              <a:lnSpc>
                <a:spcPct val="100000"/>
              </a:lnSpc>
              <a:spcBef>
                <a:spcPts val="1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2400" b="1" dirty="0"/>
              <a:t>The problem</a:t>
            </a:r>
          </a:p>
          <a:p>
            <a:pPr marL="0" indent="0">
              <a:buFont typeface="Wingdings" panose="05000000000000000000" pitchFamily="2" charset="2"/>
              <a:buNone/>
            </a:pPr>
            <a:r>
              <a:rPr lang="en-US" sz="2400" dirty="0"/>
              <a:t>Index maintenance causes concurrency problems and application downtime</a:t>
            </a:r>
          </a:p>
        </p:txBody>
      </p:sp>
      <p:graphicFrame>
        <p:nvGraphicFramePr>
          <p:cNvPr id="5" name="Diagram 4">
            <a:extLst>
              <a:ext uri="{FF2B5EF4-FFF2-40B4-BE49-F238E27FC236}">
                <a16:creationId xmlns:a16="http://schemas.microsoft.com/office/drawing/2014/main" id="{57E45DC9-29CD-4F31-A6F5-6DF32B7DD58C}"/>
              </a:ext>
            </a:extLst>
          </p:cNvPr>
          <p:cNvGraphicFramePr/>
          <p:nvPr>
            <p:extLst>
              <p:ext uri="{D42A27DB-BD31-4B8C-83A1-F6EECF244321}">
                <p14:modId xmlns:p14="http://schemas.microsoft.com/office/powerpoint/2010/main" val="867537017"/>
              </p:ext>
            </p:extLst>
          </p:nvPr>
        </p:nvGraphicFramePr>
        <p:xfrm>
          <a:off x="588262" y="2554941"/>
          <a:ext cx="11245149" cy="373828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5226406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0305A3-122E-4AE7-8BE5-10955E8B588C}"/>
              </a:ext>
            </a:extLst>
          </p:cNvPr>
          <p:cNvSpPr>
            <a:spLocks noGrp="1"/>
          </p:cNvSpPr>
          <p:nvPr>
            <p:ph type="title"/>
          </p:nvPr>
        </p:nvSpPr>
        <p:spPr/>
        <p:txBody>
          <a:bodyPr/>
          <a:lstStyle/>
          <a:p>
            <a:r>
              <a:rPr lang="en-US" b="0" dirty="0"/>
              <a:t>Always On Availability Group Enhancements</a:t>
            </a:r>
          </a:p>
        </p:txBody>
      </p:sp>
      <p:sp>
        <p:nvSpPr>
          <p:cNvPr id="3" name="Text Placeholder 2">
            <a:extLst>
              <a:ext uri="{FF2B5EF4-FFF2-40B4-BE49-F238E27FC236}">
                <a16:creationId xmlns:a16="http://schemas.microsoft.com/office/drawing/2014/main" id="{0FEF1BF6-1C4E-41D4-9D36-E2D43971EEF5}"/>
              </a:ext>
            </a:extLst>
          </p:cNvPr>
          <p:cNvSpPr>
            <a:spLocks noGrp="1"/>
          </p:cNvSpPr>
          <p:nvPr>
            <p:ph type="body" sz="quarter" idx="10"/>
          </p:nvPr>
        </p:nvSpPr>
        <p:spPr>
          <a:xfrm>
            <a:off x="584200" y="1435497"/>
            <a:ext cx="11018520" cy="3965188"/>
          </a:xfrm>
        </p:spPr>
        <p:txBody>
          <a:bodyPr/>
          <a:lstStyle/>
          <a:p>
            <a:r>
              <a:rPr lang="en-US" sz="3600" dirty="0"/>
              <a:t>Always On Availability Groups Turbocharged</a:t>
            </a:r>
          </a:p>
          <a:p>
            <a:r>
              <a:rPr lang="en-US" sz="3600" dirty="0"/>
              <a:t>Database Health Failover Detection</a:t>
            </a:r>
          </a:p>
          <a:p>
            <a:r>
              <a:rPr lang="en-US" sz="3600" dirty="0"/>
              <a:t>DTC and Cross Database Transaction Support</a:t>
            </a:r>
          </a:p>
          <a:p>
            <a:r>
              <a:rPr lang="en-US" sz="3600" i="1" dirty="0"/>
              <a:t>Clusterless</a:t>
            </a:r>
            <a:r>
              <a:rPr lang="en-US" sz="3600" dirty="0"/>
              <a:t> Availability Groups</a:t>
            </a:r>
          </a:p>
          <a:p>
            <a:r>
              <a:rPr lang="en-US" sz="3600" dirty="0"/>
              <a:t>Five sync replicas</a:t>
            </a:r>
          </a:p>
          <a:p>
            <a:r>
              <a:rPr lang="en-US" sz="3600" dirty="0"/>
              <a:t>Primary Replica Connection Redirection</a:t>
            </a:r>
          </a:p>
        </p:txBody>
      </p:sp>
      <p:sp>
        <p:nvSpPr>
          <p:cNvPr id="4" name="TextBox 3">
            <a:extLst>
              <a:ext uri="{FF2B5EF4-FFF2-40B4-BE49-F238E27FC236}">
                <a16:creationId xmlns:a16="http://schemas.microsoft.com/office/drawing/2014/main" id="{5B79C37B-4B44-426F-80B9-79CEB9CBC692}"/>
              </a:ext>
            </a:extLst>
          </p:cNvPr>
          <p:cNvSpPr txBox="1"/>
          <p:nvPr/>
        </p:nvSpPr>
        <p:spPr>
          <a:xfrm>
            <a:off x="9585063" y="1538343"/>
            <a:ext cx="726161" cy="307777"/>
          </a:xfrm>
          <a:prstGeom prst="rect">
            <a:avLst/>
          </a:prstGeom>
          <a:noFill/>
        </p:spPr>
        <p:txBody>
          <a:bodyPr wrap="none" lIns="0" tIns="0" rIns="0" bIns="0" rtlCol="0">
            <a:spAutoFit/>
          </a:bodyPr>
          <a:lstStyle/>
          <a:p>
            <a:pPr algn="l"/>
            <a:r>
              <a:rPr lang="en-US" sz="2000" dirty="0">
                <a:solidFill>
                  <a:schemeClr val="accent1"/>
                </a:solidFill>
              </a:rPr>
              <a:t>SQL16</a:t>
            </a:r>
          </a:p>
        </p:txBody>
      </p:sp>
      <p:sp>
        <p:nvSpPr>
          <p:cNvPr id="5" name="TextBox 4">
            <a:extLst>
              <a:ext uri="{FF2B5EF4-FFF2-40B4-BE49-F238E27FC236}">
                <a16:creationId xmlns:a16="http://schemas.microsoft.com/office/drawing/2014/main" id="{C05745BF-36EE-4F06-88CD-150A1D4B5731}"/>
              </a:ext>
            </a:extLst>
          </p:cNvPr>
          <p:cNvSpPr txBox="1"/>
          <p:nvPr/>
        </p:nvSpPr>
        <p:spPr>
          <a:xfrm>
            <a:off x="9791253" y="2960145"/>
            <a:ext cx="726161" cy="307777"/>
          </a:xfrm>
          <a:prstGeom prst="rect">
            <a:avLst/>
          </a:prstGeom>
          <a:noFill/>
        </p:spPr>
        <p:txBody>
          <a:bodyPr wrap="none" lIns="0" tIns="0" rIns="0" bIns="0" rtlCol="0">
            <a:spAutoFit/>
          </a:bodyPr>
          <a:lstStyle/>
          <a:p>
            <a:pPr algn="l"/>
            <a:r>
              <a:rPr lang="en-US" sz="2000" dirty="0">
                <a:solidFill>
                  <a:schemeClr val="accent1"/>
                </a:solidFill>
              </a:rPr>
              <a:t>SQL17</a:t>
            </a:r>
          </a:p>
        </p:txBody>
      </p:sp>
      <p:sp>
        <p:nvSpPr>
          <p:cNvPr id="6" name="TextBox 5">
            <a:extLst>
              <a:ext uri="{FF2B5EF4-FFF2-40B4-BE49-F238E27FC236}">
                <a16:creationId xmlns:a16="http://schemas.microsoft.com/office/drawing/2014/main" id="{783518DE-DF0C-4C2C-B646-BD4F21A8378E}"/>
              </a:ext>
            </a:extLst>
          </p:cNvPr>
          <p:cNvSpPr txBox="1"/>
          <p:nvPr/>
        </p:nvSpPr>
        <p:spPr>
          <a:xfrm>
            <a:off x="4295888" y="4278568"/>
            <a:ext cx="726161" cy="307777"/>
          </a:xfrm>
          <a:prstGeom prst="rect">
            <a:avLst/>
          </a:prstGeom>
          <a:noFill/>
        </p:spPr>
        <p:txBody>
          <a:bodyPr wrap="square" lIns="0" tIns="0" rIns="0" bIns="0" rtlCol="0">
            <a:spAutoFit/>
          </a:bodyPr>
          <a:lstStyle/>
          <a:p>
            <a:pPr algn="l"/>
            <a:r>
              <a:rPr lang="en-US" sz="2000" dirty="0">
                <a:solidFill>
                  <a:schemeClr val="accent1"/>
                </a:solidFill>
              </a:rPr>
              <a:t>SQL19</a:t>
            </a:r>
          </a:p>
        </p:txBody>
      </p:sp>
      <p:sp>
        <p:nvSpPr>
          <p:cNvPr id="7" name="TextBox 6">
            <a:extLst>
              <a:ext uri="{FF2B5EF4-FFF2-40B4-BE49-F238E27FC236}">
                <a16:creationId xmlns:a16="http://schemas.microsoft.com/office/drawing/2014/main" id="{DFFD4C6A-D8FA-4384-A87E-DBB90D64CDB2}"/>
              </a:ext>
            </a:extLst>
          </p:cNvPr>
          <p:cNvSpPr txBox="1"/>
          <p:nvPr/>
        </p:nvSpPr>
        <p:spPr>
          <a:xfrm>
            <a:off x="7811844" y="2282414"/>
            <a:ext cx="726161" cy="307777"/>
          </a:xfrm>
          <a:prstGeom prst="rect">
            <a:avLst/>
          </a:prstGeom>
          <a:noFill/>
        </p:spPr>
        <p:txBody>
          <a:bodyPr wrap="none" lIns="0" tIns="0" rIns="0" bIns="0" rtlCol="0">
            <a:spAutoFit/>
          </a:bodyPr>
          <a:lstStyle/>
          <a:p>
            <a:pPr algn="l"/>
            <a:r>
              <a:rPr lang="en-US" sz="2000" dirty="0">
                <a:solidFill>
                  <a:schemeClr val="accent1"/>
                </a:solidFill>
              </a:rPr>
              <a:t>SQL16</a:t>
            </a:r>
          </a:p>
        </p:txBody>
      </p:sp>
      <p:sp>
        <p:nvSpPr>
          <p:cNvPr id="9" name="TextBox 8">
            <a:extLst>
              <a:ext uri="{FF2B5EF4-FFF2-40B4-BE49-F238E27FC236}">
                <a16:creationId xmlns:a16="http://schemas.microsoft.com/office/drawing/2014/main" id="{B79339CE-D9C7-4F61-8D6B-B0CC95730B69}"/>
              </a:ext>
            </a:extLst>
          </p:cNvPr>
          <p:cNvSpPr txBox="1"/>
          <p:nvPr/>
        </p:nvSpPr>
        <p:spPr>
          <a:xfrm>
            <a:off x="8654528" y="4958092"/>
            <a:ext cx="726161" cy="307777"/>
          </a:xfrm>
          <a:prstGeom prst="rect">
            <a:avLst/>
          </a:prstGeom>
          <a:noFill/>
        </p:spPr>
        <p:txBody>
          <a:bodyPr wrap="square" lIns="0" tIns="0" rIns="0" bIns="0" rtlCol="0">
            <a:spAutoFit/>
          </a:bodyPr>
          <a:lstStyle/>
          <a:p>
            <a:pPr algn="l"/>
            <a:r>
              <a:rPr lang="en-US" sz="2000" dirty="0">
                <a:solidFill>
                  <a:schemeClr val="accent1"/>
                </a:solidFill>
              </a:rPr>
              <a:t>SQL19</a:t>
            </a:r>
          </a:p>
        </p:txBody>
      </p:sp>
      <p:sp>
        <p:nvSpPr>
          <p:cNvPr id="10" name="TextBox 9">
            <a:extLst>
              <a:ext uri="{FF2B5EF4-FFF2-40B4-BE49-F238E27FC236}">
                <a16:creationId xmlns:a16="http://schemas.microsoft.com/office/drawing/2014/main" id="{831F7D83-3A04-4813-9DD9-13540881DE31}"/>
              </a:ext>
            </a:extLst>
          </p:cNvPr>
          <p:cNvSpPr txBox="1"/>
          <p:nvPr/>
        </p:nvSpPr>
        <p:spPr>
          <a:xfrm>
            <a:off x="6673328" y="3639669"/>
            <a:ext cx="726161" cy="307777"/>
          </a:xfrm>
          <a:prstGeom prst="rect">
            <a:avLst/>
          </a:prstGeom>
          <a:noFill/>
        </p:spPr>
        <p:txBody>
          <a:bodyPr wrap="none" lIns="0" tIns="0" rIns="0" bIns="0" rtlCol="0">
            <a:spAutoFit/>
          </a:bodyPr>
          <a:lstStyle/>
          <a:p>
            <a:pPr algn="l"/>
            <a:r>
              <a:rPr lang="en-US" sz="2000" dirty="0">
                <a:solidFill>
                  <a:schemeClr val="accent1"/>
                </a:solidFill>
              </a:rPr>
              <a:t>SQL17</a:t>
            </a:r>
          </a:p>
        </p:txBody>
      </p:sp>
    </p:spTree>
    <p:extLst>
      <p:ext uri="{BB962C8B-B14F-4D97-AF65-F5344CB8AC3E}">
        <p14:creationId xmlns:p14="http://schemas.microsoft.com/office/powerpoint/2010/main" val="377362756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DE104-D85B-43D4-AC99-58903696A798}"/>
              </a:ext>
            </a:extLst>
          </p:cNvPr>
          <p:cNvSpPr>
            <a:spLocks noGrp="1"/>
          </p:cNvSpPr>
          <p:nvPr>
            <p:ph type="title"/>
          </p:nvPr>
        </p:nvSpPr>
        <p:spPr>
          <a:xfrm>
            <a:off x="585216" y="2537210"/>
            <a:ext cx="6400800" cy="997196"/>
          </a:xfrm>
        </p:spPr>
        <p:txBody>
          <a:bodyPr/>
          <a:lstStyle/>
          <a:p>
            <a:r>
              <a:rPr lang="en-US" dirty="0"/>
              <a:t>Module 1: Why SQL Server 2019?</a:t>
            </a:r>
          </a:p>
        </p:txBody>
      </p:sp>
    </p:spTree>
    <p:extLst>
      <p:ext uri="{BB962C8B-B14F-4D97-AF65-F5344CB8AC3E}">
        <p14:creationId xmlns:p14="http://schemas.microsoft.com/office/powerpoint/2010/main" val="3986034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59FD69C-9B53-40D9-B71B-3BFBC9B3FF9D}"/>
              </a:ext>
            </a:extLst>
          </p:cNvPr>
          <p:cNvSpPr/>
          <p:nvPr/>
        </p:nvSpPr>
        <p:spPr bwMode="auto">
          <a:xfrm flipH="1">
            <a:off x="5286375" y="0"/>
            <a:ext cx="6905625" cy="6858000"/>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 name="Text Placeholder 14">
            <a:extLst>
              <a:ext uri="{FF2B5EF4-FFF2-40B4-BE49-F238E27FC236}">
                <a16:creationId xmlns:a16="http://schemas.microsoft.com/office/drawing/2014/main" id="{968BCE12-674F-4429-A63D-DD6C84DC4519}"/>
              </a:ext>
            </a:extLst>
          </p:cNvPr>
          <p:cNvSpPr txBox="1">
            <a:spLocks/>
          </p:cNvSpPr>
          <p:nvPr/>
        </p:nvSpPr>
        <p:spPr>
          <a:xfrm>
            <a:off x="188696" y="3234482"/>
            <a:ext cx="4674015" cy="3057247"/>
          </a:xfrm>
          <a:prstGeom prst="rect">
            <a:avLst/>
          </a:prstGeom>
        </p:spPr>
        <p:txBody>
          <a:bodyPr vert="horz" wrap="square" lIns="146304" tIns="91440" rIns="146304" bIns="91440" rtlCol="0">
            <a:spAutoFit/>
          </a:bodyPr>
          <a:lstStyle>
            <a:lvl1pPr marL="0" marR="0" indent="0" algn="l" defTabSz="914192" rtl="0" eaLnBrk="1" fontAlgn="auto" latinLnBrk="0" hangingPunct="1">
              <a:lnSpc>
                <a:spcPct val="100000"/>
              </a:lnSpc>
              <a:spcBef>
                <a:spcPts val="1400"/>
              </a:spcBef>
              <a:spcAft>
                <a:spcPts val="0"/>
              </a:spcAft>
              <a:buClr>
                <a:srgbClr val="0078D7"/>
              </a:buClr>
              <a:buSzPct val="90000"/>
              <a:buFont typeface="Arial" panose="020B0604020202020204" pitchFamily="34" charset="0"/>
              <a:buNone/>
              <a:tabLst/>
              <a:defRPr lang="en-US" sz="1400" kern="1200" spc="100" baseline="0" dirty="0" smtClean="0">
                <a:solidFill>
                  <a:schemeClr val="bg1"/>
                </a:solidFill>
                <a:latin typeface="Segoe UI Semilight" charset="0"/>
                <a:ea typeface="Segoe UI Semilight" charset="0"/>
                <a:cs typeface="Segoe UI Semilight" charset="0"/>
              </a:defRPr>
            </a:lvl1pPr>
            <a:lvl2pPr marL="336080" marR="0" indent="0" algn="l" defTabSz="914192" rtl="0" eaLnBrk="1" fontAlgn="auto" latinLnBrk="0" hangingPunct="1">
              <a:lnSpc>
                <a:spcPct val="90000"/>
              </a:lnSpc>
              <a:spcBef>
                <a:spcPct val="20000"/>
              </a:spcBef>
              <a:spcAft>
                <a:spcPts val="0"/>
              </a:spcAft>
              <a:buClr>
                <a:srgbClr val="0078D7"/>
              </a:buClr>
              <a:buSzPct val="90000"/>
              <a:buFont typeface="Arial" pitchFamily="34" charset="0"/>
              <a:buNone/>
              <a:tabLst/>
              <a:defRPr sz="1400" kern="1200" spc="0" baseline="0">
                <a:solidFill>
                  <a:schemeClr val="bg1"/>
                </a:solidFill>
                <a:latin typeface="+mn-lt"/>
                <a:ea typeface="+mn-ea"/>
                <a:cs typeface="+mn-cs"/>
              </a:defRPr>
            </a:lvl2pPr>
            <a:lvl3pPr marL="560134" marR="0" indent="0" algn="l" defTabSz="914192" rtl="0" eaLnBrk="1" fontAlgn="auto" latinLnBrk="0" hangingPunct="1">
              <a:lnSpc>
                <a:spcPct val="90000"/>
              </a:lnSpc>
              <a:spcBef>
                <a:spcPct val="20000"/>
              </a:spcBef>
              <a:spcAft>
                <a:spcPts val="0"/>
              </a:spcAft>
              <a:buClr>
                <a:srgbClr val="0078D7"/>
              </a:buClr>
              <a:buSzPct val="90000"/>
              <a:buFont typeface="Arial" pitchFamily="34" charset="0"/>
              <a:buNone/>
              <a:tabLst/>
              <a:defRPr sz="1200" kern="1200" spc="0" baseline="0">
                <a:solidFill>
                  <a:schemeClr val="bg1"/>
                </a:solidFill>
                <a:latin typeface="+mn-lt"/>
                <a:ea typeface="+mn-ea"/>
                <a:cs typeface="+mn-cs"/>
              </a:defRPr>
            </a:lvl3pPr>
            <a:lvl4pPr marL="784187" marR="0" indent="0" algn="l" defTabSz="914192" rtl="0" eaLnBrk="1" fontAlgn="auto" latinLnBrk="0" hangingPunct="1">
              <a:lnSpc>
                <a:spcPct val="90000"/>
              </a:lnSpc>
              <a:spcBef>
                <a:spcPct val="20000"/>
              </a:spcBef>
              <a:spcAft>
                <a:spcPts val="0"/>
              </a:spcAft>
              <a:buClr>
                <a:srgbClr val="0078D7"/>
              </a:buClr>
              <a:buSzPct val="90000"/>
              <a:buFont typeface="Arial" pitchFamily="34" charset="0"/>
              <a:buNone/>
              <a:tabLst/>
              <a:defRPr sz="1100" kern="1200" spc="0" baseline="0">
                <a:solidFill>
                  <a:schemeClr val="bg1"/>
                </a:solidFill>
                <a:latin typeface="+mn-lt"/>
                <a:ea typeface="+mn-ea"/>
                <a:cs typeface="+mn-cs"/>
              </a:defRPr>
            </a:lvl4pPr>
            <a:lvl5pPr marL="1008241" marR="0" indent="0" algn="l" defTabSz="914192" rtl="0" eaLnBrk="1" fontAlgn="auto" latinLnBrk="0" hangingPunct="1">
              <a:lnSpc>
                <a:spcPct val="90000"/>
              </a:lnSpc>
              <a:spcBef>
                <a:spcPct val="20000"/>
              </a:spcBef>
              <a:spcAft>
                <a:spcPts val="0"/>
              </a:spcAft>
              <a:buClr>
                <a:srgbClr val="0078D7"/>
              </a:buClr>
              <a:buSzPct val="90000"/>
              <a:buFont typeface="Arial" pitchFamily="34" charset="0"/>
              <a:buNone/>
              <a:tabLst/>
              <a:defRPr sz="1100" kern="1200" spc="0" baseline="0">
                <a:solidFill>
                  <a:schemeClr val="bg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r>
              <a:rPr lang="en-US" sz="2000" dirty="0">
                <a:solidFill>
                  <a:schemeClr val="tx1"/>
                </a:solidFill>
              </a:rPr>
              <a:t>No clustering software required</a:t>
            </a:r>
          </a:p>
          <a:p>
            <a:pPr lvl="0"/>
            <a:r>
              <a:rPr lang="en-US" sz="2000" dirty="0">
                <a:solidFill>
                  <a:schemeClr val="tx1"/>
                </a:solidFill>
              </a:rPr>
              <a:t>Replica support built into the Engine</a:t>
            </a:r>
          </a:p>
          <a:p>
            <a:pPr lvl="0"/>
            <a:r>
              <a:rPr lang="en-US" sz="2000" dirty="0">
                <a:solidFill>
                  <a:schemeClr val="tx1"/>
                </a:solidFill>
              </a:rPr>
              <a:t>Load balancing of readable secondaries</a:t>
            </a:r>
          </a:p>
          <a:p>
            <a:r>
              <a:rPr lang="en-US" sz="2000" dirty="0">
                <a:solidFill>
                  <a:schemeClr val="tx1"/>
                </a:solidFill>
              </a:rPr>
              <a:t>HA and DR for Linux and Windows</a:t>
            </a:r>
          </a:p>
          <a:p>
            <a:r>
              <a:rPr lang="en-US" sz="2000" dirty="0">
                <a:solidFill>
                  <a:schemeClr val="tx1"/>
                </a:solidFill>
              </a:rPr>
              <a:t>Manual failover</a:t>
            </a:r>
          </a:p>
        </p:txBody>
      </p:sp>
      <p:sp>
        <p:nvSpPr>
          <p:cNvPr id="6" name="Rectangle 5">
            <a:extLst>
              <a:ext uri="{FF2B5EF4-FFF2-40B4-BE49-F238E27FC236}">
                <a16:creationId xmlns:a16="http://schemas.microsoft.com/office/drawing/2014/main" id="{BE36FB39-EDAD-4331-83FE-B8A1BB6F971E}"/>
              </a:ext>
            </a:extLst>
          </p:cNvPr>
          <p:cNvSpPr/>
          <p:nvPr/>
        </p:nvSpPr>
        <p:spPr bwMode="auto">
          <a:xfrm>
            <a:off x="5686985" y="2376492"/>
            <a:ext cx="6120324" cy="1379689"/>
          </a:xfrm>
          <a:prstGeom prst="rect">
            <a:avLst/>
          </a:prstGeom>
          <a:noFill/>
          <a:ln w="9525">
            <a:solidFill>
              <a:srgbClr val="D9D9D9"/>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defRPr/>
            </a:pPr>
            <a:endParaRPr lang="en-US" sz="2000" b="1" kern="0" dirty="0">
              <a:solidFill>
                <a:schemeClr val="accent1"/>
              </a:solidFill>
              <a:latin typeface="Segoe UI Light"/>
              <a:ea typeface="Segoe UI" pitchFamily="34" charset="0"/>
              <a:cs typeface="Segoe UI" pitchFamily="34" charset="0"/>
            </a:endParaRPr>
          </a:p>
        </p:txBody>
      </p:sp>
      <p:sp>
        <p:nvSpPr>
          <p:cNvPr id="7" name="Rectangle 6">
            <a:extLst>
              <a:ext uri="{FF2B5EF4-FFF2-40B4-BE49-F238E27FC236}">
                <a16:creationId xmlns:a16="http://schemas.microsoft.com/office/drawing/2014/main" id="{303508E8-DBEB-4D6A-9D8E-A94F3CD1B222}"/>
              </a:ext>
            </a:extLst>
          </p:cNvPr>
          <p:cNvSpPr/>
          <p:nvPr/>
        </p:nvSpPr>
        <p:spPr bwMode="auto">
          <a:xfrm>
            <a:off x="5688760" y="3880035"/>
            <a:ext cx="6118551" cy="1377252"/>
          </a:xfrm>
          <a:prstGeom prst="rect">
            <a:avLst/>
          </a:prstGeom>
          <a:noFill/>
          <a:ln w="9525">
            <a:solidFill>
              <a:srgbClr val="D9D9D9"/>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defRPr/>
            </a:pPr>
            <a:endParaRPr lang="en-US" sz="2000" b="1" kern="0" dirty="0">
              <a:solidFill>
                <a:schemeClr val="accent1"/>
              </a:solidFill>
              <a:latin typeface="Segoe UI Light"/>
              <a:ea typeface="Segoe UI" pitchFamily="34" charset="0"/>
              <a:cs typeface="Segoe UI" pitchFamily="34" charset="0"/>
            </a:endParaRPr>
          </a:p>
        </p:txBody>
      </p:sp>
      <p:sp>
        <p:nvSpPr>
          <p:cNvPr id="8" name="Rectangle 7">
            <a:extLst>
              <a:ext uri="{FF2B5EF4-FFF2-40B4-BE49-F238E27FC236}">
                <a16:creationId xmlns:a16="http://schemas.microsoft.com/office/drawing/2014/main" id="{DA6A3E16-DE4E-47BB-BDE6-537F90219FAA}"/>
              </a:ext>
            </a:extLst>
          </p:cNvPr>
          <p:cNvSpPr/>
          <p:nvPr/>
        </p:nvSpPr>
        <p:spPr>
          <a:xfrm>
            <a:off x="7006248" y="3422872"/>
            <a:ext cx="691290" cy="153888"/>
          </a:xfrm>
          <a:prstGeom prst="rect">
            <a:avLst/>
          </a:prstGeom>
        </p:spPr>
        <p:txBody>
          <a:bodyPr wrap="square" lIns="0" tIns="0" rIns="0" bIns="0" anchor="ctr" anchorCtr="0">
            <a:spAutoFit/>
          </a:bodyPr>
          <a:lstStyle/>
          <a:p>
            <a:pPr algn="ctr" defTabSz="1109367">
              <a:defRPr/>
            </a:pPr>
            <a:r>
              <a:rPr lang="en-US" sz="1000" b="1" kern="0" dirty="0">
                <a:ln>
                  <a:solidFill>
                    <a:srgbClr val="FFFFFF">
                      <a:alpha val="0"/>
                    </a:srgbClr>
                  </a:solidFill>
                </a:ln>
                <a:solidFill>
                  <a:srgbClr val="000000"/>
                </a:solidFill>
                <a:latin typeface="Segoe UI Semibold" charset="0"/>
                <a:ea typeface="Segoe UI Semibold" charset="0"/>
                <a:cs typeface="Segoe UI Semibold" charset="0"/>
              </a:rPr>
              <a:t>Primary</a:t>
            </a:r>
          </a:p>
        </p:txBody>
      </p:sp>
      <p:sp>
        <p:nvSpPr>
          <p:cNvPr id="9" name="Rectangle 8">
            <a:extLst>
              <a:ext uri="{FF2B5EF4-FFF2-40B4-BE49-F238E27FC236}">
                <a16:creationId xmlns:a16="http://schemas.microsoft.com/office/drawing/2014/main" id="{701A7F62-C0CC-4E5E-94A1-73F708540AE3}"/>
              </a:ext>
            </a:extLst>
          </p:cNvPr>
          <p:cNvSpPr/>
          <p:nvPr/>
        </p:nvSpPr>
        <p:spPr>
          <a:xfrm>
            <a:off x="9749679" y="3447146"/>
            <a:ext cx="1581695" cy="153888"/>
          </a:xfrm>
          <a:prstGeom prst="rect">
            <a:avLst/>
          </a:prstGeom>
        </p:spPr>
        <p:txBody>
          <a:bodyPr wrap="square" lIns="0" tIns="0" rIns="0" bIns="0" anchor="ctr" anchorCtr="0">
            <a:spAutoFit/>
          </a:bodyPr>
          <a:lstStyle/>
          <a:p>
            <a:pPr algn="ctr" defTabSz="1109367">
              <a:defRPr/>
            </a:pPr>
            <a:r>
              <a:rPr lang="en-US" sz="1000" b="1" kern="0" dirty="0">
                <a:ln>
                  <a:solidFill>
                    <a:srgbClr val="FFFFFF">
                      <a:alpha val="0"/>
                    </a:srgbClr>
                  </a:solidFill>
                </a:ln>
                <a:solidFill>
                  <a:srgbClr val="000000"/>
                </a:solidFill>
                <a:latin typeface="Segoe UI Semibold" charset="0"/>
                <a:ea typeface="Segoe UI Semibold" charset="0"/>
                <a:cs typeface="Segoe UI Semibold" charset="0"/>
              </a:rPr>
              <a:t>Sync/Async Replicas</a:t>
            </a:r>
          </a:p>
        </p:txBody>
      </p:sp>
      <p:sp>
        <p:nvSpPr>
          <p:cNvPr id="10" name="TextBox 9">
            <a:extLst>
              <a:ext uri="{FF2B5EF4-FFF2-40B4-BE49-F238E27FC236}">
                <a16:creationId xmlns:a16="http://schemas.microsoft.com/office/drawing/2014/main" id="{55721BA1-F102-45FC-BCD0-CE684690D7D8}"/>
              </a:ext>
            </a:extLst>
          </p:cNvPr>
          <p:cNvSpPr txBox="1"/>
          <p:nvPr/>
        </p:nvSpPr>
        <p:spPr>
          <a:xfrm>
            <a:off x="8327310" y="4330173"/>
            <a:ext cx="2119505" cy="138499"/>
          </a:xfrm>
          <a:prstGeom prst="rect">
            <a:avLst/>
          </a:prstGeom>
          <a:noFill/>
        </p:spPr>
        <p:txBody>
          <a:bodyPr wrap="square" lIns="0" tIns="0" rIns="0" bIns="0" rtlCol="0" anchor="ctr" anchorCtr="0">
            <a:spAutoFit/>
          </a:bodyPr>
          <a:lstStyle/>
          <a:p>
            <a:pPr defTabSz="1109367">
              <a:lnSpc>
                <a:spcPct val="90000"/>
              </a:lnSpc>
              <a:defRPr/>
            </a:pPr>
            <a:r>
              <a:rPr lang="en-US" sz="1000" b="1" kern="0" dirty="0">
                <a:ln>
                  <a:solidFill>
                    <a:srgbClr val="FFFFFF">
                      <a:alpha val="0"/>
                    </a:srgbClr>
                  </a:solidFill>
                </a:ln>
                <a:solidFill>
                  <a:srgbClr val="0078D7"/>
                </a:solidFill>
                <a:latin typeface="Segoe UI" charset="0"/>
                <a:ea typeface="Segoe UI" charset="0"/>
                <a:cs typeface="Segoe UI" charset="0"/>
              </a:rPr>
              <a:t>Cross-operating system</a:t>
            </a:r>
          </a:p>
        </p:txBody>
      </p:sp>
      <p:cxnSp>
        <p:nvCxnSpPr>
          <p:cNvPr id="11" name="Straight Arrow Connector 10">
            <a:extLst>
              <a:ext uri="{FF2B5EF4-FFF2-40B4-BE49-F238E27FC236}">
                <a16:creationId xmlns:a16="http://schemas.microsoft.com/office/drawing/2014/main" id="{4DD38DD1-18D8-4986-856A-AF9B21EE753D}"/>
              </a:ext>
            </a:extLst>
          </p:cNvPr>
          <p:cNvCxnSpPr>
            <a:cxnSpLocks/>
          </p:cNvCxnSpPr>
          <p:nvPr/>
        </p:nvCxnSpPr>
        <p:spPr>
          <a:xfrm flipH="1">
            <a:off x="7346757" y="2036851"/>
            <a:ext cx="1" cy="536538"/>
          </a:xfrm>
          <a:prstGeom prst="straightConnector1">
            <a:avLst/>
          </a:prstGeom>
          <a:ln w="12700">
            <a:solidFill>
              <a:schemeClr val="accent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4F38DAA8-9B80-45A0-8396-6EBD55B9073E}"/>
              </a:ext>
            </a:extLst>
          </p:cNvPr>
          <p:cNvCxnSpPr>
            <a:cxnSpLocks/>
          </p:cNvCxnSpPr>
          <p:nvPr/>
        </p:nvCxnSpPr>
        <p:spPr>
          <a:xfrm>
            <a:off x="7727719" y="2954169"/>
            <a:ext cx="2423381" cy="0"/>
          </a:xfrm>
          <a:prstGeom prst="straightConnector1">
            <a:avLst/>
          </a:prstGeom>
          <a:ln w="12700">
            <a:solidFill>
              <a:schemeClr val="accent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19">
            <a:extLst>
              <a:ext uri="{FF2B5EF4-FFF2-40B4-BE49-F238E27FC236}">
                <a16:creationId xmlns:a16="http://schemas.microsoft.com/office/drawing/2014/main" id="{381E25ED-9437-4F68-BF4D-5DF9E8548C64}"/>
              </a:ext>
            </a:extLst>
          </p:cNvPr>
          <p:cNvCxnSpPr>
            <a:cxnSpLocks/>
          </p:cNvCxnSpPr>
          <p:nvPr/>
        </p:nvCxnSpPr>
        <p:spPr>
          <a:xfrm>
            <a:off x="7732064" y="3080631"/>
            <a:ext cx="2430956" cy="1418388"/>
          </a:xfrm>
          <a:prstGeom prst="bentConnector3">
            <a:avLst>
              <a:gd name="adj1" fmla="val 6067"/>
            </a:avLst>
          </a:prstGeom>
          <a:ln w="12700">
            <a:solidFill>
              <a:schemeClr val="accent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098FD7AA-61DB-457B-BB14-A5A9A174B6C2}"/>
              </a:ext>
            </a:extLst>
          </p:cNvPr>
          <p:cNvSpPr txBox="1"/>
          <p:nvPr/>
        </p:nvSpPr>
        <p:spPr>
          <a:xfrm>
            <a:off x="8437665" y="2768315"/>
            <a:ext cx="1054197" cy="138499"/>
          </a:xfrm>
          <a:prstGeom prst="rect">
            <a:avLst/>
          </a:prstGeom>
          <a:noFill/>
        </p:spPr>
        <p:txBody>
          <a:bodyPr wrap="square" lIns="0" tIns="0" rIns="0" bIns="0" rtlCol="0" anchor="ctr" anchorCtr="0">
            <a:spAutoFit/>
          </a:bodyPr>
          <a:lstStyle/>
          <a:p>
            <a:pPr defTabSz="1109367">
              <a:lnSpc>
                <a:spcPct val="90000"/>
              </a:lnSpc>
              <a:defRPr/>
            </a:pPr>
            <a:r>
              <a:rPr lang="en-US" sz="1000" b="1" kern="0" dirty="0">
                <a:ln>
                  <a:solidFill>
                    <a:srgbClr val="FFFFFF">
                      <a:alpha val="0"/>
                    </a:srgbClr>
                  </a:solidFill>
                </a:ln>
                <a:solidFill>
                  <a:srgbClr val="0078D7"/>
                </a:solidFill>
                <a:latin typeface="Segoe UI" charset="0"/>
                <a:ea typeface="Segoe UI" charset="0"/>
                <a:cs typeface="Segoe UI" charset="0"/>
              </a:rPr>
              <a:t>High availability</a:t>
            </a:r>
          </a:p>
        </p:txBody>
      </p:sp>
      <p:sp>
        <p:nvSpPr>
          <p:cNvPr id="15" name="Rectangle 14">
            <a:extLst>
              <a:ext uri="{FF2B5EF4-FFF2-40B4-BE49-F238E27FC236}">
                <a16:creationId xmlns:a16="http://schemas.microsoft.com/office/drawing/2014/main" id="{493FEEF3-EE4E-4EF9-AD75-AC6CDFC8ABA0}"/>
              </a:ext>
            </a:extLst>
          </p:cNvPr>
          <p:cNvSpPr/>
          <p:nvPr/>
        </p:nvSpPr>
        <p:spPr>
          <a:xfrm>
            <a:off x="5671723" y="2460444"/>
            <a:ext cx="1033791" cy="193899"/>
          </a:xfrm>
          <a:prstGeom prst="rect">
            <a:avLst/>
          </a:prstGeom>
        </p:spPr>
        <p:txBody>
          <a:bodyPr wrap="square" lIns="0" tIns="0" rIns="0" bIns="0" anchor="ctr" anchorCtr="0">
            <a:spAutoFit/>
          </a:bodyPr>
          <a:lstStyle/>
          <a:p>
            <a:pPr algn="ctr" defTabSz="1109367">
              <a:lnSpc>
                <a:spcPct val="90000"/>
              </a:lnSpc>
              <a:defRPr/>
            </a:pPr>
            <a:r>
              <a:rPr lang="en-US" sz="1400" b="1" kern="0" dirty="0">
                <a:ln>
                  <a:solidFill>
                    <a:srgbClr val="FFFFFF">
                      <a:alpha val="0"/>
                    </a:srgbClr>
                  </a:solidFill>
                </a:ln>
                <a:solidFill>
                  <a:schemeClr val="accent1"/>
                </a:solidFill>
                <a:latin typeface="Segoe UI"/>
                <a:cs typeface="Segoe UI Semibold" panose="020B0702040204020203" pitchFamily="34" charset="0"/>
              </a:rPr>
              <a:t>Windows</a:t>
            </a:r>
          </a:p>
        </p:txBody>
      </p:sp>
      <p:sp>
        <p:nvSpPr>
          <p:cNvPr id="16" name="Rectangle 15">
            <a:extLst>
              <a:ext uri="{FF2B5EF4-FFF2-40B4-BE49-F238E27FC236}">
                <a16:creationId xmlns:a16="http://schemas.microsoft.com/office/drawing/2014/main" id="{EE5AA6CA-2F5D-4FC5-B7A2-1D07E6ACCFBB}"/>
              </a:ext>
            </a:extLst>
          </p:cNvPr>
          <p:cNvSpPr/>
          <p:nvPr/>
        </p:nvSpPr>
        <p:spPr>
          <a:xfrm>
            <a:off x="5673748" y="3959885"/>
            <a:ext cx="688188" cy="193899"/>
          </a:xfrm>
          <a:prstGeom prst="rect">
            <a:avLst/>
          </a:prstGeom>
        </p:spPr>
        <p:txBody>
          <a:bodyPr wrap="square" lIns="0" tIns="0" rIns="0" bIns="0" anchor="ctr" anchorCtr="0">
            <a:spAutoFit/>
          </a:bodyPr>
          <a:lstStyle/>
          <a:p>
            <a:pPr algn="ctr" defTabSz="1109367">
              <a:lnSpc>
                <a:spcPct val="90000"/>
              </a:lnSpc>
              <a:defRPr/>
            </a:pPr>
            <a:r>
              <a:rPr lang="en-US" sz="1400" b="1" kern="0" dirty="0">
                <a:ln>
                  <a:solidFill>
                    <a:srgbClr val="FFFFFF">
                      <a:alpha val="0"/>
                    </a:srgbClr>
                  </a:solidFill>
                </a:ln>
                <a:solidFill>
                  <a:schemeClr val="accent1"/>
                </a:solidFill>
                <a:latin typeface="Segoe UI"/>
                <a:cs typeface="Segoe UI Semibold" panose="020B0702040204020203" pitchFamily="34" charset="0"/>
              </a:rPr>
              <a:t>Linux</a:t>
            </a:r>
          </a:p>
        </p:txBody>
      </p:sp>
      <p:sp>
        <p:nvSpPr>
          <p:cNvPr id="17" name="Rectangle 16">
            <a:extLst>
              <a:ext uri="{FF2B5EF4-FFF2-40B4-BE49-F238E27FC236}">
                <a16:creationId xmlns:a16="http://schemas.microsoft.com/office/drawing/2014/main" id="{62A1A017-354C-4D2C-BFAB-F48901F365AD}"/>
              </a:ext>
            </a:extLst>
          </p:cNvPr>
          <p:cNvSpPr/>
          <p:nvPr/>
        </p:nvSpPr>
        <p:spPr>
          <a:xfrm>
            <a:off x="9762396" y="4975236"/>
            <a:ext cx="1581695" cy="153888"/>
          </a:xfrm>
          <a:prstGeom prst="rect">
            <a:avLst/>
          </a:prstGeom>
        </p:spPr>
        <p:txBody>
          <a:bodyPr wrap="square" lIns="0" tIns="0" rIns="0" bIns="0" anchor="ctr" anchorCtr="0">
            <a:spAutoFit/>
          </a:bodyPr>
          <a:lstStyle/>
          <a:p>
            <a:pPr algn="ctr" defTabSz="1109367">
              <a:defRPr/>
            </a:pPr>
            <a:r>
              <a:rPr lang="en-US" sz="1000" b="1" kern="0" dirty="0">
                <a:ln>
                  <a:solidFill>
                    <a:srgbClr val="FFFFFF">
                      <a:alpha val="0"/>
                    </a:srgbClr>
                  </a:solidFill>
                </a:ln>
                <a:solidFill>
                  <a:srgbClr val="000000"/>
                </a:solidFill>
                <a:latin typeface="Segoe UI Semibold" charset="0"/>
                <a:ea typeface="Segoe UI Semibold" charset="0"/>
                <a:cs typeface="Segoe UI Semibold" charset="0"/>
              </a:rPr>
              <a:t>Sync/Async Replicas</a:t>
            </a:r>
          </a:p>
        </p:txBody>
      </p:sp>
      <p:grpSp>
        <p:nvGrpSpPr>
          <p:cNvPr id="18" name="Group 17">
            <a:extLst>
              <a:ext uri="{FF2B5EF4-FFF2-40B4-BE49-F238E27FC236}">
                <a16:creationId xmlns:a16="http://schemas.microsoft.com/office/drawing/2014/main" id="{666213BF-2236-4F3C-8904-EFAC181E6E2F}"/>
              </a:ext>
            </a:extLst>
          </p:cNvPr>
          <p:cNvGrpSpPr/>
          <p:nvPr/>
        </p:nvGrpSpPr>
        <p:grpSpPr>
          <a:xfrm>
            <a:off x="6817012" y="1126529"/>
            <a:ext cx="1112923" cy="790397"/>
            <a:chOff x="6817114" y="1983958"/>
            <a:chExt cx="1113080" cy="790509"/>
          </a:xfrm>
        </p:grpSpPr>
        <p:grpSp>
          <p:nvGrpSpPr>
            <p:cNvPr id="19" name="Group 4">
              <a:extLst>
                <a:ext uri="{FF2B5EF4-FFF2-40B4-BE49-F238E27FC236}">
                  <a16:creationId xmlns:a16="http://schemas.microsoft.com/office/drawing/2014/main" id="{828F3636-37AA-4E76-968C-A12EC084D221}"/>
                </a:ext>
              </a:extLst>
            </p:cNvPr>
            <p:cNvGrpSpPr>
              <a:grpSpLocks noChangeAspect="1"/>
            </p:cNvGrpSpPr>
            <p:nvPr/>
          </p:nvGrpSpPr>
          <p:grpSpPr bwMode="auto">
            <a:xfrm>
              <a:off x="6817114" y="1983958"/>
              <a:ext cx="1113080" cy="790509"/>
              <a:chOff x="3794" y="2083"/>
              <a:chExt cx="245" cy="174"/>
            </a:xfrm>
          </p:grpSpPr>
          <p:sp>
            <p:nvSpPr>
              <p:cNvPr id="21" name="Rectangle 20">
                <a:extLst>
                  <a:ext uri="{FF2B5EF4-FFF2-40B4-BE49-F238E27FC236}">
                    <a16:creationId xmlns:a16="http://schemas.microsoft.com/office/drawing/2014/main" id="{C5544B39-6123-42EC-9637-A53D705EC048}"/>
                  </a:ext>
                </a:extLst>
              </p:cNvPr>
              <p:cNvSpPr>
                <a:spLocks noChangeArrowheads="1"/>
              </p:cNvSpPr>
              <p:nvPr/>
            </p:nvSpPr>
            <p:spPr bwMode="auto">
              <a:xfrm>
                <a:off x="3794" y="2083"/>
                <a:ext cx="245" cy="138"/>
              </a:xfrm>
              <a:prstGeom prst="rect">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dirty="0">
                  <a:solidFill>
                    <a:srgbClr val="505050"/>
                  </a:solidFill>
                  <a:latin typeface="Segoe UI Semilight"/>
                </a:endParaRPr>
              </a:p>
            </p:txBody>
          </p:sp>
          <p:sp>
            <p:nvSpPr>
              <p:cNvPr id="22" name="Line 7">
                <a:extLst>
                  <a:ext uri="{FF2B5EF4-FFF2-40B4-BE49-F238E27FC236}">
                    <a16:creationId xmlns:a16="http://schemas.microsoft.com/office/drawing/2014/main" id="{1D19CE19-F39D-446A-AD14-E5DA011DAD43}"/>
                  </a:ext>
                </a:extLst>
              </p:cNvPr>
              <p:cNvSpPr>
                <a:spLocks noChangeShapeType="1"/>
              </p:cNvSpPr>
              <p:nvPr/>
            </p:nvSpPr>
            <p:spPr bwMode="auto">
              <a:xfrm>
                <a:off x="3916" y="2221"/>
                <a:ext cx="0" cy="36"/>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dirty="0">
                  <a:solidFill>
                    <a:srgbClr val="505050"/>
                  </a:solidFill>
                  <a:latin typeface="Segoe UI Semilight"/>
                </a:endParaRPr>
              </a:p>
            </p:txBody>
          </p:sp>
          <p:sp>
            <p:nvSpPr>
              <p:cNvPr id="23" name="Line 8">
                <a:extLst>
                  <a:ext uri="{FF2B5EF4-FFF2-40B4-BE49-F238E27FC236}">
                    <a16:creationId xmlns:a16="http://schemas.microsoft.com/office/drawing/2014/main" id="{77AC0C4D-DEF1-49CB-AA5A-1A2BCBDF25A7}"/>
                  </a:ext>
                </a:extLst>
              </p:cNvPr>
              <p:cNvSpPr>
                <a:spLocks noChangeShapeType="1"/>
              </p:cNvSpPr>
              <p:nvPr/>
            </p:nvSpPr>
            <p:spPr bwMode="auto">
              <a:xfrm>
                <a:off x="3874" y="2257"/>
                <a:ext cx="86" cy="0"/>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dirty="0">
                  <a:solidFill>
                    <a:srgbClr val="505050"/>
                  </a:solidFill>
                  <a:latin typeface="Segoe UI Semilight"/>
                </a:endParaRPr>
              </a:p>
            </p:txBody>
          </p:sp>
        </p:grpSp>
        <p:cxnSp>
          <p:nvCxnSpPr>
            <p:cNvPr id="20" name="Straight Connector 19">
              <a:extLst>
                <a:ext uri="{FF2B5EF4-FFF2-40B4-BE49-F238E27FC236}">
                  <a16:creationId xmlns:a16="http://schemas.microsoft.com/office/drawing/2014/main" id="{56E45AA9-E1C5-4696-8CC0-2F0B2189F756}"/>
                </a:ext>
              </a:extLst>
            </p:cNvPr>
            <p:cNvCxnSpPr/>
            <p:nvPr/>
          </p:nvCxnSpPr>
          <p:spPr>
            <a:xfrm flipV="1">
              <a:off x="7226188" y="2120112"/>
              <a:ext cx="339866" cy="339866"/>
            </a:xfrm>
            <a:prstGeom prst="line">
              <a:avLst/>
            </a:prstGeom>
            <a:ln w="254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grpSp>
      <p:sp>
        <p:nvSpPr>
          <p:cNvPr id="24" name="Freeform 57">
            <a:extLst>
              <a:ext uri="{FF2B5EF4-FFF2-40B4-BE49-F238E27FC236}">
                <a16:creationId xmlns:a16="http://schemas.microsoft.com/office/drawing/2014/main" id="{7181E347-CDB8-4009-8880-22726047A985}"/>
              </a:ext>
            </a:extLst>
          </p:cNvPr>
          <p:cNvSpPr/>
          <p:nvPr/>
        </p:nvSpPr>
        <p:spPr bwMode="auto">
          <a:xfrm>
            <a:off x="7058619" y="2631355"/>
            <a:ext cx="572623" cy="734417"/>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Freeform 58">
            <a:extLst>
              <a:ext uri="{FF2B5EF4-FFF2-40B4-BE49-F238E27FC236}">
                <a16:creationId xmlns:a16="http://schemas.microsoft.com/office/drawing/2014/main" id="{2630E2AB-0729-429C-8965-CD927DD702FE}"/>
              </a:ext>
            </a:extLst>
          </p:cNvPr>
          <p:cNvSpPr/>
          <p:nvPr/>
        </p:nvSpPr>
        <p:spPr bwMode="auto">
          <a:xfrm>
            <a:off x="10255127" y="2631355"/>
            <a:ext cx="572623" cy="734417"/>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Freeform 59">
            <a:extLst>
              <a:ext uri="{FF2B5EF4-FFF2-40B4-BE49-F238E27FC236}">
                <a16:creationId xmlns:a16="http://schemas.microsoft.com/office/drawing/2014/main" id="{E5256791-05C4-4554-B9C1-8BFD08B4DD53}"/>
              </a:ext>
            </a:extLst>
          </p:cNvPr>
          <p:cNvSpPr/>
          <p:nvPr/>
        </p:nvSpPr>
        <p:spPr bwMode="auto">
          <a:xfrm>
            <a:off x="10255127" y="4136807"/>
            <a:ext cx="572623" cy="734417"/>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E203A52-CFA0-4EB3-9984-22D25512BD8F}"/>
              </a:ext>
            </a:extLst>
          </p:cNvPr>
          <p:cNvSpPr>
            <a:spLocks noGrp="1"/>
          </p:cNvSpPr>
          <p:nvPr>
            <p:ph type="title"/>
          </p:nvPr>
        </p:nvSpPr>
        <p:spPr>
          <a:xfrm>
            <a:off x="325571" y="170854"/>
            <a:ext cx="4596715" cy="1431627"/>
          </a:xfrm>
        </p:spPr>
        <p:txBody>
          <a:bodyPr/>
          <a:lstStyle/>
          <a:p>
            <a:r>
              <a:rPr lang="en-US" i="1" dirty="0"/>
              <a:t>Clusterless</a:t>
            </a:r>
            <a:r>
              <a:rPr lang="en-US" dirty="0"/>
              <a:t> Availability Groups</a:t>
            </a:r>
          </a:p>
        </p:txBody>
      </p:sp>
      <p:sp>
        <p:nvSpPr>
          <p:cNvPr id="27" name="Text Placeholder 2">
            <a:extLst>
              <a:ext uri="{FF2B5EF4-FFF2-40B4-BE49-F238E27FC236}">
                <a16:creationId xmlns:a16="http://schemas.microsoft.com/office/drawing/2014/main" id="{4BAA8ED1-E53B-452E-85E8-C88F13A6C497}"/>
              </a:ext>
            </a:extLst>
          </p:cNvPr>
          <p:cNvSpPr txBox="1">
            <a:spLocks/>
          </p:cNvSpPr>
          <p:nvPr/>
        </p:nvSpPr>
        <p:spPr>
          <a:xfrm>
            <a:off x="307473" y="1527304"/>
            <a:ext cx="4873591" cy="1420902"/>
          </a:xfrm>
          <a:prstGeom prst="rect">
            <a:avLst/>
          </a:prstGeom>
          <a:solidFill>
            <a:schemeClr val="bg1">
              <a:lumMod val="85000"/>
            </a:schemeClr>
          </a:solidFill>
        </p:spPr>
        <p:txBody>
          <a:bodyPr vert="horz" wrap="square" lIns="0" tIns="0" rIns="0" bIns="0" rtlCol="0">
            <a:spAutoFit/>
          </a:bodyPr>
          <a:lstStyle>
            <a:lvl1pPr marL="228600" marR="0" indent="-228600" algn="l" defTabSz="932742" rtl="0" eaLnBrk="1" fontAlgn="auto" latinLnBrk="0" hangingPunct="1">
              <a:lnSpc>
                <a:spcPct val="100000"/>
              </a:lnSpc>
              <a:spcBef>
                <a:spcPts val="1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2400" b="1" dirty="0"/>
              <a:t>The problem</a:t>
            </a:r>
          </a:p>
          <a:p>
            <a:pPr marL="0" indent="0">
              <a:buFont typeface="Wingdings" panose="05000000000000000000" pitchFamily="2" charset="2"/>
              <a:buNone/>
            </a:pPr>
            <a:r>
              <a:rPr lang="en-US" dirty="0"/>
              <a:t>I want replica copies of the data but don’t want to install clustering software and don’t need automatic failover</a:t>
            </a:r>
          </a:p>
        </p:txBody>
      </p:sp>
    </p:spTree>
    <p:extLst>
      <p:ext uri="{BB962C8B-B14F-4D97-AF65-F5344CB8AC3E}">
        <p14:creationId xmlns:p14="http://schemas.microsoft.com/office/powerpoint/2010/main" val="35591023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4"/>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7"/>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8"/>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4"/>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5"/>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6" grpId="0" animBg="1"/>
      <p:bldP spid="7" grpId="0" animBg="1"/>
      <p:bldP spid="8" grpId="0"/>
      <p:bldP spid="9" grpId="0"/>
      <p:bldP spid="10" grpId="0"/>
      <p:bldP spid="14" grpId="0"/>
      <p:bldP spid="15" grpId="0"/>
      <p:bldP spid="16" grpId="0"/>
      <p:bldP spid="17" grpId="0"/>
      <p:bldP spid="24" grpId="0" animBg="1"/>
      <p:bldP spid="25" grpId="0" animBg="1"/>
      <p:bldP spid="26"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03A52-CFA0-4EB3-9984-22D25512BD8F}"/>
              </a:ext>
            </a:extLst>
          </p:cNvPr>
          <p:cNvSpPr>
            <a:spLocks noGrp="1"/>
          </p:cNvSpPr>
          <p:nvPr>
            <p:ph type="title"/>
          </p:nvPr>
        </p:nvSpPr>
        <p:spPr>
          <a:xfrm>
            <a:off x="480687" y="154911"/>
            <a:ext cx="11018520" cy="553998"/>
          </a:xfrm>
        </p:spPr>
        <p:txBody>
          <a:bodyPr/>
          <a:lstStyle/>
          <a:p>
            <a:r>
              <a:rPr lang="en-US" dirty="0"/>
              <a:t>SQL Server Recovery and rollback</a:t>
            </a:r>
          </a:p>
        </p:txBody>
      </p:sp>
      <p:pic>
        <p:nvPicPr>
          <p:cNvPr id="3076" name="Picture 4" descr="current recovery process">
            <a:extLst>
              <a:ext uri="{FF2B5EF4-FFF2-40B4-BE49-F238E27FC236}">
                <a16:creationId xmlns:a16="http://schemas.microsoft.com/office/drawing/2014/main" id="{CE12F756-5C03-49B9-9178-D6DE3A31F24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0047" y="2786778"/>
            <a:ext cx="7297449" cy="380455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Diagram 3">
            <a:extLst>
              <a:ext uri="{FF2B5EF4-FFF2-40B4-BE49-F238E27FC236}">
                <a16:creationId xmlns:a16="http://schemas.microsoft.com/office/drawing/2014/main" id="{4C01E803-3DFF-47DD-9C0A-331EC4DCCC32}"/>
              </a:ext>
            </a:extLst>
          </p:cNvPr>
          <p:cNvGraphicFramePr/>
          <p:nvPr>
            <p:extLst>
              <p:ext uri="{D42A27DB-BD31-4B8C-83A1-F6EECF244321}">
                <p14:modId xmlns:p14="http://schemas.microsoft.com/office/powerpoint/2010/main" val="505072327"/>
              </p:ext>
            </p:extLst>
          </p:nvPr>
        </p:nvGraphicFramePr>
        <p:xfrm>
          <a:off x="9563968" y="1489934"/>
          <a:ext cx="2190376" cy="465915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 Placeholder 2">
            <a:extLst>
              <a:ext uri="{FF2B5EF4-FFF2-40B4-BE49-F238E27FC236}">
                <a16:creationId xmlns:a16="http://schemas.microsoft.com/office/drawing/2014/main" id="{73F37F6F-4A4F-4B1B-80D8-6B6562191821}"/>
              </a:ext>
            </a:extLst>
          </p:cNvPr>
          <p:cNvSpPr txBox="1">
            <a:spLocks/>
          </p:cNvSpPr>
          <p:nvPr/>
        </p:nvSpPr>
        <p:spPr>
          <a:xfrm>
            <a:off x="480687" y="955319"/>
            <a:ext cx="8403596" cy="1585049"/>
          </a:xfrm>
          <a:prstGeom prst="rect">
            <a:avLst/>
          </a:prstGeom>
          <a:solidFill>
            <a:schemeClr val="bg1">
              <a:lumMod val="85000"/>
            </a:schemeClr>
          </a:solidFill>
        </p:spPr>
        <p:txBody>
          <a:bodyPr vert="horz" wrap="square" lIns="0" tIns="0" rIns="0" bIns="0" rtlCol="0">
            <a:spAutoFit/>
          </a:bodyPr>
          <a:lstStyle>
            <a:lvl1pPr marL="228600" marR="0" indent="-228600" algn="l" defTabSz="932742" rtl="0" eaLnBrk="1" fontAlgn="auto" latinLnBrk="0" hangingPunct="1">
              <a:lnSpc>
                <a:spcPct val="100000"/>
              </a:lnSpc>
              <a:spcBef>
                <a:spcPts val="1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2400" b="1" dirty="0"/>
              <a:t>The problem(s)</a:t>
            </a:r>
          </a:p>
          <a:p>
            <a:pPr marL="0" indent="0">
              <a:buFont typeface="Wingdings" panose="05000000000000000000" pitchFamily="2" charset="2"/>
              <a:buNone/>
            </a:pPr>
            <a:r>
              <a:rPr lang="en-US" sz="1800" dirty="0"/>
              <a:t>Long running transactions affect recovery time</a:t>
            </a:r>
          </a:p>
          <a:p>
            <a:pPr marL="0" indent="0">
              <a:buFont typeface="Wingdings" panose="05000000000000000000" pitchFamily="2" charset="2"/>
              <a:buNone/>
            </a:pPr>
            <a:r>
              <a:rPr lang="en-US" sz="1800" dirty="0"/>
              <a:t>Rollback can take a long time for long active transaction</a:t>
            </a:r>
          </a:p>
          <a:p>
            <a:pPr marL="0" indent="0">
              <a:buFont typeface="Wingdings" panose="05000000000000000000" pitchFamily="2" charset="2"/>
              <a:buNone/>
            </a:pPr>
            <a:r>
              <a:rPr lang="en-US" sz="1800" dirty="0"/>
              <a:t>Log grows out of control due to old active transactions</a:t>
            </a:r>
          </a:p>
        </p:txBody>
      </p:sp>
    </p:spTree>
    <p:extLst>
      <p:ext uri="{BB962C8B-B14F-4D97-AF65-F5344CB8AC3E}">
        <p14:creationId xmlns:p14="http://schemas.microsoft.com/office/powerpoint/2010/main" val="40417378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7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AsOne/>
      </p:bldGraphic>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03A52-CFA0-4EB3-9984-22D25512BD8F}"/>
              </a:ext>
            </a:extLst>
          </p:cNvPr>
          <p:cNvSpPr>
            <a:spLocks noGrp="1"/>
          </p:cNvSpPr>
          <p:nvPr>
            <p:ph type="title"/>
          </p:nvPr>
        </p:nvSpPr>
        <p:spPr>
          <a:xfrm>
            <a:off x="586740" y="242048"/>
            <a:ext cx="11018520" cy="553998"/>
          </a:xfrm>
        </p:spPr>
        <p:txBody>
          <a:bodyPr/>
          <a:lstStyle/>
          <a:p>
            <a:r>
              <a:rPr lang="en-US" dirty="0"/>
              <a:t>Transactions accelerated</a:t>
            </a:r>
          </a:p>
        </p:txBody>
      </p:sp>
      <p:pic>
        <p:nvPicPr>
          <p:cNvPr id="5122" name="Picture 2" descr="ADR recovery process">
            <a:extLst>
              <a:ext uri="{FF2B5EF4-FFF2-40B4-BE49-F238E27FC236}">
                <a16:creationId xmlns:a16="http://schemas.microsoft.com/office/drawing/2014/main" id="{EC77D15C-D57A-4836-81D6-CDE03B49A3A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0552" y="1215234"/>
            <a:ext cx="9100955" cy="523935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Diagram 2">
            <a:extLst>
              <a:ext uri="{FF2B5EF4-FFF2-40B4-BE49-F238E27FC236}">
                <a16:creationId xmlns:a16="http://schemas.microsoft.com/office/drawing/2014/main" id="{60D032D2-8571-4E52-A3AC-BBE604A7760B}"/>
              </a:ext>
            </a:extLst>
          </p:cNvPr>
          <p:cNvGraphicFramePr/>
          <p:nvPr>
            <p:extLst>
              <p:ext uri="{D42A27DB-BD31-4B8C-83A1-F6EECF244321}">
                <p14:modId xmlns:p14="http://schemas.microsoft.com/office/powerpoint/2010/main" val="228137725"/>
              </p:ext>
            </p:extLst>
          </p:nvPr>
        </p:nvGraphicFramePr>
        <p:xfrm>
          <a:off x="9708776" y="1215234"/>
          <a:ext cx="2360706" cy="499981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3150553957"/>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6" y="2534625"/>
            <a:ext cx="6400800" cy="997196"/>
          </a:xfrm>
        </p:spPr>
        <p:txBody>
          <a:bodyPr/>
          <a:lstStyle/>
          <a:p>
            <a:r>
              <a:rPr lang="en-US" dirty="0"/>
              <a:t>Module 4 Activity: Mission Critical Availability</a:t>
            </a:r>
          </a:p>
        </p:txBody>
      </p:sp>
      <p:sp>
        <p:nvSpPr>
          <p:cNvPr id="4" name="Text Placeholder 3"/>
          <p:cNvSpPr>
            <a:spLocks noGrp="1"/>
          </p:cNvSpPr>
          <p:nvPr>
            <p:ph type="body" sz="quarter" idx="12"/>
          </p:nvPr>
        </p:nvSpPr>
        <p:spPr>
          <a:xfrm>
            <a:off x="585216" y="3977319"/>
            <a:ext cx="6400800" cy="307777"/>
          </a:xfrm>
        </p:spPr>
        <p:txBody>
          <a:bodyPr/>
          <a:lstStyle/>
          <a:p>
            <a:r>
              <a:rPr lang="en-US" dirty="0"/>
              <a:t>Accelerated Database Recovery</a:t>
            </a:r>
          </a:p>
        </p:txBody>
      </p:sp>
    </p:spTree>
    <p:extLst>
      <p:ext uri="{BB962C8B-B14F-4D97-AF65-F5344CB8AC3E}">
        <p14:creationId xmlns:p14="http://schemas.microsoft.com/office/powerpoint/2010/main" val="38444993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DE104-D85B-43D4-AC99-58903696A798}"/>
              </a:ext>
            </a:extLst>
          </p:cNvPr>
          <p:cNvSpPr>
            <a:spLocks noGrp="1"/>
          </p:cNvSpPr>
          <p:nvPr>
            <p:ph type="title"/>
          </p:nvPr>
        </p:nvSpPr>
        <p:spPr>
          <a:xfrm>
            <a:off x="585216" y="2537210"/>
            <a:ext cx="6400800" cy="997196"/>
          </a:xfrm>
        </p:spPr>
        <p:txBody>
          <a:bodyPr/>
          <a:lstStyle/>
          <a:p>
            <a:r>
              <a:rPr lang="en-US" dirty="0"/>
              <a:t>Module 5: The Modern Development Platform</a:t>
            </a:r>
          </a:p>
        </p:txBody>
      </p:sp>
    </p:spTree>
    <p:extLst>
      <p:ext uri="{BB962C8B-B14F-4D97-AF65-F5344CB8AC3E}">
        <p14:creationId xmlns:p14="http://schemas.microsoft.com/office/powerpoint/2010/main" val="3139904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8" name="Group 87">
            <a:extLst>
              <a:ext uri="{FF2B5EF4-FFF2-40B4-BE49-F238E27FC236}">
                <a16:creationId xmlns:a16="http://schemas.microsoft.com/office/drawing/2014/main" id="{A45F1D3A-1F99-034C-9D90-7D7F3784503F}"/>
              </a:ext>
            </a:extLst>
          </p:cNvPr>
          <p:cNvGrpSpPr/>
          <p:nvPr/>
        </p:nvGrpSpPr>
        <p:grpSpPr>
          <a:xfrm>
            <a:off x="8099158" y="2650987"/>
            <a:ext cx="1661765" cy="1285655"/>
            <a:chOff x="7157552" y="1735934"/>
            <a:chExt cx="497690" cy="398542"/>
          </a:xfrm>
        </p:grpSpPr>
        <p:grpSp>
          <p:nvGrpSpPr>
            <p:cNvPr id="89" name="Group 88">
              <a:extLst>
                <a:ext uri="{FF2B5EF4-FFF2-40B4-BE49-F238E27FC236}">
                  <a16:creationId xmlns:a16="http://schemas.microsoft.com/office/drawing/2014/main" id="{613081AF-62AC-8447-A5F9-282900B2DEC5}"/>
                </a:ext>
              </a:extLst>
            </p:cNvPr>
            <p:cNvGrpSpPr/>
            <p:nvPr/>
          </p:nvGrpSpPr>
          <p:grpSpPr>
            <a:xfrm>
              <a:off x="7157552" y="1735934"/>
              <a:ext cx="497690" cy="398542"/>
              <a:chOff x="2107241" y="1575258"/>
              <a:chExt cx="389454" cy="264555"/>
            </a:xfrm>
            <a:solidFill>
              <a:srgbClr val="0078D7"/>
            </a:solidFill>
          </p:grpSpPr>
          <p:sp>
            <p:nvSpPr>
              <p:cNvPr id="94" name="Rectangle 9">
                <a:extLst>
                  <a:ext uri="{FF2B5EF4-FFF2-40B4-BE49-F238E27FC236}">
                    <a16:creationId xmlns:a16="http://schemas.microsoft.com/office/drawing/2014/main" id="{D66DB734-5451-8043-99C5-28200E93F67E}"/>
                  </a:ext>
                </a:extLst>
              </p:cNvPr>
              <p:cNvSpPr>
                <a:spLocks noChangeArrowheads="1"/>
              </p:cNvSpPr>
              <p:nvPr/>
            </p:nvSpPr>
            <p:spPr bwMode="auto">
              <a:xfrm>
                <a:off x="2107244" y="1575258"/>
                <a:ext cx="389451" cy="264555"/>
              </a:xfrm>
              <a:prstGeom prst="rect">
                <a:avLst/>
              </a:prstGeom>
              <a:grp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sp>
            <p:nvSpPr>
              <p:cNvPr id="95" name="Line 10">
                <a:extLst>
                  <a:ext uri="{FF2B5EF4-FFF2-40B4-BE49-F238E27FC236}">
                    <a16:creationId xmlns:a16="http://schemas.microsoft.com/office/drawing/2014/main" id="{38A5A22C-3F42-C64F-A2A3-3D1F2743351B}"/>
                  </a:ext>
                </a:extLst>
              </p:cNvPr>
              <p:cNvSpPr>
                <a:spLocks noChangeShapeType="1"/>
              </p:cNvSpPr>
              <p:nvPr/>
            </p:nvSpPr>
            <p:spPr bwMode="auto">
              <a:xfrm flipH="1">
                <a:off x="2107241" y="1647026"/>
                <a:ext cx="389450" cy="0"/>
              </a:xfrm>
              <a:prstGeom prst="line">
                <a:avLst/>
              </a:prstGeom>
              <a:grpFill/>
              <a:ln w="1905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grpSp>
        <p:sp>
          <p:nvSpPr>
            <p:cNvPr id="91" name="Oval 90">
              <a:extLst>
                <a:ext uri="{FF2B5EF4-FFF2-40B4-BE49-F238E27FC236}">
                  <a16:creationId xmlns:a16="http://schemas.microsoft.com/office/drawing/2014/main" id="{AC0D0FCB-B378-A848-B10A-E214F2DBA2AA}"/>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2" name="Title 1">
            <a:extLst>
              <a:ext uri="{FF2B5EF4-FFF2-40B4-BE49-F238E27FC236}">
                <a16:creationId xmlns:a16="http://schemas.microsoft.com/office/drawing/2014/main" id="{D5059136-E2D9-49E7-B917-8BFA9B01500E}"/>
              </a:ext>
            </a:extLst>
          </p:cNvPr>
          <p:cNvSpPr>
            <a:spLocks noGrp="1"/>
          </p:cNvSpPr>
          <p:nvPr>
            <p:ph type="title"/>
          </p:nvPr>
        </p:nvSpPr>
        <p:spPr/>
        <p:txBody>
          <a:bodyPr/>
          <a:lstStyle/>
          <a:p>
            <a:pPr algn="ctr"/>
            <a:r>
              <a:rPr lang="en-US" dirty="0"/>
              <a:t>The modern development platform </a:t>
            </a:r>
          </a:p>
        </p:txBody>
      </p:sp>
      <p:sp>
        <p:nvSpPr>
          <p:cNvPr id="4" name="TextBox 3">
            <a:extLst>
              <a:ext uri="{FF2B5EF4-FFF2-40B4-BE49-F238E27FC236}">
                <a16:creationId xmlns:a16="http://schemas.microsoft.com/office/drawing/2014/main" id="{5E471F12-A5DB-4515-B13A-D962D518CDBA}"/>
              </a:ext>
            </a:extLst>
          </p:cNvPr>
          <p:cNvSpPr txBox="1"/>
          <p:nvPr/>
        </p:nvSpPr>
        <p:spPr>
          <a:xfrm>
            <a:off x="1973595" y="4477601"/>
            <a:ext cx="3062231" cy="492443"/>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dirty="0">
                <a:ln>
                  <a:noFill/>
                </a:ln>
                <a:effectLst/>
                <a:uLnTx/>
                <a:uFillTx/>
                <a:latin typeface="+mj-lt"/>
                <a:ea typeface="+mn-ea"/>
                <a:cs typeface="+mn-cs"/>
              </a:rPr>
              <a:t>Speed app development and admin with new enhancements </a:t>
            </a:r>
          </a:p>
        </p:txBody>
      </p:sp>
      <p:sp>
        <p:nvSpPr>
          <p:cNvPr id="6" name="TextBox 5">
            <a:extLst>
              <a:ext uri="{FF2B5EF4-FFF2-40B4-BE49-F238E27FC236}">
                <a16:creationId xmlns:a16="http://schemas.microsoft.com/office/drawing/2014/main" id="{0A78A6D0-BB31-4DDD-B9A9-EC8FAF466AB0}"/>
              </a:ext>
            </a:extLst>
          </p:cNvPr>
          <p:cNvSpPr txBox="1"/>
          <p:nvPr/>
        </p:nvSpPr>
        <p:spPr>
          <a:xfrm>
            <a:off x="7748310" y="4477601"/>
            <a:ext cx="2363444" cy="492443"/>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dirty="0">
                <a:ln>
                  <a:noFill/>
                </a:ln>
                <a:effectLst/>
                <a:uLnTx/>
                <a:uFillTx/>
                <a:latin typeface="+mj-lt"/>
                <a:ea typeface="+mn-ea"/>
                <a:cs typeface="+mn-cs"/>
              </a:rPr>
              <a:t>Develop on your choice of language and tooling </a:t>
            </a:r>
          </a:p>
        </p:txBody>
      </p:sp>
      <p:grpSp>
        <p:nvGrpSpPr>
          <p:cNvPr id="35" name="Group 34">
            <a:extLst>
              <a:ext uri="{FF2B5EF4-FFF2-40B4-BE49-F238E27FC236}">
                <a16:creationId xmlns:a16="http://schemas.microsoft.com/office/drawing/2014/main" id="{C953BFF5-08BD-BB4F-9B79-F70B205B1FF5}"/>
              </a:ext>
            </a:extLst>
          </p:cNvPr>
          <p:cNvGrpSpPr/>
          <p:nvPr/>
        </p:nvGrpSpPr>
        <p:grpSpPr>
          <a:xfrm>
            <a:off x="2683734" y="2650987"/>
            <a:ext cx="1661765" cy="1285655"/>
            <a:chOff x="7157552" y="1735934"/>
            <a:chExt cx="497690" cy="398542"/>
          </a:xfrm>
        </p:grpSpPr>
        <p:grpSp>
          <p:nvGrpSpPr>
            <p:cNvPr id="36" name="Group 35">
              <a:extLst>
                <a:ext uri="{FF2B5EF4-FFF2-40B4-BE49-F238E27FC236}">
                  <a16:creationId xmlns:a16="http://schemas.microsoft.com/office/drawing/2014/main" id="{D61F7347-25B5-7C4E-B535-8D8275305A80}"/>
                </a:ext>
              </a:extLst>
            </p:cNvPr>
            <p:cNvGrpSpPr/>
            <p:nvPr/>
          </p:nvGrpSpPr>
          <p:grpSpPr>
            <a:xfrm>
              <a:off x="7157552" y="1735934"/>
              <a:ext cx="497690" cy="398542"/>
              <a:chOff x="2107241" y="1575258"/>
              <a:chExt cx="389454" cy="264555"/>
            </a:xfrm>
            <a:solidFill>
              <a:srgbClr val="0078D7"/>
            </a:solidFill>
          </p:grpSpPr>
          <p:sp>
            <p:nvSpPr>
              <p:cNvPr id="41" name="Rectangle 9">
                <a:extLst>
                  <a:ext uri="{FF2B5EF4-FFF2-40B4-BE49-F238E27FC236}">
                    <a16:creationId xmlns:a16="http://schemas.microsoft.com/office/drawing/2014/main" id="{3241A18B-D149-EE40-86DC-A7AC24193231}"/>
                  </a:ext>
                </a:extLst>
              </p:cNvPr>
              <p:cNvSpPr>
                <a:spLocks noChangeArrowheads="1"/>
              </p:cNvSpPr>
              <p:nvPr/>
            </p:nvSpPr>
            <p:spPr bwMode="auto">
              <a:xfrm>
                <a:off x="2107244" y="1575258"/>
                <a:ext cx="389451" cy="264555"/>
              </a:xfrm>
              <a:prstGeom prst="rect">
                <a:avLst/>
              </a:prstGeom>
              <a:grp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sp>
            <p:nvSpPr>
              <p:cNvPr id="42" name="Line 10">
                <a:extLst>
                  <a:ext uri="{FF2B5EF4-FFF2-40B4-BE49-F238E27FC236}">
                    <a16:creationId xmlns:a16="http://schemas.microsoft.com/office/drawing/2014/main" id="{A173672D-C850-BA45-ADB0-D3E0EA518F59}"/>
                  </a:ext>
                </a:extLst>
              </p:cNvPr>
              <p:cNvSpPr>
                <a:spLocks noChangeShapeType="1"/>
              </p:cNvSpPr>
              <p:nvPr/>
            </p:nvSpPr>
            <p:spPr bwMode="auto">
              <a:xfrm flipH="1">
                <a:off x="2107241" y="1647026"/>
                <a:ext cx="389450" cy="0"/>
              </a:xfrm>
              <a:prstGeom prst="line">
                <a:avLst/>
              </a:prstGeom>
              <a:grpFill/>
              <a:ln w="1905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grpSp>
        <p:grpSp>
          <p:nvGrpSpPr>
            <p:cNvPr id="37" name="Group 36">
              <a:extLst>
                <a:ext uri="{FF2B5EF4-FFF2-40B4-BE49-F238E27FC236}">
                  <a16:creationId xmlns:a16="http://schemas.microsoft.com/office/drawing/2014/main" id="{B007C3D3-ECBE-CA4D-B16E-92EE5C74153D}"/>
                </a:ext>
              </a:extLst>
            </p:cNvPr>
            <p:cNvGrpSpPr/>
            <p:nvPr/>
          </p:nvGrpSpPr>
          <p:grpSpPr>
            <a:xfrm>
              <a:off x="7311048" y="1903738"/>
              <a:ext cx="191394" cy="180132"/>
              <a:chOff x="2226076" y="1701907"/>
              <a:chExt cx="95690" cy="90061"/>
            </a:xfrm>
            <a:solidFill>
              <a:srgbClr val="50E6FF"/>
            </a:solidFill>
          </p:grpSpPr>
          <p:sp>
            <p:nvSpPr>
              <p:cNvPr id="39" name="Freeform 14">
                <a:extLst>
                  <a:ext uri="{FF2B5EF4-FFF2-40B4-BE49-F238E27FC236}">
                    <a16:creationId xmlns:a16="http://schemas.microsoft.com/office/drawing/2014/main" id="{D91C4C32-415C-3247-BA69-4B726AC6DAFA}"/>
                  </a:ext>
                </a:extLst>
              </p:cNvPr>
              <p:cNvSpPr>
                <a:spLocks/>
              </p:cNvSpPr>
              <p:nvPr/>
            </p:nvSpPr>
            <p:spPr bwMode="auto">
              <a:xfrm>
                <a:off x="2226076"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grpFill/>
              <a:ln w="12700" cap="flat">
                <a:solidFill>
                  <a:srgbClr val="0078D7"/>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40" name="Line 15">
                <a:extLst>
                  <a:ext uri="{FF2B5EF4-FFF2-40B4-BE49-F238E27FC236}">
                    <a16:creationId xmlns:a16="http://schemas.microsoft.com/office/drawing/2014/main" id="{10D59CB8-4BD7-7044-8B0F-F71D15B9D430}"/>
                  </a:ext>
                </a:extLst>
              </p:cNvPr>
              <p:cNvSpPr>
                <a:spLocks noChangeShapeType="1"/>
              </p:cNvSpPr>
              <p:nvPr/>
            </p:nvSpPr>
            <p:spPr bwMode="auto">
              <a:xfrm>
                <a:off x="2275477" y="1755381"/>
                <a:ext cx="0" cy="36587"/>
              </a:xfrm>
              <a:prstGeom prst="line">
                <a:avLst/>
              </a:prstGeom>
              <a:grpFill/>
              <a:ln w="12700" cap="flat">
                <a:solidFill>
                  <a:srgbClr val="0078D7"/>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sp>
          <p:nvSpPr>
            <p:cNvPr id="38" name="Oval 37">
              <a:extLst>
                <a:ext uri="{FF2B5EF4-FFF2-40B4-BE49-F238E27FC236}">
                  <a16:creationId xmlns:a16="http://schemas.microsoft.com/office/drawing/2014/main" id="{A54A435E-FCC4-4746-AB2B-7430084602BA}"/>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50" name="gear_3">
            <a:extLst>
              <a:ext uri="{FF2B5EF4-FFF2-40B4-BE49-F238E27FC236}">
                <a16:creationId xmlns:a16="http://schemas.microsoft.com/office/drawing/2014/main" id="{9E0A1276-67D3-44A8-B3C7-8FCB397AE1A7}"/>
              </a:ext>
            </a:extLst>
          </p:cNvPr>
          <p:cNvSpPr>
            <a:spLocks noChangeAspect="1" noEditPoints="1"/>
          </p:cNvSpPr>
          <p:nvPr/>
        </p:nvSpPr>
        <p:spPr bwMode="auto">
          <a:xfrm>
            <a:off x="4006485" y="3537327"/>
            <a:ext cx="730580" cy="736769"/>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solidFill>
            <a:srgbClr val="50E6FF"/>
          </a:solidFill>
          <a:ln w="12700">
            <a:noFill/>
            <a:prstDash val="solid"/>
            <a:miter lim="800000"/>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5" name="Group 4">
            <a:extLst>
              <a:ext uri="{FF2B5EF4-FFF2-40B4-BE49-F238E27FC236}">
                <a16:creationId xmlns:a16="http://schemas.microsoft.com/office/drawing/2014/main" id="{1549BF2F-F0F9-4689-A1AF-072289338C4A}"/>
              </a:ext>
            </a:extLst>
          </p:cNvPr>
          <p:cNvGrpSpPr/>
          <p:nvPr/>
        </p:nvGrpSpPr>
        <p:grpSpPr>
          <a:xfrm>
            <a:off x="8287410" y="3261012"/>
            <a:ext cx="1282078" cy="410714"/>
            <a:chOff x="8287410" y="3261012"/>
            <a:chExt cx="1282078" cy="410714"/>
          </a:xfrm>
        </p:grpSpPr>
        <p:sp>
          <p:nvSpPr>
            <p:cNvPr id="10" name="Freeform 160">
              <a:extLst>
                <a:ext uri="{FF2B5EF4-FFF2-40B4-BE49-F238E27FC236}">
                  <a16:creationId xmlns:a16="http://schemas.microsoft.com/office/drawing/2014/main" id="{24A23C94-CB16-4786-836E-2EFC04494D19}"/>
                </a:ext>
              </a:extLst>
            </p:cNvPr>
            <p:cNvSpPr>
              <a:spLocks/>
            </p:cNvSpPr>
            <p:nvPr/>
          </p:nvSpPr>
          <p:spPr bwMode="auto">
            <a:xfrm>
              <a:off x="9276291" y="3299154"/>
              <a:ext cx="293197" cy="362028"/>
            </a:xfrm>
            <a:custGeom>
              <a:avLst/>
              <a:gdLst>
                <a:gd name="connsiteX0" fmla="*/ 129808 w 426363"/>
                <a:gd name="connsiteY0" fmla="*/ 126536 h 526455"/>
                <a:gd name="connsiteX1" fmla="*/ 218389 w 426363"/>
                <a:gd name="connsiteY1" fmla="*/ 149608 h 526455"/>
                <a:gd name="connsiteX2" fmla="*/ 318525 w 426363"/>
                <a:gd name="connsiteY2" fmla="*/ 126536 h 526455"/>
                <a:gd name="connsiteX3" fmla="*/ 414809 w 426363"/>
                <a:gd name="connsiteY3" fmla="*/ 176526 h 526455"/>
                <a:gd name="connsiteX4" fmla="*/ 357039 w 426363"/>
                <a:gd name="connsiteY4" fmla="*/ 276505 h 526455"/>
                <a:gd name="connsiteX5" fmla="*/ 426363 w 426363"/>
                <a:gd name="connsiteY5" fmla="*/ 384176 h 526455"/>
                <a:gd name="connsiteX6" fmla="*/ 391701 w 426363"/>
                <a:gd name="connsiteY6" fmla="*/ 461084 h 526455"/>
                <a:gd name="connsiteX7" fmla="*/ 310822 w 426363"/>
                <a:gd name="connsiteY7" fmla="*/ 522610 h 526455"/>
                <a:gd name="connsiteX8" fmla="*/ 222241 w 426363"/>
                <a:gd name="connsiteY8" fmla="*/ 503383 h 526455"/>
                <a:gd name="connsiteX9" fmla="*/ 137511 w 426363"/>
                <a:gd name="connsiteY9" fmla="*/ 526455 h 526455"/>
                <a:gd name="connsiteX10" fmla="*/ 52780 w 426363"/>
                <a:gd name="connsiteY10" fmla="*/ 457238 h 526455"/>
                <a:gd name="connsiteX11" fmla="*/ 21970 w 426363"/>
                <a:gd name="connsiteY11" fmla="*/ 191907 h 526455"/>
                <a:gd name="connsiteX12" fmla="*/ 129808 w 426363"/>
                <a:gd name="connsiteY12" fmla="*/ 126536 h 526455"/>
                <a:gd name="connsiteX13" fmla="*/ 317672 w 426363"/>
                <a:gd name="connsiteY13" fmla="*/ 0 h 526455"/>
                <a:gd name="connsiteX14" fmla="*/ 290749 w 426363"/>
                <a:gd name="connsiteY14" fmla="*/ 84351 h 526455"/>
                <a:gd name="connsiteX15" fmla="*/ 213827 w 426363"/>
                <a:gd name="connsiteY15" fmla="*/ 118858 h 526455"/>
                <a:gd name="connsiteX16" fmla="*/ 240750 w 426363"/>
                <a:gd name="connsiteY16" fmla="*/ 38341 h 526455"/>
                <a:gd name="connsiteX17" fmla="*/ 317672 w 426363"/>
                <a:gd name="connsiteY17" fmla="*/ 0 h 526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26363" h="526455">
                  <a:moveTo>
                    <a:pt x="129808" y="126536"/>
                  </a:moveTo>
                  <a:cubicBezTo>
                    <a:pt x="164470" y="126536"/>
                    <a:pt x="195281" y="149608"/>
                    <a:pt x="218389" y="149608"/>
                  </a:cubicBezTo>
                  <a:cubicBezTo>
                    <a:pt x="237646" y="149608"/>
                    <a:pt x="276160" y="122690"/>
                    <a:pt x="318525" y="126536"/>
                  </a:cubicBezTo>
                  <a:cubicBezTo>
                    <a:pt x="333930" y="126536"/>
                    <a:pt x="383998" y="134226"/>
                    <a:pt x="414809" y="176526"/>
                  </a:cubicBezTo>
                  <a:cubicBezTo>
                    <a:pt x="410958" y="180371"/>
                    <a:pt x="357039" y="211134"/>
                    <a:pt x="357039" y="276505"/>
                  </a:cubicBezTo>
                  <a:cubicBezTo>
                    <a:pt x="357039" y="357258"/>
                    <a:pt x="426363" y="384176"/>
                    <a:pt x="426363" y="384176"/>
                  </a:cubicBezTo>
                  <a:cubicBezTo>
                    <a:pt x="426363" y="388022"/>
                    <a:pt x="418660" y="422630"/>
                    <a:pt x="391701" y="461084"/>
                  </a:cubicBezTo>
                  <a:cubicBezTo>
                    <a:pt x="368593" y="491847"/>
                    <a:pt x="345484" y="522610"/>
                    <a:pt x="310822" y="522610"/>
                  </a:cubicBezTo>
                  <a:cubicBezTo>
                    <a:pt x="276160" y="526455"/>
                    <a:pt x="264606" y="503383"/>
                    <a:pt x="222241" y="503383"/>
                  </a:cubicBezTo>
                  <a:cubicBezTo>
                    <a:pt x="183727" y="503383"/>
                    <a:pt x="172173" y="522610"/>
                    <a:pt x="137511" y="526455"/>
                  </a:cubicBezTo>
                  <a:cubicBezTo>
                    <a:pt x="102848" y="526455"/>
                    <a:pt x="75889" y="491847"/>
                    <a:pt x="52780" y="457238"/>
                  </a:cubicBezTo>
                  <a:cubicBezTo>
                    <a:pt x="10415" y="391867"/>
                    <a:pt x="-24247" y="272660"/>
                    <a:pt x="21970" y="191907"/>
                  </a:cubicBezTo>
                  <a:cubicBezTo>
                    <a:pt x="45078" y="153453"/>
                    <a:pt x="83591" y="126536"/>
                    <a:pt x="129808" y="126536"/>
                  </a:cubicBezTo>
                  <a:close/>
                  <a:moveTo>
                    <a:pt x="317672" y="0"/>
                  </a:moveTo>
                  <a:cubicBezTo>
                    <a:pt x="321518" y="30673"/>
                    <a:pt x="309980" y="61346"/>
                    <a:pt x="290749" y="84351"/>
                  </a:cubicBezTo>
                  <a:cubicBezTo>
                    <a:pt x="271519" y="103521"/>
                    <a:pt x="240750" y="122692"/>
                    <a:pt x="213827" y="118858"/>
                  </a:cubicBezTo>
                  <a:cubicBezTo>
                    <a:pt x="209981" y="88185"/>
                    <a:pt x="221519" y="57512"/>
                    <a:pt x="240750" y="38341"/>
                  </a:cubicBezTo>
                  <a:cubicBezTo>
                    <a:pt x="259980" y="15336"/>
                    <a:pt x="290749" y="0"/>
                    <a:pt x="317672" y="0"/>
                  </a:cubicBezTo>
                  <a:close/>
                </a:path>
              </a:pathLst>
            </a:custGeom>
            <a:solidFill>
              <a:srgbClr val="50E6FF"/>
            </a:solidFill>
            <a:ln w="12700">
              <a:noFill/>
              <a:miter lim="800000"/>
              <a:headEnd/>
              <a:tailEnd/>
            </a:ln>
            <a:extLst/>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78D7"/>
                </a:solidFill>
                <a:effectLst/>
                <a:uLnTx/>
                <a:uFillTx/>
                <a:latin typeface="Segoe UI"/>
                <a:ea typeface="+mn-ea"/>
                <a:cs typeface="+mn-cs"/>
              </a:endParaRPr>
            </a:p>
          </p:txBody>
        </p:sp>
        <p:sp>
          <p:nvSpPr>
            <p:cNvPr id="11" name="Freeform 130">
              <a:extLst>
                <a:ext uri="{FF2B5EF4-FFF2-40B4-BE49-F238E27FC236}">
                  <a16:creationId xmlns:a16="http://schemas.microsoft.com/office/drawing/2014/main" id="{9E6279ED-C113-4C5F-8F0A-A76709697177}"/>
                </a:ext>
              </a:extLst>
            </p:cNvPr>
            <p:cNvSpPr>
              <a:spLocks noChangeAspect="1" noEditPoints="1"/>
            </p:cNvSpPr>
            <p:nvPr/>
          </p:nvSpPr>
          <p:spPr bwMode="black">
            <a:xfrm>
              <a:off x="8287410" y="3312243"/>
              <a:ext cx="360948" cy="359483"/>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50E6FF"/>
            </a:solidFill>
            <a:ln w="12700">
              <a:noFill/>
              <a:miter lim="800000"/>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nvGrpSpPr>
            <p:cNvPr id="23" name="Group 4">
              <a:extLst>
                <a:ext uri="{FF2B5EF4-FFF2-40B4-BE49-F238E27FC236}">
                  <a16:creationId xmlns:a16="http://schemas.microsoft.com/office/drawing/2014/main" id="{BE2269D6-5C5E-4D00-A9DD-BF247B26B417}"/>
                </a:ext>
              </a:extLst>
            </p:cNvPr>
            <p:cNvGrpSpPr>
              <a:grpSpLocks noChangeAspect="1"/>
            </p:cNvGrpSpPr>
            <p:nvPr/>
          </p:nvGrpSpPr>
          <p:grpSpPr bwMode="auto">
            <a:xfrm>
              <a:off x="8786099" y="3261012"/>
              <a:ext cx="352451" cy="410714"/>
              <a:chOff x="2115" y="3208"/>
              <a:chExt cx="490" cy="571"/>
            </a:xfrm>
            <a:solidFill>
              <a:srgbClr val="50E6FF"/>
            </a:solidFill>
          </p:grpSpPr>
          <p:sp>
            <p:nvSpPr>
              <p:cNvPr id="24" name="Freeform 5">
                <a:extLst>
                  <a:ext uri="{FF2B5EF4-FFF2-40B4-BE49-F238E27FC236}">
                    <a16:creationId xmlns:a16="http://schemas.microsoft.com/office/drawing/2014/main" id="{76BE3FB4-5CD7-4731-8CDA-D484AE70545B}"/>
                  </a:ext>
                </a:extLst>
              </p:cNvPr>
              <p:cNvSpPr>
                <a:spLocks/>
              </p:cNvSpPr>
              <p:nvPr/>
            </p:nvSpPr>
            <p:spPr bwMode="auto">
              <a:xfrm>
                <a:off x="2292" y="3293"/>
                <a:ext cx="40" cy="58"/>
              </a:xfrm>
              <a:custGeom>
                <a:avLst/>
                <a:gdLst>
                  <a:gd name="T0" fmla="*/ 9 w 85"/>
                  <a:gd name="T1" fmla="*/ 107 h 124"/>
                  <a:gd name="T2" fmla="*/ 19 w 85"/>
                  <a:gd name="T3" fmla="*/ 123 h 124"/>
                  <a:gd name="T4" fmla="*/ 20 w 85"/>
                  <a:gd name="T5" fmla="*/ 124 h 124"/>
                  <a:gd name="T6" fmla="*/ 30 w 85"/>
                  <a:gd name="T7" fmla="*/ 115 h 124"/>
                  <a:gd name="T8" fmla="*/ 37 w 85"/>
                  <a:gd name="T9" fmla="*/ 108 h 124"/>
                  <a:gd name="T10" fmla="*/ 29 w 85"/>
                  <a:gd name="T11" fmla="*/ 101 h 124"/>
                  <a:gd name="T12" fmla="*/ 19 w 85"/>
                  <a:gd name="T13" fmla="*/ 86 h 124"/>
                  <a:gd name="T14" fmla="*/ 18 w 85"/>
                  <a:gd name="T15" fmla="*/ 59 h 124"/>
                  <a:gd name="T16" fmla="*/ 21 w 85"/>
                  <a:gd name="T17" fmla="*/ 47 h 124"/>
                  <a:gd name="T18" fmla="*/ 30 w 85"/>
                  <a:gd name="T19" fmla="*/ 39 h 124"/>
                  <a:gd name="T20" fmla="*/ 41 w 85"/>
                  <a:gd name="T21" fmla="*/ 38 h 124"/>
                  <a:gd name="T22" fmla="*/ 51 w 85"/>
                  <a:gd name="T23" fmla="*/ 43 h 124"/>
                  <a:gd name="T24" fmla="*/ 63 w 85"/>
                  <a:gd name="T25" fmla="*/ 62 h 124"/>
                  <a:gd name="T26" fmla="*/ 64 w 85"/>
                  <a:gd name="T27" fmla="*/ 88 h 124"/>
                  <a:gd name="T28" fmla="*/ 76 w 85"/>
                  <a:gd name="T29" fmla="*/ 83 h 124"/>
                  <a:gd name="T30" fmla="*/ 85 w 85"/>
                  <a:gd name="T31" fmla="*/ 71 h 124"/>
                  <a:gd name="T32" fmla="*/ 80 w 85"/>
                  <a:gd name="T33" fmla="*/ 41 h 124"/>
                  <a:gd name="T34" fmla="*/ 63 w 85"/>
                  <a:gd name="T35" fmla="*/ 13 h 124"/>
                  <a:gd name="T36" fmla="*/ 50 w 85"/>
                  <a:gd name="T37" fmla="*/ 3 h 124"/>
                  <a:gd name="T38" fmla="*/ 35 w 85"/>
                  <a:gd name="T39" fmla="*/ 0 h 124"/>
                  <a:gd name="T40" fmla="*/ 16 w 85"/>
                  <a:gd name="T41" fmla="*/ 9 h 124"/>
                  <a:gd name="T42" fmla="*/ 5 w 85"/>
                  <a:gd name="T43" fmla="*/ 27 h 124"/>
                  <a:gd name="T44" fmla="*/ 2 w 85"/>
                  <a:gd name="T45" fmla="*/ 69 h 124"/>
                  <a:gd name="T46" fmla="*/ 9 w 85"/>
                  <a:gd name="T47" fmla="*/ 10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5" h="124">
                    <a:moveTo>
                      <a:pt x="9" y="107"/>
                    </a:moveTo>
                    <a:cubicBezTo>
                      <a:pt x="11" y="113"/>
                      <a:pt x="15" y="119"/>
                      <a:pt x="19" y="123"/>
                    </a:cubicBezTo>
                    <a:cubicBezTo>
                      <a:pt x="20" y="124"/>
                      <a:pt x="20" y="124"/>
                      <a:pt x="20" y="124"/>
                    </a:cubicBezTo>
                    <a:cubicBezTo>
                      <a:pt x="23" y="121"/>
                      <a:pt x="27" y="118"/>
                      <a:pt x="30" y="115"/>
                    </a:cubicBezTo>
                    <a:cubicBezTo>
                      <a:pt x="32" y="112"/>
                      <a:pt x="35" y="110"/>
                      <a:pt x="37" y="108"/>
                    </a:cubicBezTo>
                    <a:cubicBezTo>
                      <a:pt x="34" y="106"/>
                      <a:pt x="31" y="104"/>
                      <a:pt x="29" y="101"/>
                    </a:cubicBezTo>
                    <a:cubicBezTo>
                      <a:pt x="25" y="97"/>
                      <a:pt x="21" y="92"/>
                      <a:pt x="19" y="86"/>
                    </a:cubicBezTo>
                    <a:cubicBezTo>
                      <a:pt x="16" y="77"/>
                      <a:pt x="16" y="68"/>
                      <a:pt x="18" y="59"/>
                    </a:cubicBezTo>
                    <a:cubicBezTo>
                      <a:pt x="18" y="55"/>
                      <a:pt x="19" y="51"/>
                      <a:pt x="21" y="47"/>
                    </a:cubicBezTo>
                    <a:cubicBezTo>
                      <a:pt x="23" y="43"/>
                      <a:pt x="26" y="40"/>
                      <a:pt x="30" y="39"/>
                    </a:cubicBezTo>
                    <a:cubicBezTo>
                      <a:pt x="33" y="37"/>
                      <a:pt x="37" y="37"/>
                      <a:pt x="41" y="38"/>
                    </a:cubicBezTo>
                    <a:cubicBezTo>
                      <a:pt x="44" y="38"/>
                      <a:pt x="48" y="40"/>
                      <a:pt x="51" y="43"/>
                    </a:cubicBezTo>
                    <a:cubicBezTo>
                      <a:pt x="57" y="48"/>
                      <a:pt x="60" y="55"/>
                      <a:pt x="63" y="62"/>
                    </a:cubicBezTo>
                    <a:cubicBezTo>
                      <a:pt x="65" y="71"/>
                      <a:pt x="66" y="80"/>
                      <a:pt x="64" y="88"/>
                    </a:cubicBezTo>
                    <a:cubicBezTo>
                      <a:pt x="68" y="86"/>
                      <a:pt x="72" y="84"/>
                      <a:pt x="76" y="83"/>
                    </a:cubicBezTo>
                    <a:cubicBezTo>
                      <a:pt x="79" y="79"/>
                      <a:pt x="82" y="75"/>
                      <a:pt x="85" y="71"/>
                    </a:cubicBezTo>
                    <a:cubicBezTo>
                      <a:pt x="85" y="61"/>
                      <a:pt x="83" y="51"/>
                      <a:pt x="80" y="41"/>
                    </a:cubicBezTo>
                    <a:cubicBezTo>
                      <a:pt x="76" y="31"/>
                      <a:pt x="71" y="21"/>
                      <a:pt x="63" y="13"/>
                    </a:cubicBezTo>
                    <a:cubicBezTo>
                      <a:pt x="60" y="9"/>
                      <a:pt x="55" y="6"/>
                      <a:pt x="50" y="3"/>
                    </a:cubicBezTo>
                    <a:cubicBezTo>
                      <a:pt x="46" y="1"/>
                      <a:pt x="40" y="0"/>
                      <a:pt x="35" y="0"/>
                    </a:cubicBezTo>
                    <a:cubicBezTo>
                      <a:pt x="28" y="0"/>
                      <a:pt x="21" y="4"/>
                      <a:pt x="16" y="9"/>
                    </a:cubicBezTo>
                    <a:cubicBezTo>
                      <a:pt x="11" y="13"/>
                      <a:pt x="7" y="20"/>
                      <a:pt x="5" y="27"/>
                    </a:cubicBezTo>
                    <a:cubicBezTo>
                      <a:pt x="0" y="40"/>
                      <a:pt x="1" y="55"/>
                      <a:pt x="2" y="69"/>
                    </a:cubicBezTo>
                    <a:cubicBezTo>
                      <a:pt x="3" y="82"/>
                      <a:pt x="4" y="95"/>
                      <a:pt x="9" y="1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6">
                <a:extLst>
                  <a:ext uri="{FF2B5EF4-FFF2-40B4-BE49-F238E27FC236}">
                    <a16:creationId xmlns:a16="http://schemas.microsoft.com/office/drawing/2014/main" id="{C190385E-5FBB-4CD6-A37F-65C1CFD70BDA}"/>
                  </a:ext>
                </a:extLst>
              </p:cNvPr>
              <p:cNvSpPr>
                <a:spLocks/>
              </p:cNvSpPr>
              <p:nvPr/>
            </p:nvSpPr>
            <p:spPr bwMode="auto">
              <a:xfrm>
                <a:off x="2308" y="3281"/>
                <a:ext cx="22" cy="17"/>
              </a:xfrm>
              <a:custGeom>
                <a:avLst/>
                <a:gdLst>
                  <a:gd name="T0" fmla="*/ 27 w 46"/>
                  <a:gd name="T1" fmla="*/ 13 h 37"/>
                  <a:gd name="T2" fmla="*/ 46 w 46"/>
                  <a:gd name="T3" fmla="*/ 37 h 37"/>
                  <a:gd name="T4" fmla="*/ 39 w 46"/>
                  <a:gd name="T5" fmla="*/ 18 h 37"/>
                  <a:gd name="T6" fmla="*/ 34 w 46"/>
                  <a:gd name="T7" fmla="*/ 13 h 37"/>
                  <a:gd name="T8" fmla="*/ 18 w 46"/>
                  <a:gd name="T9" fmla="*/ 4 h 37"/>
                  <a:gd name="T10" fmla="*/ 3 w 46"/>
                  <a:gd name="T11" fmla="*/ 1 h 37"/>
                  <a:gd name="T12" fmla="*/ 1 w 46"/>
                  <a:gd name="T13" fmla="*/ 1 h 37"/>
                  <a:gd name="T14" fmla="*/ 0 w 46"/>
                  <a:gd name="T15" fmla="*/ 1 h 37"/>
                  <a:gd name="T16" fmla="*/ 12 w 46"/>
                  <a:gd name="T17" fmla="*/ 4 h 37"/>
                  <a:gd name="T18" fmla="*/ 27 w 46"/>
                  <a:gd name="T19" fmla="*/ 1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37">
                    <a:moveTo>
                      <a:pt x="27" y="13"/>
                    </a:moveTo>
                    <a:cubicBezTo>
                      <a:pt x="36" y="20"/>
                      <a:pt x="42" y="28"/>
                      <a:pt x="46" y="37"/>
                    </a:cubicBezTo>
                    <a:cubicBezTo>
                      <a:pt x="45" y="30"/>
                      <a:pt x="43" y="24"/>
                      <a:pt x="39" y="18"/>
                    </a:cubicBezTo>
                    <a:cubicBezTo>
                      <a:pt x="38" y="16"/>
                      <a:pt x="36" y="15"/>
                      <a:pt x="34" y="13"/>
                    </a:cubicBezTo>
                    <a:cubicBezTo>
                      <a:pt x="29" y="10"/>
                      <a:pt x="24" y="6"/>
                      <a:pt x="18" y="4"/>
                    </a:cubicBezTo>
                    <a:cubicBezTo>
                      <a:pt x="14" y="2"/>
                      <a:pt x="9" y="1"/>
                      <a:pt x="3" y="1"/>
                    </a:cubicBezTo>
                    <a:cubicBezTo>
                      <a:pt x="3" y="0"/>
                      <a:pt x="2" y="1"/>
                      <a:pt x="1" y="1"/>
                    </a:cubicBezTo>
                    <a:cubicBezTo>
                      <a:pt x="0" y="1"/>
                      <a:pt x="0" y="1"/>
                      <a:pt x="0" y="1"/>
                    </a:cubicBezTo>
                    <a:cubicBezTo>
                      <a:pt x="4" y="1"/>
                      <a:pt x="8" y="2"/>
                      <a:pt x="12" y="4"/>
                    </a:cubicBezTo>
                    <a:cubicBezTo>
                      <a:pt x="18" y="6"/>
                      <a:pt x="23" y="9"/>
                      <a:pt x="27"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7">
                <a:extLst>
                  <a:ext uri="{FF2B5EF4-FFF2-40B4-BE49-F238E27FC236}">
                    <a16:creationId xmlns:a16="http://schemas.microsoft.com/office/drawing/2014/main" id="{58552537-EC15-4E65-AF59-F2351395B55C}"/>
                  </a:ext>
                </a:extLst>
              </p:cNvPr>
              <p:cNvSpPr>
                <a:spLocks/>
              </p:cNvSpPr>
              <p:nvPr/>
            </p:nvSpPr>
            <p:spPr bwMode="auto">
              <a:xfrm>
                <a:off x="2380" y="3313"/>
                <a:ext cx="13" cy="14"/>
              </a:xfrm>
              <a:custGeom>
                <a:avLst/>
                <a:gdLst>
                  <a:gd name="T0" fmla="*/ 14 w 27"/>
                  <a:gd name="T1" fmla="*/ 15 h 29"/>
                  <a:gd name="T2" fmla="*/ 20 w 27"/>
                  <a:gd name="T3" fmla="*/ 28 h 29"/>
                  <a:gd name="T4" fmla="*/ 24 w 27"/>
                  <a:gd name="T5" fmla="*/ 27 h 29"/>
                  <a:gd name="T6" fmla="*/ 20 w 27"/>
                  <a:gd name="T7" fmla="*/ 9 h 29"/>
                  <a:gd name="T8" fmla="*/ 8 w 27"/>
                  <a:gd name="T9" fmla="*/ 1 h 29"/>
                  <a:gd name="T10" fmla="*/ 1 w 27"/>
                  <a:gd name="T11" fmla="*/ 3 h 29"/>
                  <a:gd name="T12" fmla="*/ 2 w 27"/>
                  <a:gd name="T13" fmla="*/ 8 h 29"/>
                  <a:gd name="T14" fmla="*/ 9 w 27"/>
                  <a:gd name="T15" fmla="*/ 11 h 29"/>
                  <a:gd name="T16" fmla="*/ 14 w 27"/>
                  <a:gd name="T17"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29">
                    <a:moveTo>
                      <a:pt x="14" y="15"/>
                    </a:moveTo>
                    <a:cubicBezTo>
                      <a:pt x="17" y="19"/>
                      <a:pt x="16" y="26"/>
                      <a:pt x="20" y="28"/>
                    </a:cubicBezTo>
                    <a:cubicBezTo>
                      <a:pt x="22" y="29"/>
                      <a:pt x="24" y="28"/>
                      <a:pt x="24" y="27"/>
                    </a:cubicBezTo>
                    <a:cubicBezTo>
                      <a:pt x="27" y="21"/>
                      <a:pt x="23" y="14"/>
                      <a:pt x="20" y="9"/>
                    </a:cubicBezTo>
                    <a:cubicBezTo>
                      <a:pt x="17" y="5"/>
                      <a:pt x="12" y="1"/>
                      <a:pt x="8" y="1"/>
                    </a:cubicBezTo>
                    <a:cubicBezTo>
                      <a:pt x="5" y="0"/>
                      <a:pt x="2" y="1"/>
                      <a:pt x="1" y="3"/>
                    </a:cubicBezTo>
                    <a:cubicBezTo>
                      <a:pt x="0" y="4"/>
                      <a:pt x="1" y="6"/>
                      <a:pt x="2" y="8"/>
                    </a:cubicBezTo>
                    <a:cubicBezTo>
                      <a:pt x="4" y="10"/>
                      <a:pt x="7" y="9"/>
                      <a:pt x="9" y="11"/>
                    </a:cubicBezTo>
                    <a:cubicBezTo>
                      <a:pt x="11" y="12"/>
                      <a:pt x="13" y="13"/>
                      <a:pt x="14"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8">
                <a:extLst>
                  <a:ext uri="{FF2B5EF4-FFF2-40B4-BE49-F238E27FC236}">
                    <a16:creationId xmlns:a16="http://schemas.microsoft.com/office/drawing/2014/main" id="{845D6141-2C98-4040-A706-DA173828B119}"/>
                  </a:ext>
                </a:extLst>
              </p:cNvPr>
              <p:cNvSpPr>
                <a:spLocks/>
              </p:cNvSpPr>
              <p:nvPr/>
            </p:nvSpPr>
            <p:spPr bwMode="auto">
              <a:xfrm>
                <a:off x="2385" y="3277"/>
                <a:ext cx="23" cy="20"/>
              </a:xfrm>
              <a:custGeom>
                <a:avLst/>
                <a:gdLst>
                  <a:gd name="T0" fmla="*/ 48 w 49"/>
                  <a:gd name="T1" fmla="*/ 44 h 44"/>
                  <a:gd name="T2" fmla="*/ 47 w 49"/>
                  <a:gd name="T3" fmla="*/ 34 h 44"/>
                  <a:gd name="T4" fmla="*/ 23 w 49"/>
                  <a:gd name="T5" fmla="*/ 4 h 44"/>
                  <a:gd name="T6" fmla="*/ 6 w 49"/>
                  <a:gd name="T7" fmla="*/ 0 h 44"/>
                  <a:gd name="T8" fmla="*/ 0 w 49"/>
                  <a:gd name="T9" fmla="*/ 3 h 44"/>
                  <a:gd name="T10" fmla="*/ 20 w 49"/>
                  <a:gd name="T11" fmla="*/ 11 h 44"/>
                  <a:gd name="T12" fmla="*/ 48 w 49"/>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49" h="44">
                    <a:moveTo>
                      <a:pt x="48" y="44"/>
                    </a:moveTo>
                    <a:cubicBezTo>
                      <a:pt x="49" y="42"/>
                      <a:pt x="48" y="37"/>
                      <a:pt x="47" y="34"/>
                    </a:cubicBezTo>
                    <a:cubicBezTo>
                      <a:pt x="42" y="22"/>
                      <a:pt x="36" y="13"/>
                      <a:pt x="23" y="4"/>
                    </a:cubicBezTo>
                    <a:cubicBezTo>
                      <a:pt x="17" y="0"/>
                      <a:pt x="12" y="0"/>
                      <a:pt x="6" y="0"/>
                    </a:cubicBezTo>
                    <a:cubicBezTo>
                      <a:pt x="4" y="0"/>
                      <a:pt x="1" y="0"/>
                      <a:pt x="0" y="3"/>
                    </a:cubicBezTo>
                    <a:cubicBezTo>
                      <a:pt x="7" y="4"/>
                      <a:pt x="14" y="7"/>
                      <a:pt x="20" y="11"/>
                    </a:cubicBezTo>
                    <a:cubicBezTo>
                      <a:pt x="32" y="19"/>
                      <a:pt x="41" y="31"/>
                      <a:pt x="48"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9">
                <a:extLst>
                  <a:ext uri="{FF2B5EF4-FFF2-40B4-BE49-F238E27FC236}">
                    <a16:creationId xmlns:a16="http://schemas.microsoft.com/office/drawing/2014/main" id="{4A310185-136F-497B-8F5B-E169A1638DFA}"/>
                  </a:ext>
                </a:extLst>
              </p:cNvPr>
              <p:cNvSpPr>
                <a:spLocks/>
              </p:cNvSpPr>
              <p:nvPr/>
            </p:nvSpPr>
            <p:spPr bwMode="auto">
              <a:xfrm>
                <a:off x="2459" y="3472"/>
                <a:ext cx="61" cy="125"/>
              </a:xfrm>
              <a:custGeom>
                <a:avLst/>
                <a:gdLst>
                  <a:gd name="T0" fmla="*/ 89 w 130"/>
                  <a:gd name="T1" fmla="*/ 110 h 265"/>
                  <a:gd name="T2" fmla="*/ 85 w 130"/>
                  <a:gd name="T3" fmla="*/ 183 h 265"/>
                  <a:gd name="T4" fmla="*/ 68 w 130"/>
                  <a:gd name="T5" fmla="*/ 239 h 265"/>
                  <a:gd name="T6" fmla="*/ 47 w 130"/>
                  <a:gd name="T7" fmla="*/ 250 h 265"/>
                  <a:gd name="T8" fmla="*/ 35 w 130"/>
                  <a:gd name="T9" fmla="*/ 265 h 265"/>
                  <a:gd name="T10" fmla="*/ 39 w 130"/>
                  <a:gd name="T11" fmla="*/ 263 h 265"/>
                  <a:gd name="T12" fmla="*/ 57 w 130"/>
                  <a:gd name="T13" fmla="*/ 252 h 265"/>
                  <a:gd name="T14" fmla="*/ 64 w 130"/>
                  <a:gd name="T15" fmla="*/ 249 h 265"/>
                  <a:gd name="T16" fmla="*/ 71 w 130"/>
                  <a:gd name="T17" fmla="*/ 247 h 265"/>
                  <a:gd name="T18" fmla="*/ 82 w 130"/>
                  <a:gd name="T19" fmla="*/ 246 h 265"/>
                  <a:gd name="T20" fmla="*/ 100 w 130"/>
                  <a:gd name="T21" fmla="*/ 245 h 265"/>
                  <a:gd name="T22" fmla="*/ 116 w 130"/>
                  <a:gd name="T23" fmla="*/ 245 h 265"/>
                  <a:gd name="T24" fmla="*/ 130 w 130"/>
                  <a:gd name="T25" fmla="*/ 246 h 265"/>
                  <a:gd name="T26" fmla="*/ 122 w 130"/>
                  <a:gd name="T27" fmla="*/ 244 h 265"/>
                  <a:gd name="T28" fmla="*/ 116 w 130"/>
                  <a:gd name="T29" fmla="*/ 243 h 265"/>
                  <a:gd name="T30" fmla="*/ 95 w 130"/>
                  <a:gd name="T31" fmla="*/ 239 h 265"/>
                  <a:gd name="T32" fmla="*/ 75 w 130"/>
                  <a:gd name="T33" fmla="*/ 238 h 265"/>
                  <a:gd name="T34" fmla="*/ 94 w 130"/>
                  <a:gd name="T35" fmla="*/ 182 h 265"/>
                  <a:gd name="T36" fmla="*/ 96 w 130"/>
                  <a:gd name="T37" fmla="*/ 107 h 265"/>
                  <a:gd name="T38" fmla="*/ 47 w 130"/>
                  <a:gd name="T39" fmla="*/ 27 h 265"/>
                  <a:gd name="T40" fmla="*/ 0 w 130"/>
                  <a:gd name="T41" fmla="*/ 0 h 265"/>
                  <a:gd name="T42" fmla="*/ 44 w 130"/>
                  <a:gd name="T43" fmla="*/ 30 h 265"/>
                  <a:gd name="T44" fmla="*/ 89 w 130"/>
                  <a:gd name="T45" fmla="*/ 11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0" h="265">
                    <a:moveTo>
                      <a:pt x="89" y="110"/>
                    </a:moveTo>
                    <a:cubicBezTo>
                      <a:pt x="93" y="134"/>
                      <a:pt x="90" y="159"/>
                      <a:pt x="85" y="183"/>
                    </a:cubicBezTo>
                    <a:cubicBezTo>
                      <a:pt x="80" y="202"/>
                      <a:pt x="74" y="221"/>
                      <a:pt x="68" y="239"/>
                    </a:cubicBezTo>
                    <a:cubicBezTo>
                      <a:pt x="60" y="240"/>
                      <a:pt x="53" y="244"/>
                      <a:pt x="47" y="250"/>
                    </a:cubicBezTo>
                    <a:cubicBezTo>
                      <a:pt x="42" y="254"/>
                      <a:pt x="38" y="260"/>
                      <a:pt x="35" y="265"/>
                    </a:cubicBezTo>
                    <a:cubicBezTo>
                      <a:pt x="36" y="264"/>
                      <a:pt x="38" y="264"/>
                      <a:pt x="39" y="263"/>
                    </a:cubicBezTo>
                    <a:cubicBezTo>
                      <a:pt x="45" y="259"/>
                      <a:pt x="50" y="255"/>
                      <a:pt x="57" y="252"/>
                    </a:cubicBezTo>
                    <a:cubicBezTo>
                      <a:pt x="59" y="251"/>
                      <a:pt x="62" y="250"/>
                      <a:pt x="64" y="249"/>
                    </a:cubicBezTo>
                    <a:cubicBezTo>
                      <a:pt x="66" y="248"/>
                      <a:pt x="69" y="248"/>
                      <a:pt x="71" y="247"/>
                    </a:cubicBezTo>
                    <a:cubicBezTo>
                      <a:pt x="75" y="247"/>
                      <a:pt x="78" y="246"/>
                      <a:pt x="82" y="246"/>
                    </a:cubicBezTo>
                    <a:cubicBezTo>
                      <a:pt x="88" y="245"/>
                      <a:pt x="94" y="245"/>
                      <a:pt x="100" y="245"/>
                    </a:cubicBezTo>
                    <a:cubicBezTo>
                      <a:pt x="105" y="245"/>
                      <a:pt x="110" y="245"/>
                      <a:pt x="116" y="245"/>
                    </a:cubicBezTo>
                    <a:cubicBezTo>
                      <a:pt x="120" y="245"/>
                      <a:pt x="125" y="245"/>
                      <a:pt x="130" y="246"/>
                    </a:cubicBezTo>
                    <a:cubicBezTo>
                      <a:pt x="127" y="245"/>
                      <a:pt x="125" y="245"/>
                      <a:pt x="122" y="244"/>
                    </a:cubicBezTo>
                    <a:cubicBezTo>
                      <a:pt x="120" y="244"/>
                      <a:pt x="118" y="243"/>
                      <a:pt x="116" y="243"/>
                    </a:cubicBezTo>
                    <a:cubicBezTo>
                      <a:pt x="109" y="242"/>
                      <a:pt x="102" y="241"/>
                      <a:pt x="95" y="239"/>
                    </a:cubicBezTo>
                    <a:cubicBezTo>
                      <a:pt x="88" y="238"/>
                      <a:pt x="82" y="238"/>
                      <a:pt x="75" y="238"/>
                    </a:cubicBezTo>
                    <a:cubicBezTo>
                      <a:pt x="82" y="219"/>
                      <a:pt x="89" y="201"/>
                      <a:pt x="94" y="182"/>
                    </a:cubicBezTo>
                    <a:cubicBezTo>
                      <a:pt x="101" y="153"/>
                      <a:pt x="101" y="132"/>
                      <a:pt x="96" y="107"/>
                    </a:cubicBezTo>
                    <a:cubicBezTo>
                      <a:pt x="91" y="75"/>
                      <a:pt x="73" y="46"/>
                      <a:pt x="47" y="27"/>
                    </a:cubicBezTo>
                    <a:cubicBezTo>
                      <a:pt x="32" y="16"/>
                      <a:pt x="16" y="9"/>
                      <a:pt x="0" y="0"/>
                    </a:cubicBezTo>
                    <a:cubicBezTo>
                      <a:pt x="14" y="11"/>
                      <a:pt x="31" y="19"/>
                      <a:pt x="44" y="30"/>
                    </a:cubicBezTo>
                    <a:cubicBezTo>
                      <a:pt x="69" y="50"/>
                      <a:pt x="84" y="80"/>
                      <a:pt x="89"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10">
                <a:extLst>
                  <a:ext uri="{FF2B5EF4-FFF2-40B4-BE49-F238E27FC236}">
                    <a16:creationId xmlns:a16="http://schemas.microsoft.com/office/drawing/2014/main" id="{5B008EC4-0586-4F5E-9CA2-CF65F43AEB84}"/>
                  </a:ext>
                </a:extLst>
              </p:cNvPr>
              <p:cNvSpPr>
                <a:spLocks/>
              </p:cNvSpPr>
              <p:nvPr/>
            </p:nvSpPr>
            <p:spPr bwMode="auto">
              <a:xfrm>
                <a:off x="2354" y="3289"/>
                <a:ext cx="54" cy="60"/>
              </a:xfrm>
              <a:custGeom>
                <a:avLst/>
                <a:gdLst>
                  <a:gd name="T0" fmla="*/ 8 w 114"/>
                  <a:gd name="T1" fmla="*/ 85 h 128"/>
                  <a:gd name="T2" fmla="*/ 12 w 114"/>
                  <a:gd name="T3" fmla="*/ 94 h 128"/>
                  <a:gd name="T4" fmla="*/ 21 w 114"/>
                  <a:gd name="T5" fmla="*/ 98 h 128"/>
                  <a:gd name="T6" fmla="*/ 32 w 114"/>
                  <a:gd name="T7" fmla="*/ 105 h 128"/>
                  <a:gd name="T8" fmla="*/ 29 w 114"/>
                  <a:gd name="T9" fmla="*/ 98 h 128"/>
                  <a:gd name="T10" fmla="*/ 27 w 114"/>
                  <a:gd name="T11" fmla="*/ 79 h 128"/>
                  <a:gd name="T12" fmla="*/ 34 w 114"/>
                  <a:gd name="T13" fmla="*/ 55 h 128"/>
                  <a:gd name="T14" fmla="*/ 43 w 114"/>
                  <a:gd name="T15" fmla="*/ 47 h 128"/>
                  <a:gd name="T16" fmla="*/ 55 w 114"/>
                  <a:gd name="T17" fmla="*/ 43 h 128"/>
                  <a:gd name="T18" fmla="*/ 66 w 114"/>
                  <a:gd name="T19" fmla="*/ 44 h 128"/>
                  <a:gd name="T20" fmla="*/ 86 w 114"/>
                  <a:gd name="T21" fmla="*/ 62 h 128"/>
                  <a:gd name="T22" fmla="*/ 90 w 114"/>
                  <a:gd name="T23" fmla="*/ 89 h 128"/>
                  <a:gd name="T24" fmla="*/ 86 w 114"/>
                  <a:gd name="T25" fmla="*/ 103 h 128"/>
                  <a:gd name="T26" fmla="*/ 76 w 114"/>
                  <a:gd name="T27" fmla="*/ 115 h 128"/>
                  <a:gd name="T28" fmla="*/ 65 w 114"/>
                  <a:gd name="T29" fmla="*/ 119 h 128"/>
                  <a:gd name="T30" fmla="*/ 85 w 114"/>
                  <a:gd name="T31" fmla="*/ 125 h 128"/>
                  <a:gd name="T32" fmla="*/ 97 w 114"/>
                  <a:gd name="T33" fmla="*/ 128 h 128"/>
                  <a:gd name="T34" fmla="*/ 106 w 114"/>
                  <a:gd name="T35" fmla="*/ 114 h 128"/>
                  <a:gd name="T36" fmla="*/ 113 w 114"/>
                  <a:gd name="T37" fmla="*/ 83 h 128"/>
                  <a:gd name="T38" fmla="*/ 108 w 114"/>
                  <a:gd name="T39" fmla="*/ 43 h 128"/>
                  <a:gd name="T40" fmla="*/ 82 w 114"/>
                  <a:gd name="T41" fmla="*/ 8 h 128"/>
                  <a:gd name="T42" fmla="*/ 62 w 114"/>
                  <a:gd name="T43" fmla="*/ 1 h 128"/>
                  <a:gd name="T44" fmla="*/ 40 w 114"/>
                  <a:gd name="T45" fmla="*/ 3 h 128"/>
                  <a:gd name="T46" fmla="*/ 29 w 114"/>
                  <a:gd name="T47" fmla="*/ 9 h 128"/>
                  <a:gd name="T48" fmla="*/ 4 w 114"/>
                  <a:gd name="T49" fmla="*/ 40 h 128"/>
                  <a:gd name="T50" fmla="*/ 2 w 114"/>
                  <a:gd name="T51" fmla="*/ 75 h 128"/>
                  <a:gd name="T52" fmla="*/ 8 w 114"/>
                  <a:gd name="T53" fmla="*/ 8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4" h="128">
                    <a:moveTo>
                      <a:pt x="8" y="85"/>
                    </a:moveTo>
                    <a:cubicBezTo>
                      <a:pt x="10" y="88"/>
                      <a:pt x="11" y="91"/>
                      <a:pt x="12" y="94"/>
                    </a:cubicBezTo>
                    <a:cubicBezTo>
                      <a:pt x="15" y="95"/>
                      <a:pt x="18" y="97"/>
                      <a:pt x="21" y="98"/>
                    </a:cubicBezTo>
                    <a:cubicBezTo>
                      <a:pt x="25" y="100"/>
                      <a:pt x="28" y="103"/>
                      <a:pt x="32" y="105"/>
                    </a:cubicBezTo>
                    <a:cubicBezTo>
                      <a:pt x="31" y="103"/>
                      <a:pt x="30" y="100"/>
                      <a:pt x="29" y="98"/>
                    </a:cubicBezTo>
                    <a:cubicBezTo>
                      <a:pt x="27" y="92"/>
                      <a:pt x="26" y="85"/>
                      <a:pt x="27" y="79"/>
                    </a:cubicBezTo>
                    <a:cubicBezTo>
                      <a:pt x="27" y="71"/>
                      <a:pt x="29" y="62"/>
                      <a:pt x="34" y="55"/>
                    </a:cubicBezTo>
                    <a:cubicBezTo>
                      <a:pt x="36" y="52"/>
                      <a:pt x="39" y="49"/>
                      <a:pt x="43" y="47"/>
                    </a:cubicBezTo>
                    <a:cubicBezTo>
                      <a:pt x="46" y="44"/>
                      <a:pt x="50" y="43"/>
                      <a:pt x="55" y="43"/>
                    </a:cubicBezTo>
                    <a:cubicBezTo>
                      <a:pt x="59" y="42"/>
                      <a:pt x="63" y="43"/>
                      <a:pt x="66" y="44"/>
                    </a:cubicBezTo>
                    <a:cubicBezTo>
                      <a:pt x="75" y="47"/>
                      <a:pt x="82" y="54"/>
                      <a:pt x="86" y="62"/>
                    </a:cubicBezTo>
                    <a:cubicBezTo>
                      <a:pt x="90" y="70"/>
                      <a:pt x="91" y="80"/>
                      <a:pt x="90" y="89"/>
                    </a:cubicBezTo>
                    <a:cubicBezTo>
                      <a:pt x="90" y="94"/>
                      <a:pt x="88" y="99"/>
                      <a:pt x="86" y="103"/>
                    </a:cubicBezTo>
                    <a:cubicBezTo>
                      <a:pt x="83" y="108"/>
                      <a:pt x="80" y="112"/>
                      <a:pt x="76" y="115"/>
                    </a:cubicBezTo>
                    <a:cubicBezTo>
                      <a:pt x="72" y="117"/>
                      <a:pt x="69" y="118"/>
                      <a:pt x="65" y="119"/>
                    </a:cubicBezTo>
                    <a:cubicBezTo>
                      <a:pt x="71" y="121"/>
                      <a:pt x="78" y="123"/>
                      <a:pt x="85" y="125"/>
                    </a:cubicBezTo>
                    <a:cubicBezTo>
                      <a:pt x="88" y="126"/>
                      <a:pt x="92" y="127"/>
                      <a:pt x="97" y="128"/>
                    </a:cubicBezTo>
                    <a:cubicBezTo>
                      <a:pt x="101" y="124"/>
                      <a:pt x="104" y="119"/>
                      <a:pt x="106" y="114"/>
                    </a:cubicBezTo>
                    <a:cubicBezTo>
                      <a:pt x="111" y="104"/>
                      <a:pt x="112" y="94"/>
                      <a:pt x="113" y="83"/>
                    </a:cubicBezTo>
                    <a:cubicBezTo>
                      <a:pt x="114" y="69"/>
                      <a:pt x="112" y="56"/>
                      <a:pt x="108" y="43"/>
                    </a:cubicBezTo>
                    <a:cubicBezTo>
                      <a:pt x="103" y="29"/>
                      <a:pt x="94" y="16"/>
                      <a:pt x="82" y="8"/>
                    </a:cubicBezTo>
                    <a:cubicBezTo>
                      <a:pt x="76" y="4"/>
                      <a:pt x="69" y="2"/>
                      <a:pt x="62" y="1"/>
                    </a:cubicBezTo>
                    <a:cubicBezTo>
                      <a:pt x="54" y="0"/>
                      <a:pt x="47" y="0"/>
                      <a:pt x="40" y="3"/>
                    </a:cubicBezTo>
                    <a:cubicBezTo>
                      <a:pt x="36" y="5"/>
                      <a:pt x="32" y="7"/>
                      <a:pt x="29" y="9"/>
                    </a:cubicBezTo>
                    <a:cubicBezTo>
                      <a:pt x="18" y="17"/>
                      <a:pt x="9" y="27"/>
                      <a:pt x="4" y="40"/>
                    </a:cubicBezTo>
                    <a:cubicBezTo>
                      <a:pt x="0" y="51"/>
                      <a:pt x="0" y="63"/>
                      <a:pt x="2" y="75"/>
                    </a:cubicBezTo>
                    <a:cubicBezTo>
                      <a:pt x="4" y="78"/>
                      <a:pt x="7" y="82"/>
                      <a:pt x="8"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11">
                <a:extLst>
                  <a:ext uri="{FF2B5EF4-FFF2-40B4-BE49-F238E27FC236}">
                    <a16:creationId xmlns:a16="http://schemas.microsoft.com/office/drawing/2014/main" id="{734C1F3A-5CCD-4299-86D5-16E1AF0EF685}"/>
                  </a:ext>
                </a:extLst>
              </p:cNvPr>
              <p:cNvSpPr>
                <a:spLocks/>
              </p:cNvSpPr>
              <p:nvPr/>
            </p:nvSpPr>
            <p:spPr bwMode="auto">
              <a:xfrm>
                <a:off x="2311" y="3315"/>
                <a:ext cx="8" cy="13"/>
              </a:xfrm>
              <a:custGeom>
                <a:avLst/>
                <a:gdLst>
                  <a:gd name="T0" fmla="*/ 11 w 18"/>
                  <a:gd name="T1" fmla="*/ 28 h 29"/>
                  <a:gd name="T2" fmla="*/ 15 w 18"/>
                  <a:gd name="T3" fmla="*/ 28 h 29"/>
                  <a:gd name="T4" fmla="*/ 16 w 18"/>
                  <a:gd name="T5" fmla="*/ 12 h 29"/>
                  <a:gd name="T6" fmla="*/ 8 w 18"/>
                  <a:gd name="T7" fmla="*/ 2 h 29"/>
                  <a:gd name="T8" fmla="*/ 1 w 18"/>
                  <a:gd name="T9" fmla="*/ 1 h 29"/>
                  <a:gd name="T10" fmla="*/ 1 w 18"/>
                  <a:gd name="T11" fmla="*/ 5 h 29"/>
                  <a:gd name="T12" fmla="*/ 6 w 18"/>
                  <a:gd name="T13" fmla="*/ 10 h 29"/>
                  <a:gd name="T14" fmla="*/ 9 w 18"/>
                  <a:gd name="T15" fmla="*/ 15 h 29"/>
                  <a:gd name="T16" fmla="*/ 11 w 18"/>
                  <a:gd name="T17" fmla="*/ 2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29">
                    <a:moveTo>
                      <a:pt x="11" y="28"/>
                    </a:moveTo>
                    <a:cubicBezTo>
                      <a:pt x="12" y="29"/>
                      <a:pt x="14" y="29"/>
                      <a:pt x="15" y="28"/>
                    </a:cubicBezTo>
                    <a:cubicBezTo>
                      <a:pt x="18" y="24"/>
                      <a:pt x="18" y="17"/>
                      <a:pt x="16" y="12"/>
                    </a:cubicBezTo>
                    <a:cubicBezTo>
                      <a:pt x="15" y="8"/>
                      <a:pt x="12" y="4"/>
                      <a:pt x="8" y="2"/>
                    </a:cubicBezTo>
                    <a:cubicBezTo>
                      <a:pt x="6" y="1"/>
                      <a:pt x="3" y="0"/>
                      <a:pt x="1" y="1"/>
                    </a:cubicBezTo>
                    <a:cubicBezTo>
                      <a:pt x="0" y="2"/>
                      <a:pt x="1" y="4"/>
                      <a:pt x="1" y="5"/>
                    </a:cubicBezTo>
                    <a:cubicBezTo>
                      <a:pt x="2" y="8"/>
                      <a:pt x="4" y="8"/>
                      <a:pt x="6" y="10"/>
                    </a:cubicBezTo>
                    <a:cubicBezTo>
                      <a:pt x="7" y="12"/>
                      <a:pt x="9" y="13"/>
                      <a:pt x="9" y="15"/>
                    </a:cubicBezTo>
                    <a:cubicBezTo>
                      <a:pt x="11" y="19"/>
                      <a:pt x="8" y="25"/>
                      <a:pt x="11"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15E0501D-B7D0-4E3E-A3B8-C1ACEE6ED0F5}"/>
                  </a:ext>
                </a:extLst>
              </p:cNvPr>
              <p:cNvSpPr>
                <a:spLocks/>
              </p:cNvSpPr>
              <p:nvPr/>
            </p:nvSpPr>
            <p:spPr bwMode="auto">
              <a:xfrm>
                <a:off x="2220" y="3385"/>
                <a:ext cx="251" cy="332"/>
              </a:xfrm>
              <a:custGeom>
                <a:avLst/>
                <a:gdLst>
                  <a:gd name="T0" fmla="*/ 452 w 534"/>
                  <a:gd name="T1" fmla="*/ 506 h 708"/>
                  <a:gd name="T2" fmla="*/ 452 w 534"/>
                  <a:gd name="T3" fmla="*/ 483 h 708"/>
                  <a:gd name="T4" fmla="*/ 466 w 534"/>
                  <a:gd name="T5" fmla="*/ 457 h 708"/>
                  <a:gd name="T6" fmla="*/ 466 w 534"/>
                  <a:gd name="T7" fmla="*/ 456 h 708"/>
                  <a:gd name="T8" fmla="*/ 491 w 534"/>
                  <a:gd name="T9" fmla="*/ 448 h 708"/>
                  <a:gd name="T10" fmla="*/ 510 w 534"/>
                  <a:gd name="T11" fmla="*/ 449 h 708"/>
                  <a:gd name="T12" fmla="*/ 516 w 534"/>
                  <a:gd name="T13" fmla="*/ 450 h 708"/>
                  <a:gd name="T14" fmla="*/ 525 w 534"/>
                  <a:gd name="T15" fmla="*/ 451 h 708"/>
                  <a:gd name="T16" fmla="*/ 526 w 534"/>
                  <a:gd name="T17" fmla="*/ 446 h 708"/>
                  <a:gd name="T18" fmla="*/ 503 w 534"/>
                  <a:gd name="T19" fmla="*/ 234 h 708"/>
                  <a:gd name="T20" fmla="*/ 461 w 534"/>
                  <a:gd name="T21" fmla="*/ 174 h 708"/>
                  <a:gd name="T22" fmla="*/ 434 w 534"/>
                  <a:gd name="T23" fmla="*/ 84 h 708"/>
                  <a:gd name="T24" fmla="*/ 404 w 534"/>
                  <a:gd name="T25" fmla="*/ 22 h 708"/>
                  <a:gd name="T26" fmla="*/ 394 w 534"/>
                  <a:gd name="T27" fmla="*/ 0 h 708"/>
                  <a:gd name="T28" fmla="*/ 390 w 534"/>
                  <a:gd name="T29" fmla="*/ 4 h 708"/>
                  <a:gd name="T30" fmla="*/ 388 w 534"/>
                  <a:gd name="T31" fmla="*/ 6 h 708"/>
                  <a:gd name="T32" fmla="*/ 384 w 534"/>
                  <a:gd name="T33" fmla="*/ 8 h 708"/>
                  <a:gd name="T34" fmla="*/ 382 w 534"/>
                  <a:gd name="T35" fmla="*/ 9 h 708"/>
                  <a:gd name="T36" fmla="*/ 369 w 534"/>
                  <a:gd name="T37" fmla="*/ 13 h 708"/>
                  <a:gd name="T38" fmla="*/ 334 w 534"/>
                  <a:gd name="T39" fmla="*/ 33 h 708"/>
                  <a:gd name="T40" fmla="*/ 316 w 534"/>
                  <a:gd name="T41" fmla="*/ 45 h 708"/>
                  <a:gd name="T42" fmla="*/ 284 w 534"/>
                  <a:gd name="T43" fmla="*/ 58 h 708"/>
                  <a:gd name="T44" fmla="*/ 251 w 534"/>
                  <a:gd name="T45" fmla="*/ 62 h 708"/>
                  <a:gd name="T46" fmla="*/ 245 w 534"/>
                  <a:gd name="T47" fmla="*/ 62 h 708"/>
                  <a:gd name="T48" fmla="*/ 213 w 534"/>
                  <a:gd name="T49" fmla="*/ 51 h 708"/>
                  <a:gd name="T50" fmla="*/ 191 w 534"/>
                  <a:gd name="T51" fmla="*/ 31 h 708"/>
                  <a:gd name="T52" fmla="*/ 182 w 534"/>
                  <a:gd name="T53" fmla="*/ 20 h 708"/>
                  <a:gd name="T54" fmla="*/ 181 w 534"/>
                  <a:gd name="T55" fmla="*/ 20 h 708"/>
                  <a:gd name="T56" fmla="*/ 171 w 534"/>
                  <a:gd name="T57" fmla="*/ 9 h 708"/>
                  <a:gd name="T58" fmla="*/ 168 w 534"/>
                  <a:gd name="T59" fmla="*/ 49 h 708"/>
                  <a:gd name="T60" fmla="*/ 147 w 534"/>
                  <a:gd name="T61" fmla="*/ 86 h 708"/>
                  <a:gd name="T62" fmla="*/ 111 w 534"/>
                  <a:gd name="T63" fmla="*/ 151 h 708"/>
                  <a:gd name="T64" fmla="*/ 107 w 534"/>
                  <a:gd name="T65" fmla="*/ 196 h 708"/>
                  <a:gd name="T66" fmla="*/ 65 w 534"/>
                  <a:gd name="T67" fmla="*/ 271 h 708"/>
                  <a:gd name="T68" fmla="*/ 31 w 534"/>
                  <a:gd name="T69" fmla="*/ 396 h 708"/>
                  <a:gd name="T70" fmla="*/ 30 w 534"/>
                  <a:gd name="T71" fmla="*/ 435 h 708"/>
                  <a:gd name="T72" fmla="*/ 28 w 534"/>
                  <a:gd name="T73" fmla="*/ 433 h 708"/>
                  <a:gd name="T74" fmla="*/ 15 w 534"/>
                  <a:gd name="T75" fmla="*/ 401 h 708"/>
                  <a:gd name="T76" fmla="*/ 20 w 534"/>
                  <a:gd name="T77" fmla="*/ 315 h 708"/>
                  <a:gd name="T78" fmla="*/ 35 w 534"/>
                  <a:gd name="T79" fmla="*/ 280 h 708"/>
                  <a:gd name="T80" fmla="*/ 57 w 534"/>
                  <a:gd name="T81" fmla="*/ 221 h 708"/>
                  <a:gd name="T82" fmla="*/ 54 w 534"/>
                  <a:gd name="T83" fmla="*/ 225 h 708"/>
                  <a:gd name="T84" fmla="*/ 26 w 534"/>
                  <a:gd name="T85" fmla="*/ 279 h 708"/>
                  <a:gd name="T86" fmla="*/ 12 w 534"/>
                  <a:gd name="T87" fmla="*/ 311 h 708"/>
                  <a:gd name="T88" fmla="*/ 6 w 534"/>
                  <a:gd name="T89" fmla="*/ 399 h 708"/>
                  <a:gd name="T90" fmla="*/ 17 w 534"/>
                  <a:gd name="T91" fmla="*/ 430 h 708"/>
                  <a:gd name="T92" fmla="*/ 30 w 534"/>
                  <a:gd name="T93" fmla="*/ 447 h 708"/>
                  <a:gd name="T94" fmla="*/ 31 w 534"/>
                  <a:gd name="T95" fmla="*/ 459 h 708"/>
                  <a:gd name="T96" fmla="*/ 41 w 534"/>
                  <a:gd name="T97" fmla="*/ 472 h 708"/>
                  <a:gd name="T98" fmla="*/ 95 w 534"/>
                  <a:gd name="T99" fmla="*/ 552 h 708"/>
                  <a:gd name="T100" fmla="*/ 110 w 534"/>
                  <a:gd name="T101" fmla="*/ 577 h 708"/>
                  <a:gd name="T102" fmla="*/ 135 w 534"/>
                  <a:gd name="T103" fmla="*/ 616 h 708"/>
                  <a:gd name="T104" fmla="*/ 150 w 534"/>
                  <a:gd name="T105" fmla="*/ 635 h 708"/>
                  <a:gd name="T106" fmla="*/ 167 w 534"/>
                  <a:gd name="T107" fmla="*/ 655 h 708"/>
                  <a:gd name="T108" fmla="*/ 185 w 534"/>
                  <a:gd name="T109" fmla="*/ 685 h 708"/>
                  <a:gd name="T110" fmla="*/ 365 w 534"/>
                  <a:gd name="T111" fmla="*/ 676 h 708"/>
                  <a:gd name="T112" fmla="*/ 448 w 534"/>
                  <a:gd name="T113" fmla="*/ 610 h 708"/>
                  <a:gd name="T114" fmla="*/ 451 w 534"/>
                  <a:gd name="T115" fmla="*/ 607 h 708"/>
                  <a:gd name="T116" fmla="*/ 452 w 534"/>
                  <a:gd name="T117" fmla="*/ 506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34" h="708">
                    <a:moveTo>
                      <a:pt x="452" y="506"/>
                    </a:moveTo>
                    <a:cubicBezTo>
                      <a:pt x="451" y="498"/>
                      <a:pt x="451" y="491"/>
                      <a:pt x="452" y="483"/>
                    </a:cubicBezTo>
                    <a:cubicBezTo>
                      <a:pt x="453" y="476"/>
                      <a:pt x="456" y="465"/>
                      <a:pt x="466" y="457"/>
                    </a:cubicBezTo>
                    <a:cubicBezTo>
                      <a:pt x="466" y="456"/>
                      <a:pt x="466" y="456"/>
                      <a:pt x="466" y="456"/>
                    </a:cubicBezTo>
                    <a:cubicBezTo>
                      <a:pt x="473" y="451"/>
                      <a:pt x="482" y="448"/>
                      <a:pt x="491" y="448"/>
                    </a:cubicBezTo>
                    <a:cubicBezTo>
                      <a:pt x="498" y="447"/>
                      <a:pt x="505" y="448"/>
                      <a:pt x="510" y="449"/>
                    </a:cubicBezTo>
                    <a:cubicBezTo>
                      <a:pt x="510" y="449"/>
                      <a:pt x="510" y="449"/>
                      <a:pt x="516" y="450"/>
                    </a:cubicBezTo>
                    <a:cubicBezTo>
                      <a:pt x="519" y="450"/>
                      <a:pt x="522" y="451"/>
                      <a:pt x="525" y="451"/>
                    </a:cubicBezTo>
                    <a:cubicBezTo>
                      <a:pt x="526" y="450"/>
                      <a:pt x="526" y="448"/>
                      <a:pt x="526" y="446"/>
                    </a:cubicBezTo>
                    <a:cubicBezTo>
                      <a:pt x="534" y="374"/>
                      <a:pt x="534" y="299"/>
                      <a:pt x="503" y="234"/>
                    </a:cubicBezTo>
                    <a:cubicBezTo>
                      <a:pt x="492" y="212"/>
                      <a:pt x="478" y="191"/>
                      <a:pt x="461" y="174"/>
                    </a:cubicBezTo>
                    <a:cubicBezTo>
                      <a:pt x="456" y="143"/>
                      <a:pt x="447" y="112"/>
                      <a:pt x="434" y="84"/>
                    </a:cubicBezTo>
                    <a:cubicBezTo>
                      <a:pt x="425" y="63"/>
                      <a:pt x="413" y="43"/>
                      <a:pt x="404" y="22"/>
                    </a:cubicBezTo>
                    <a:cubicBezTo>
                      <a:pt x="401" y="15"/>
                      <a:pt x="398" y="7"/>
                      <a:pt x="394" y="0"/>
                    </a:cubicBezTo>
                    <a:cubicBezTo>
                      <a:pt x="393" y="2"/>
                      <a:pt x="392" y="3"/>
                      <a:pt x="390" y="4"/>
                    </a:cubicBezTo>
                    <a:cubicBezTo>
                      <a:pt x="389" y="5"/>
                      <a:pt x="388" y="5"/>
                      <a:pt x="388" y="6"/>
                    </a:cubicBezTo>
                    <a:cubicBezTo>
                      <a:pt x="386" y="7"/>
                      <a:pt x="385" y="8"/>
                      <a:pt x="384" y="8"/>
                    </a:cubicBezTo>
                    <a:cubicBezTo>
                      <a:pt x="383" y="9"/>
                      <a:pt x="383" y="9"/>
                      <a:pt x="382" y="9"/>
                    </a:cubicBezTo>
                    <a:cubicBezTo>
                      <a:pt x="377" y="10"/>
                      <a:pt x="374" y="11"/>
                      <a:pt x="369" y="13"/>
                    </a:cubicBezTo>
                    <a:cubicBezTo>
                      <a:pt x="356" y="16"/>
                      <a:pt x="346" y="24"/>
                      <a:pt x="334" y="33"/>
                    </a:cubicBezTo>
                    <a:cubicBezTo>
                      <a:pt x="328" y="37"/>
                      <a:pt x="322" y="41"/>
                      <a:pt x="316" y="45"/>
                    </a:cubicBezTo>
                    <a:cubicBezTo>
                      <a:pt x="305" y="51"/>
                      <a:pt x="294" y="55"/>
                      <a:pt x="284" y="58"/>
                    </a:cubicBezTo>
                    <a:cubicBezTo>
                      <a:pt x="272" y="61"/>
                      <a:pt x="261" y="62"/>
                      <a:pt x="251" y="62"/>
                    </a:cubicBezTo>
                    <a:cubicBezTo>
                      <a:pt x="249" y="62"/>
                      <a:pt x="247" y="62"/>
                      <a:pt x="245" y="62"/>
                    </a:cubicBezTo>
                    <a:cubicBezTo>
                      <a:pt x="232" y="61"/>
                      <a:pt x="222" y="57"/>
                      <a:pt x="213" y="51"/>
                    </a:cubicBezTo>
                    <a:cubicBezTo>
                      <a:pt x="204" y="46"/>
                      <a:pt x="197" y="38"/>
                      <a:pt x="191" y="31"/>
                    </a:cubicBezTo>
                    <a:cubicBezTo>
                      <a:pt x="188" y="27"/>
                      <a:pt x="185" y="23"/>
                      <a:pt x="182" y="20"/>
                    </a:cubicBezTo>
                    <a:cubicBezTo>
                      <a:pt x="182" y="20"/>
                      <a:pt x="182" y="20"/>
                      <a:pt x="181" y="20"/>
                    </a:cubicBezTo>
                    <a:cubicBezTo>
                      <a:pt x="178" y="16"/>
                      <a:pt x="175" y="12"/>
                      <a:pt x="171" y="9"/>
                    </a:cubicBezTo>
                    <a:cubicBezTo>
                      <a:pt x="170" y="22"/>
                      <a:pt x="171" y="36"/>
                      <a:pt x="168" y="49"/>
                    </a:cubicBezTo>
                    <a:cubicBezTo>
                      <a:pt x="164" y="63"/>
                      <a:pt x="155" y="75"/>
                      <a:pt x="147" y="86"/>
                    </a:cubicBezTo>
                    <a:cubicBezTo>
                      <a:pt x="132" y="107"/>
                      <a:pt x="118" y="127"/>
                      <a:pt x="111" y="151"/>
                    </a:cubicBezTo>
                    <a:cubicBezTo>
                      <a:pt x="106" y="166"/>
                      <a:pt x="105" y="181"/>
                      <a:pt x="107" y="196"/>
                    </a:cubicBezTo>
                    <a:cubicBezTo>
                      <a:pt x="90" y="220"/>
                      <a:pt x="76" y="245"/>
                      <a:pt x="65" y="271"/>
                    </a:cubicBezTo>
                    <a:cubicBezTo>
                      <a:pt x="47" y="311"/>
                      <a:pt x="35" y="353"/>
                      <a:pt x="31" y="396"/>
                    </a:cubicBezTo>
                    <a:cubicBezTo>
                      <a:pt x="30" y="409"/>
                      <a:pt x="29" y="422"/>
                      <a:pt x="30" y="435"/>
                    </a:cubicBezTo>
                    <a:cubicBezTo>
                      <a:pt x="29" y="435"/>
                      <a:pt x="29" y="434"/>
                      <a:pt x="28" y="433"/>
                    </a:cubicBezTo>
                    <a:cubicBezTo>
                      <a:pt x="22" y="423"/>
                      <a:pt x="18" y="412"/>
                      <a:pt x="15" y="401"/>
                    </a:cubicBezTo>
                    <a:cubicBezTo>
                      <a:pt x="7" y="373"/>
                      <a:pt x="10" y="342"/>
                      <a:pt x="20" y="315"/>
                    </a:cubicBezTo>
                    <a:cubicBezTo>
                      <a:pt x="24" y="303"/>
                      <a:pt x="30" y="292"/>
                      <a:pt x="35" y="280"/>
                    </a:cubicBezTo>
                    <a:cubicBezTo>
                      <a:pt x="43" y="261"/>
                      <a:pt x="50" y="241"/>
                      <a:pt x="57" y="221"/>
                    </a:cubicBezTo>
                    <a:cubicBezTo>
                      <a:pt x="56" y="222"/>
                      <a:pt x="55" y="224"/>
                      <a:pt x="54" y="225"/>
                    </a:cubicBezTo>
                    <a:cubicBezTo>
                      <a:pt x="43" y="242"/>
                      <a:pt x="35" y="260"/>
                      <a:pt x="26" y="279"/>
                    </a:cubicBezTo>
                    <a:cubicBezTo>
                      <a:pt x="21" y="289"/>
                      <a:pt x="16" y="300"/>
                      <a:pt x="12" y="311"/>
                    </a:cubicBezTo>
                    <a:cubicBezTo>
                      <a:pt x="2" y="339"/>
                      <a:pt x="0" y="370"/>
                      <a:pt x="6" y="399"/>
                    </a:cubicBezTo>
                    <a:cubicBezTo>
                      <a:pt x="8" y="410"/>
                      <a:pt x="11" y="421"/>
                      <a:pt x="17" y="430"/>
                    </a:cubicBezTo>
                    <a:cubicBezTo>
                      <a:pt x="20" y="436"/>
                      <a:pt x="25" y="442"/>
                      <a:pt x="30" y="447"/>
                    </a:cubicBezTo>
                    <a:cubicBezTo>
                      <a:pt x="30" y="451"/>
                      <a:pt x="30" y="455"/>
                      <a:pt x="31" y="459"/>
                    </a:cubicBezTo>
                    <a:cubicBezTo>
                      <a:pt x="35" y="463"/>
                      <a:pt x="38" y="468"/>
                      <a:pt x="41" y="472"/>
                    </a:cubicBezTo>
                    <a:cubicBezTo>
                      <a:pt x="64" y="503"/>
                      <a:pt x="80" y="528"/>
                      <a:pt x="95" y="552"/>
                    </a:cubicBezTo>
                    <a:cubicBezTo>
                      <a:pt x="100" y="560"/>
                      <a:pt x="105" y="569"/>
                      <a:pt x="110" y="577"/>
                    </a:cubicBezTo>
                    <a:cubicBezTo>
                      <a:pt x="118" y="591"/>
                      <a:pt x="126" y="604"/>
                      <a:pt x="135" y="616"/>
                    </a:cubicBezTo>
                    <a:cubicBezTo>
                      <a:pt x="140" y="623"/>
                      <a:pt x="145" y="629"/>
                      <a:pt x="150" y="635"/>
                    </a:cubicBezTo>
                    <a:cubicBezTo>
                      <a:pt x="156" y="642"/>
                      <a:pt x="161" y="648"/>
                      <a:pt x="167" y="655"/>
                    </a:cubicBezTo>
                    <a:cubicBezTo>
                      <a:pt x="175" y="665"/>
                      <a:pt x="181" y="675"/>
                      <a:pt x="185" y="685"/>
                    </a:cubicBezTo>
                    <a:cubicBezTo>
                      <a:pt x="243" y="708"/>
                      <a:pt x="310" y="705"/>
                      <a:pt x="365" y="676"/>
                    </a:cubicBezTo>
                    <a:cubicBezTo>
                      <a:pt x="396" y="659"/>
                      <a:pt x="423" y="635"/>
                      <a:pt x="448" y="610"/>
                    </a:cubicBezTo>
                    <a:cubicBezTo>
                      <a:pt x="449" y="609"/>
                      <a:pt x="450" y="608"/>
                      <a:pt x="451" y="607"/>
                    </a:cubicBezTo>
                    <a:cubicBezTo>
                      <a:pt x="454" y="575"/>
                      <a:pt x="454" y="541"/>
                      <a:pt x="452" y="5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13">
                <a:extLst>
                  <a:ext uri="{FF2B5EF4-FFF2-40B4-BE49-F238E27FC236}">
                    <a16:creationId xmlns:a16="http://schemas.microsoft.com/office/drawing/2014/main" id="{87004056-AD56-4266-BB84-6085314EBA2F}"/>
                  </a:ext>
                </a:extLst>
              </p:cNvPr>
              <p:cNvSpPr>
                <a:spLocks/>
              </p:cNvSpPr>
              <p:nvPr/>
            </p:nvSpPr>
            <p:spPr bwMode="auto">
              <a:xfrm>
                <a:off x="2125" y="3589"/>
                <a:ext cx="181" cy="178"/>
              </a:xfrm>
              <a:custGeom>
                <a:avLst/>
                <a:gdLst>
                  <a:gd name="T0" fmla="*/ 355 w 384"/>
                  <a:gd name="T1" fmla="*/ 225 h 379"/>
                  <a:gd name="T2" fmla="*/ 323 w 384"/>
                  <a:gd name="T3" fmla="*/ 185 h 379"/>
                  <a:gd name="T4" fmla="*/ 283 w 384"/>
                  <a:gd name="T5" fmla="*/ 119 h 379"/>
                  <a:gd name="T6" fmla="*/ 230 w 384"/>
                  <a:gd name="T7" fmla="*/ 40 h 379"/>
                  <a:gd name="T8" fmla="*/ 202 w 384"/>
                  <a:gd name="T9" fmla="*/ 10 h 379"/>
                  <a:gd name="T10" fmla="*/ 183 w 384"/>
                  <a:gd name="T11" fmla="*/ 2 h 379"/>
                  <a:gd name="T12" fmla="*/ 162 w 384"/>
                  <a:gd name="T13" fmla="*/ 4 h 379"/>
                  <a:gd name="T14" fmla="*/ 147 w 384"/>
                  <a:gd name="T15" fmla="*/ 16 h 379"/>
                  <a:gd name="T16" fmla="*/ 136 w 384"/>
                  <a:gd name="T17" fmla="*/ 33 h 379"/>
                  <a:gd name="T18" fmla="*/ 125 w 384"/>
                  <a:gd name="T19" fmla="*/ 50 h 379"/>
                  <a:gd name="T20" fmla="*/ 111 w 384"/>
                  <a:gd name="T21" fmla="*/ 64 h 379"/>
                  <a:gd name="T22" fmla="*/ 90 w 384"/>
                  <a:gd name="T23" fmla="*/ 69 h 379"/>
                  <a:gd name="T24" fmla="*/ 69 w 384"/>
                  <a:gd name="T25" fmla="*/ 70 h 379"/>
                  <a:gd name="T26" fmla="*/ 48 w 384"/>
                  <a:gd name="T27" fmla="*/ 71 h 379"/>
                  <a:gd name="T28" fmla="*/ 29 w 384"/>
                  <a:gd name="T29" fmla="*/ 80 h 379"/>
                  <a:gd name="T30" fmla="*/ 19 w 384"/>
                  <a:gd name="T31" fmla="*/ 100 h 379"/>
                  <a:gd name="T32" fmla="*/ 18 w 384"/>
                  <a:gd name="T33" fmla="*/ 123 h 379"/>
                  <a:gd name="T34" fmla="*/ 23 w 384"/>
                  <a:gd name="T35" fmla="*/ 175 h 379"/>
                  <a:gd name="T36" fmla="*/ 16 w 384"/>
                  <a:gd name="T37" fmla="*/ 225 h 379"/>
                  <a:gd name="T38" fmla="*/ 3 w 384"/>
                  <a:gd name="T39" fmla="*/ 254 h 379"/>
                  <a:gd name="T40" fmla="*/ 0 w 384"/>
                  <a:gd name="T41" fmla="*/ 269 h 379"/>
                  <a:gd name="T42" fmla="*/ 4 w 384"/>
                  <a:gd name="T43" fmla="*/ 285 h 379"/>
                  <a:gd name="T44" fmla="*/ 19 w 384"/>
                  <a:gd name="T45" fmla="*/ 297 h 379"/>
                  <a:gd name="T46" fmla="*/ 39 w 384"/>
                  <a:gd name="T47" fmla="*/ 304 h 379"/>
                  <a:gd name="T48" fmla="*/ 82 w 384"/>
                  <a:gd name="T49" fmla="*/ 317 h 379"/>
                  <a:gd name="T50" fmla="*/ 227 w 384"/>
                  <a:gd name="T51" fmla="*/ 356 h 379"/>
                  <a:gd name="T52" fmla="*/ 296 w 384"/>
                  <a:gd name="T53" fmla="*/ 378 h 379"/>
                  <a:gd name="T54" fmla="*/ 340 w 384"/>
                  <a:gd name="T55" fmla="*/ 367 h 379"/>
                  <a:gd name="T56" fmla="*/ 372 w 384"/>
                  <a:gd name="T57" fmla="*/ 333 h 379"/>
                  <a:gd name="T58" fmla="*/ 378 w 384"/>
                  <a:gd name="T59" fmla="*/ 269 h 379"/>
                  <a:gd name="T60" fmla="*/ 355 w 384"/>
                  <a:gd name="T61" fmla="*/ 225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4" h="379">
                    <a:moveTo>
                      <a:pt x="355" y="225"/>
                    </a:moveTo>
                    <a:cubicBezTo>
                      <a:pt x="345" y="211"/>
                      <a:pt x="333" y="199"/>
                      <a:pt x="323" y="185"/>
                    </a:cubicBezTo>
                    <a:cubicBezTo>
                      <a:pt x="308" y="165"/>
                      <a:pt x="296" y="142"/>
                      <a:pt x="283" y="119"/>
                    </a:cubicBezTo>
                    <a:cubicBezTo>
                      <a:pt x="266" y="92"/>
                      <a:pt x="248" y="66"/>
                      <a:pt x="230" y="40"/>
                    </a:cubicBezTo>
                    <a:cubicBezTo>
                      <a:pt x="222" y="29"/>
                      <a:pt x="213" y="18"/>
                      <a:pt x="202" y="10"/>
                    </a:cubicBezTo>
                    <a:cubicBezTo>
                      <a:pt x="196" y="6"/>
                      <a:pt x="190" y="3"/>
                      <a:pt x="183" y="2"/>
                    </a:cubicBezTo>
                    <a:cubicBezTo>
                      <a:pt x="176" y="0"/>
                      <a:pt x="169" y="1"/>
                      <a:pt x="162" y="4"/>
                    </a:cubicBezTo>
                    <a:cubicBezTo>
                      <a:pt x="156" y="6"/>
                      <a:pt x="151" y="11"/>
                      <a:pt x="147" y="16"/>
                    </a:cubicBezTo>
                    <a:cubicBezTo>
                      <a:pt x="142" y="21"/>
                      <a:pt x="139" y="27"/>
                      <a:pt x="136" y="33"/>
                    </a:cubicBezTo>
                    <a:cubicBezTo>
                      <a:pt x="132" y="39"/>
                      <a:pt x="129" y="45"/>
                      <a:pt x="125" y="50"/>
                    </a:cubicBezTo>
                    <a:cubicBezTo>
                      <a:pt x="121" y="55"/>
                      <a:pt x="116" y="60"/>
                      <a:pt x="111" y="64"/>
                    </a:cubicBezTo>
                    <a:cubicBezTo>
                      <a:pt x="104" y="67"/>
                      <a:pt x="97" y="69"/>
                      <a:pt x="90" y="69"/>
                    </a:cubicBezTo>
                    <a:cubicBezTo>
                      <a:pt x="83" y="70"/>
                      <a:pt x="76" y="70"/>
                      <a:pt x="69" y="70"/>
                    </a:cubicBezTo>
                    <a:cubicBezTo>
                      <a:pt x="62" y="69"/>
                      <a:pt x="55" y="69"/>
                      <a:pt x="48" y="71"/>
                    </a:cubicBezTo>
                    <a:cubicBezTo>
                      <a:pt x="41" y="72"/>
                      <a:pt x="34" y="75"/>
                      <a:pt x="29" y="80"/>
                    </a:cubicBezTo>
                    <a:cubicBezTo>
                      <a:pt x="24" y="85"/>
                      <a:pt x="20" y="93"/>
                      <a:pt x="19" y="100"/>
                    </a:cubicBezTo>
                    <a:cubicBezTo>
                      <a:pt x="17" y="108"/>
                      <a:pt x="18" y="116"/>
                      <a:pt x="18" y="123"/>
                    </a:cubicBezTo>
                    <a:cubicBezTo>
                      <a:pt x="19" y="140"/>
                      <a:pt x="22" y="157"/>
                      <a:pt x="23" y="175"/>
                    </a:cubicBezTo>
                    <a:cubicBezTo>
                      <a:pt x="24" y="192"/>
                      <a:pt x="23" y="209"/>
                      <a:pt x="16" y="225"/>
                    </a:cubicBezTo>
                    <a:cubicBezTo>
                      <a:pt x="12" y="235"/>
                      <a:pt x="7" y="244"/>
                      <a:pt x="3" y="254"/>
                    </a:cubicBezTo>
                    <a:cubicBezTo>
                      <a:pt x="1" y="259"/>
                      <a:pt x="0" y="264"/>
                      <a:pt x="0" y="269"/>
                    </a:cubicBezTo>
                    <a:cubicBezTo>
                      <a:pt x="0" y="275"/>
                      <a:pt x="1" y="280"/>
                      <a:pt x="4" y="285"/>
                    </a:cubicBezTo>
                    <a:cubicBezTo>
                      <a:pt x="7" y="290"/>
                      <a:pt x="13" y="295"/>
                      <a:pt x="19" y="297"/>
                    </a:cubicBezTo>
                    <a:cubicBezTo>
                      <a:pt x="25" y="300"/>
                      <a:pt x="32" y="302"/>
                      <a:pt x="39" y="304"/>
                    </a:cubicBezTo>
                    <a:cubicBezTo>
                      <a:pt x="53" y="308"/>
                      <a:pt x="68" y="313"/>
                      <a:pt x="82" y="317"/>
                    </a:cubicBezTo>
                    <a:cubicBezTo>
                      <a:pt x="130" y="332"/>
                      <a:pt x="180" y="337"/>
                      <a:pt x="227" y="356"/>
                    </a:cubicBezTo>
                    <a:cubicBezTo>
                      <a:pt x="250" y="365"/>
                      <a:pt x="272" y="377"/>
                      <a:pt x="296" y="378"/>
                    </a:cubicBezTo>
                    <a:cubicBezTo>
                      <a:pt x="312" y="379"/>
                      <a:pt x="327" y="375"/>
                      <a:pt x="340" y="367"/>
                    </a:cubicBezTo>
                    <a:cubicBezTo>
                      <a:pt x="354" y="359"/>
                      <a:pt x="364" y="347"/>
                      <a:pt x="372" y="333"/>
                    </a:cubicBezTo>
                    <a:cubicBezTo>
                      <a:pt x="382" y="314"/>
                      <a:pt x="384" y="291"/>
                      <a:pt x="378" y="269"/>
                    </a:cubicBezTo>
                    <a:cubicBezTo>
                      <a:pt x="374" y="253"/>
                      <a:pt x="365" y="239"/>
                      <a:pt x="355" y="2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14">
                <a:extLst>
                  <a:ext uri="{FF2B5EF4-FFF2-40B4-BE49-F238E27FC236}">
                    <a16:creationId xmlns:a16="http://schemas.microsoft.com/office/drawing/2014/main" id="{81E1E627-9AB7-414E-9A12-C7D3E97F43E5}"/>
                  </a:ext>
                </a:extLst>
              </p:cNvPr>
              <p:cNvSpPr>
                <a:spLocks/>
              </p:cNvSpPr>
              <p:nvPr/>
            </p:nvSpPr>
            <p:spPr bwMode="auto">
              <a:xfrm>
                <a:off x="2432" y="3600"/>
                <a:ext cx="163" cy="168"/>
              </a:xfrm>
              <a:custGeom>
                <a:avLst/>
                <a:gdLst>
                  <a:gd name="T0" fmla="*/ 333 w 347"/>
                  <a:gd name="T1" fmla="*/ 154 h 358"/>
                  <a:gd name="T2" fmla="*/ 320 w 347"/>
                  <a:gd name="T3" fmla="*/ 145 h 358"/>
                  <a:gd name="T4" fmla="*/ 296 w 347"/>
                  <a:gd name="T5" fmla="*/ 126 h 358"/>
                  <a:gd name="T6" fmla="*/ 273 w 347"/>
                  <a:gd name="T7" fmla="*/ 105 h 358"/>
                  <a:gd name="T8" fmla="*/ 259 w 347"/>
                  <a:gd name="T9" fmla="*/ 77 h 358"/>
                  <a:gd name="T10" fmla="*/ 257 w 347"/>
                  <a:gd name="T11" fmla="*/ 58 h 358"/>
                  <a:gd name="T12" fmla="*/ 253 w 347"/>
                  <a:gd name="T13" fmla="*/ 37 h 358"/>
                  <a:gd name="T14" fmla="*/ 245 w 347"/>
                  <a:gd name="T15" fmla="*/ 24 h 358"/>
                  <a:gd name="T16" fmla="*/ 229 w 347"/>
                  <a:gd name="T17" fmla="*/ 15 h 358"/>
                  <a:gd name="T18" fmla="*/ 210 w 347"/>
                  <a:gd name="T19" fmla="*/ 12 h 358"/>
                  <a:gd name="T20" fmla="*/ 165 w 347"/>
                  <a:gd name="T21" fmla="*/ 19 h 358"/>
                  <a:gd name="T22" fmla="*/ 123 w 347"/>
                  <a:gd name="T23" fmla="*/ 15 h 358"/>
                  <a:gd name="T24" fmla="*/ 99 w 347"/>
                  <a:gd name="T25" fmla="*/ 8 h 358"/>
                  <a:gd name="T26" fmla="*/ 60 w 347"/>
                  <a:gd name="T27" fmla="*/ 1 h 358"/>
                  <a:gd name="T28" fmla="*/ 43 w 347"/>
                  <a:gd name="T29" fmla="*/ 0 h 358"/>
                  <a:gd name="T30" fmla="*/ 27 w 347"/>
                  <a:gd name="T31" fmla="*/ 6 h 358"/>
                  <a:gd name="T32" fmla="*/ 19 w 347"/>
                  <a:gd name="T33" fmla="*/ 22 h 358"/>
                  <a:gd name="T34" fmla="*/ 19 w 347"/>
                  <a:gd name="T35" fmla="*/ 40 h 358"/>
                  <a:gd name="T36" fmla="*/ 18 w 347"/>
                  <a:gd name="T37" fmla="*/ 150 h 358"/>
                  <a:gd name="T38" fmla="*/ 8 w 347"/>
                  <a:gd name="T39" fmla="*/ 210 h 358"/>
                  <a:gd name="T40" fmla="*/ 0 w 347"/>
                  <a:gd name="T41" fmla="*/ 282 h 358"/>
                  <a:gd name="T42" fmla="*/ 9 w 347"/>
                  <a:gd name="T43" fmla="*/ 322 h 358"/>
                  <a:gd name="T44" fmla="*/ 41 w 347"/>
                  <a:gd name="T45" fmla="*/ 347 h 358"/>
                  <a:gd name="T46" fmla="*/ 98 w 347"/>
                  <a:gd name="T47" fmla="*/ 356 h 358"/>
                  <a:gd name="T48" fmla="*/ 142 w 347"/>
                  <a:gd name="T49" fmla="*/ 337 h 358"/>
                  <a:gd name="T50" fmla="*/ 177 w 347"/>
                  <a:gd name="T51" fmla="*/ 305 h 358"/>
                  <a:gd name="T52" fmla="*/ 220 w 347"/>
                  <a:gd name="T53" fmla="*/ 270 h 358"/>
                  <a:gd name="T54" fmla="*/ 294 w 347"/>
                  <a:gd name="T55" fmla="*/ 231 h 358"/>
                  <a:gd name="T56" fmla="*/ 334 w 347"/>
                  <a:gd name="T57" fmla="*/ 203 h 358"/>
                  <a:gd name="T58" fmla="*/ 345 w 347"/>
                  <a:gd name="T59" fmla="*/ 184 h 358"/>
                  <a:gd name="T60" fmla="*/ 342 w 347"/>
                  <a:gd name="T61" fmla="*/ 165 h 358"/>
                  <a:gd name="T62" fmla="*/ 333 w 347"/>
                  <a:gd name="T63" fmla="*/ 154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7" h="358">
                    <a:moveTo>
                      <a:pt x="333" y="154"/>
                    </a:moveTo>
                    <a:cubicBezTo>
                      <a:pt x="329" y="151"/>
                      <a:pt x="324" y="148"/>
                      <a:pt x="320" y="145"/>
                    </a:cubicBezTo>
                    <a:cubicBezTo>
                      <a:pt x="312" y="140"/>
                      <a:pt x="304" y="133"/>
                      <a:pt x="296" y="126"/>
                    </a:cubicBezTo>
                    <a:cubicBezTo>
                      <a:pt x="288" y="119"/>
                      <a:pt x="280" y="113"/>
                      <a:pt x="273" y="105"/>
                    </a:cubicBezTo>
                    <a:cubicBezTo>
                      <a:pt x="266" y="96"/>
                      <a:pt x="261" y="87"/>
                      <a:pt x="259" y="77"/>
                    </a:cubicBezTo>
                    <a:cubicBezTo>
                      <a:pt x="258" y="71"/>
                      <a:pt x="258" y="64"/>
                      <a:pt x="257" y="58"/>
                    </a:cubicBezTo>
                    <a:cubicBezTo>
                      <a:pt x="257" y="51"/>
                      <a:pt x="255" y="43"/>
                      <a:pt x="253" y="37"/>
                    </a:cubicBezTo>
                    <a:cubicBezTo>
                      <a:pt x="251" y="32"/>
                      <a:pt x="248" y="28"/>
                      <a:pt x="245" y="24"/>
                    </a:cubicBezTo>
                    <a:cubicBezTo>
                      <a:pt x="241" y="20"/>
                      <a:pt x="235" y="17"/>
                      <a:pt x="229" y="15"/>
                    </a:cubicBezTo>
                    <a:cubicBezTo>
                      <a:pt x="223" y="13"/>
                      <a:pt x="216" y="12"/>
                      <a:pt x="210" y="12"/>
                    </a:cubicBezTo>
                    <a:cubicBezTo>
                      <a:pt x="195" y="12"/>
                      <a:pt x="180" y="17"/>
                      <a:pt x="165" y="19"/>
                    </a:cubicBezTo>
                    <a:cubicBezTo>
                      <a:pt x="151" y="21"/>
                      <a:pt x="137" y="19"/>
                      <a:pt x="123" y="15"/>
                    </a:cubicBezTo>
                    <a:cubicBezTo>
                      <a:pt x="115" y="13"/>
                      <a:pt x="107" y="10"/>
                      <a:pt x="99" y="8"/>
                    </a:cubicBezTo>
                    <a:cubicBezTo>
                      <a:pt x="86" y="5"/>
                      <a:pt x="73" y="3"/>
                      <a:pt x="60" y="1"/>
                    </a:cubicBezTo>
                    <a:cubicBezTo>
                      <a:pt x="54" y="0"/>
                      <a:pt x="48" y="0"/>
                      <a:pt x="43" y="0"/>
                    </a:cubicBezTo>
                    <a:cubicBezTo>
                      <a:pt x="37" y="0"/>
                      <a:pt x="31" y="2"/>
                      <a:pt x="27" y="6"/>
                    </a:cubicBezTo>
                    <a:cubicBezTo>
                      <a:pt x="22" y="10"/>
                      <a:pt x="20" y="16"/>
                      <a:pt x="19" y="22"/>
                    </a:cubicBezTo>
                    <a:cubicBezTo>
                      <a:pt x="18" y="28"/>
                      <a:pt x="18" y="34"/>
                      <a:pt x="19" y="40"/>
                    </a:cubicBezTo>
                    <a:cubicBezTo>
                      <a:pt x="21" y="77"/>
                      <a:pt x="21" y="114"/>
                      <a:pt x="18" y="150"/>
                    </a:cubicBezTo>
                    <a:cubicBezTo>
                      <a:pt x="15" y="170"/>
                      <a:pt x="12" y="190"/>
                      <a:pt x="8" y="210"/>
                    </a:cubicBezTo>
                    <a:cubicBezTo>
                      <a:pt x="4" y="234"/>
                      <a:pt x="0" y="258"/>
                      <a:pt x="0" y="282"/>
                    </a:cubicBezTo>
                    <a:cubicBezTo>
                      <a:pt x="0" y="296"/>
                      <a:pt x="1" y="310"/>
                      <a:pt x="9" y="322"/>
                    </a:cubicBezTo>
                    <a:cubicBezTo>
                      <a:pt x="16" y="334"/>
                      <a:pt x="28" y="341"/>
                      <a:pt x="41" y="347"/>
                    </a:cubicBezTo>
                    <a:cubicBezTo>
                      <a:pt x="58" y="355"/>
                      <a:pt x="78" y="358"/>
                      <a:pt x="98" y="356"/>
                    </a:cubicBezTo>
                    <a:cubicBezTo>
                      <a:pt x="114" y="353"/>
                      <a:pt x="129" y="346"/>
                      <a:pt x="142" y="337"/>
                    </a:cubicBezTo>
                    <a:cubicBezTo>
                      <a:pt x="155" y="328"/>
                      <a:pt x="166" y="316"/>
                      <a:pt x="177" y="305"/>
                    </a:cubicBezTo>
                    <a:cubicBezTo>
                      <a:pt x="191" y="292"/>
                      <a:pt x="205" y="280"/>
                      <a:pt x="220" y="270"/>
                    </a:cubicBezTo>
                    <a:cubicBezTo>
                      <a:pt x="244" y="255"/>
                      <a:pt x="269" y="244"/>
                      <a:pt x="294" y="231"/>
                    </a:cubicBezTo>
                    <a:cubicBezTo>
                      <a:pt x="309" y="224"/>
                      <a:pt x="323" y="215"/>
                      <a:pt x="334" y="203"/>
                    </a:cubicBezTo>
                    <a:cubicBezTo>
                      <a:pt x="339" y="197"/>
                      <a:pt x="342" y="191"/>
                      <a:pt x="345" y="184"/>
                    </a:cubicBezTo>
                    <a:cubicBezTo>
                      <a:pt x="347" y="178"/>
                      <a:pt x="346" y="171"/>
                      <a:pt x="342" y="165"/>
                    </a:cubicBezTo>
                    <a:cubicBezTo>
                      <a:pt x="340" y="160"/>
                      <a:pt x="336" y="157"/>
                      <a:pt x="333" y="1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5">
                <a:extLst>
                  <a:ext uri="{FF2B5EF4-FFF2-40B4-BE49-F238E27FC236}">
                    <a16:creationId xmlns:a16="http://schemas.microsoft.com/office/drawing/2014/main" id="{51DA139F-AE23-4BBA-8C6A-423F8D3C108F}"/>
                  </a:ext>
                </a:extLst>
              </p:cNvPr>
              <p:cNvSpPr>
                <a:spLocks noEditPoints="1"/>
              </p:cNvSpPr>
              <p:nvPr/>
            </p:nvSpPr>
            <p:spPr bwMode="auto">
              <a:xfrm>
                <a:off x="2291" y="3330"/>
                <a:ext cx="116" cy="80"/>
              </a:xfrm>
              <a:custGeom>
                <a:avLst/>
                <a:gdLst>
                  <a:gd name="T0" fmla="*/ 242 w 246"/>
                  <a:gd name="T1" fmla="*/ 53 h 171"/>
                  <a:gd name="T2" fmla="*/ 233 w 246"/>
                  <a:gd name="T3" fmla="*/ 45 h 171"/>
                  <a:gd name="T4" fmla="*/ 175 w 246"/>
                  <a:gd name="T5" fmla="*/ 25 h 171"/>
                  <a:gd name="T6" fmla="*/ 133 w 246"/>
                  <a:gd name="T7" fmla="*/ 5 h 171"/>
                  <a:gd name="T8" fmla="*/ 32 w 246"/>
                  <a:gd name="T9" fmla="*/ 40 h 171"/>
                  <a:gd name="T10" fmla="*/ 4 w 246"/>
                  <a:gd name="T11" fmla="*/ 73 h 171"/>
                  <a:gd name="T12" fmla="*/ 0 w 246"/>
                  <a:gd name="T13" fmla="*/ 90 h 171"/>
                  <a:gd name="T14" fmla="*/ 2 w 246"/>
                  <a:gd name="T15" fmla="*/ 95 h 171"/>
                  <a:gd name="T16" fmla="*/ 4 w 246"/>
                  <a:gd name="T17" fmla="*/ 96 h 171"/>
                  <a:gd name="T18" fmla="*/ 5 w 246"/>
                  <a:gd name="T19" fmla="*/ 96 h 171"/>
                  <a:gd name="T20" fmla="*/ 25 w 246"/>
                  <a:gd name="T21" fmla="*/ 103 h 171"/>
                  <a:gd name="T22" fmla="*/ 77 w 246"/>
                  <a:gd name="T23" fmla="*/ 124 h 171"/>
                  <a:gd name="T24" fmla="*/ 145 w 246"/>
                  <a:gd name="T25" fmla="*/ 112 h 171"/>
                  <a:gd name="T26" fmla="*/ 203 w 246"/>
                  <a:gd name="T27" fmla="*/ 74 h 171"/>
                  <a:gd name="T28" fmla="*/ 214 w 246"/>
                  <a:gd name="T29" fmla="*/ 65 h 171"/>
                  <a:gd name="T30" fmla="*/ 229 w 246"/>
                  <a:gd name="T31" fmla="*/ 65 h 171"/>
                  <a:gd name="T32" fmla="*/ 226 w 246"/>
                  <a:gd name="T33" fmla="*/ 72 h 171"/>
                  <a:gd name="T34" fmla="*/ 224 w 246"/>
                  <a:gd name="T35" fmla="*/ 73 h 171"/>
                  <a:gd name="T36" fmla="*/ 217 w 246"/>
                  <a:gd name="T37" fmla="*/ 77 h 171"/>
                  <a:gd name="T38" fmla="*/ 206 w 246"/>
                  <a:gd name="T39" fmla="*/ 83 h 171"/>
                  <a:gd name="T40" fmla="*/ 190 w 246"/>
                  <a:gd name="T41" fmla="*/ 96 h 171"/>
                  <a:gd name="T42" fmla="*/ 116 w 246"/>
                  <a:gd name="T43" fmla="*/ 130 h 171"/>
                  <a:gd name="T44" fmla="*/ 76 w 246"/>
                  <a:gd name="T45" fmla="*/ 135 h 171"/>
                  <a:gd name="T46" fmla="*/ 25 w 246"/>
                  <a:gd name="T47" fmla="*/ 112 h 171"/>
                  <a:gd name="T48" fmla="*/ 35 w 246"/>
                  <a:gd name="T49" fmla="*/ 126 h 171"/>
                  <a:gd name="T50" fmla="*/ 94 w 246"/>
                  <a:gd name="T51" fmla="*/ 170 h 171"/>
                  <a:gd name="T52" fmla="*/ 162 w 246"/>
                  <a:gd name="T53" fmla="*/ 152 h 171"/>
                  <a:gd name="T54" fmla="*/ 230 w 246"/>
                  <a:gd name="T55" fmla="*/ 111 h 171"/>
                  <a:gd name="T56" fmla="*/ 243 w 246"/>
                  <a:gd name="T57" fmla="*/ 89 h 171"/>
                  <a:gd name="T58" fmla="*/ 246 w 246"/>
                  <a:gd name="T59" fmla="*/ 62 h 171"/>
                  <a:gd name="T60" fmla="*/ 74 w 246"/>
                  <a:gd name="T61" fmla="*/ 21 h 171"/>
                  <a:gd name="T62" fmla="*/ 66 w 246"/>
                  <a:gd name="T63" fmla="*/ 25 h 171"/>
                  <a:gd name="T64" fmla="*/ 73 w 246"/>
                  <a:gd name="T65" fmla="*/ 17 h 171"/>
                  <a:gd name="T66" fmla="*/ 142 w 246"/>
                  <a:gd name="T67" fmla="*/ 23 h 171"/>
                  <a:gd name="T68" fmla="*/ 128 w 246"/>
                  <a:gd name="T69" fmla="*/ 23 h 171"/>
                  <a:gd name="T70" fmla="*/ 121 w 246"/>
                  <a:gd name="T71" fmla="*/ 16 h 171"/>
                  <a:gd name="T72" fmla="*/ 134 w 246"/>
                  <a:gd name="T73" fmla="*/ 1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6" h="171">
                    <a:moveTo>
                      <a:pt x="243" y="54"/>
                    </a:moveTo>
                    <a:cubicBezTo>
                      <a:pt x="242" y="53"/>
                      <a:pt x="242" y="53"/>
                      <a:pt x="242" y="53"/>
                    </a:cubicBezTo>
                    <a:cubicBezTo>
                      <a:pt x="242" y="52"/>
                      <a:pt x="242" y="52"/>
                      <a:pt x="242" y="52"/>
                    </a:cubicBezTo>
                    <a:cubicBezTo>
                      <a:pt x="240" y="49"/>
                      <a:pt x="236" y="47"/>
                      <a:pt x="233" y="45"/>
                    </a:cubicBezTo>
                    <a:cubicBezTo>
                      <a:pt x="228" y="43"/>
                      <a:pt x="223" y="42"/>
                      <a:pt x="219" y="41"/>
                    </a:cubicBezTo>
                    <a:cubicBezTo>
                      <a:pt x="203" y="37"/>
                      <a:pt x="189" y="32"/>
                      <a:pt x="175" y="25"/>
                    </a:cubicBezTo>
                    <a:cubicBezTo>
                      <a:pt x="168" y="22"/>
                      <a:pt x="161" y="18"/>
                      <a:pt x="155" y="14"/>
                    </a:cubicBezTo>
                    <a:cubicBezTo>
                      <a:pt x="148" y="11"/>
                      <a:pt x="140" y="7"/>
                      <a:pt x="133" y="5"/>
                    </a:cubicBezTo>
                    <a:cubicBezTo>
                      <a:pt x="116" y="0"/>
                      <a:pt x="97" y="1"/>
                      <a:pt x="81" y="7"/>
                    </a:cubicBezTo>
                    <a:cubicBezTo>
                      <a:pt x="62" y="13"/>
                      <a:pt x="45" y="25"/>
                      <a:pt x="32" y="40"/>
                    </a:cubicBezTo>
                    <a:cubicBezTo>
                      <a:pt x="25" y="45"/>
                      <a:pt x="18" y="52"/>
                      <a:pt x="12" y="59"/>
                    </a:cubicBezTo>
                    <a:cubicBezTo>
                      <a:pt x="8" y="63"/>
                      <a:pt x="5" y="67"/>
                      <a:pt x="4" y="73"/>
                    </a:cubicBezTo>
                    <a:cubicBezTo>
                      <a:pt x="2" y="77"/>
                      <a:pt x="2" y="81"/>
                      <a:pt x="1" y="85"/>
                    </a:cubicBezTo>
                    <a:cubicBezTo>
                      <a:pt x="1" y="86"/>
                      <a:pt x="0" y="88"/>
                      <a:pt x="0" y="90"/>
                    </a:cubicBezTo>
                    <a:cubicBezTo>
                      <a:pt x="0" y="90"/>
                      <a:pt x="0" y="91"/>
                      <a:pt x="1" y="92"/>
                    </a:cubicBezTo>
                    <a:cubicBezTo>
                      <a:pt x="1" y="93"/>
                      <a:pt x="1" y="94"/>
                      <a:pt x="2" y="95"/>
                    </a:cubicBezTo>
                    <a:cubicBezTo>
                      <a:pt x="3" y="96"/>
                      <a:pt x="3" y="97"/>
                      <a:pt x="4" y="98"/>
                    </a:cubicBezTo>
                    <a:cubicBezTo>
                      <a:pt x="4" y="97"/>
                      <a:pt x="4" y="97"/>
                      <a:pt x="4" y="96"/>
                    </a:cubicBezTo>
                    <a:cubicBezTo>
                      <a:pt x="4" y="96"/>
                      <a:pt x="4" y="96"/>
                      <a:pt x="4" y="95"/>
                    </a:cubicBezTo>
                    <a:cubicBezTo>
                      <a:pt x="5" y="96"/>
                      <a:pt x="5" y="96"/>
                      <a:pt x="5" y="96"/>
                    </a:cubicBezTo>
                    <a:cubicBezTo>
                      <a:pt x="7" y="96"/>
                      <a:pt x="8" y="96"/>
                      <a:pt x="9" y="96"/>
                    </a:cubicBezTo>
                    <a:cubicBezTo>
                      <a:pt x="15" y="97"/>
                      <a:pt x="20" y="100"/>
                      <a:pt x="25" y="103"/>
                    </a:cubicBezTo>
                    <a:cubicBezTo>
                      <a:pt x="30" y="106"/>
                      <a:pt x="35" y="110"/>
                      <a:pt x="40" y="113"/>
                    </a:cubicBezTo>
                    <a:cubicBezTo>
                      <a:pt x="51" y="120"/>
                      <a:pt x="64" y="123"/>
                      <a:pt x="77" y="124"/>
                    </a:cubicBezTo>
                    <a:cubicBezTo>
                      <a:pt x="90" y="124"/>
                      <a:pt x="103" y="122"/>
                      <a:pt x="115" y="120"/>
                    </a:cubicBezTo>
                    <a:cubicBezTo>
                      <a:pt x="126" y="118"/>
                      <a:pt x="136" y="115"/>
                      <a:pt x="145" y="112"/>
                    </a:cubicBezTo>
                    <a:cubicBezTo>
                      <a:pt x="160" y="106"/>
                      <a:pt x="173" y="97"/>
                      <a:pt x="186" y="87"/>
                    </a:cubicBezTo>
                    <a:cubicBezTo>
                      <a:pt x="192" y="83"/>
                      <a:pt x="198" y="79"/>
                      <a:pt x="203" y="74"/>
                    </a:cubicBezTo>
                    <a:cubicBezTo>
                      <a:pt x="204" y="72"/>
                      <a:pt x="206" y="70"/>
                      <a:pt x="208" y="69"/>
                    </a:cubicBezTo>
                    <a:cubicBezTo>
                      <a:pt x="210" y="67"/>
                      <a:pt x="212" y="66"/>
                      <a:pt x="214" y="65"/>
                    </a:cubicBezTo>
                    <a:cubicBezTo>
                      <a:pt x="218" y="64"/>
                      <a:pt x="222" y="64"/>
                      <a:pt x="225" y="65"/>
                    </a:cubicBezTo>
                    <a:cubicBezTo>
                      <a:pt x="226" y="65"/>
                      <a:pt x="227" y="65"/>
                      <a:pt x="229" y="65"/>
                    </a:cubicBezTo>
                    <a:cubicBezTo>
                      <a:pt x="229" y="67"/>
                      <a:pt x="228" y="70"/>
                      <a:pt x="226" y="71"/>
                    </a:cubicBezTo>
                    <a:cubicBezTo>
                      <a:pt x="226" y="72"/>
                      <a:pt x="226" y="72"/>
                      <a:pt x="226" y="72"/>
                    </a:cubicBezTo>
                    <a:cubicBezTo>
                      <a:pt x="225" y="72"/>
                      <a:pt x="225" y="72"/>
                      <a:pt x="225" y="72"/>
                    </a:cubicBezTo>
                    <a:cubicBezTo>
                      <a:pt x="225" y="72"/>
                      <a:pt x="225" y="72"/>
                      <a:pt x="224" y="73"/>
                    </a:cubicBezTo>
                    <a:cubicBezTo>
                      <a:pt x="224" y="74"/>
                      <a:pt x="223" y="74"/>
                      <a:pt x="223" y="74"/>
                    </a:cubicBezTo>
                    <a:cubicBezTo>
                      <a:pt x="221" y="75"/>
                      <a:pt x="219" y="76"/>
                      <a:pt x="217" y="77"/>
                    </a:cubicBezTo>
                    <a:cubicBezTo>
                      <a:pt x="213" y="79"/>
                      <a:pt x="210" y="80"/>
                      <a:pt x="207" y="83"/>
                    </a:cubicBezTo>
                    <a:cubicBezTo>
                      <a:pt x="206" y="83"/>
                      <a:pt x="206" y="83"/>
                      <a:pt x="206" y="83"/>
                    </a:cubicBezTo>
                    <a:cubicBezTo>
                      <a:pt x="202" y="86"/>
                      <a:pt x="197" y="90"/>
                      <a:pt x="192" y="94"/>
                    </a:cubicBezTo>
                    <a:cubicBezTo>
                      <a:pt x="192" y="94"/>
                      <a:pt x="192" y="94"/>
                      <a:pt x="190" y="96"/>
                    </a:cubicBezTo>
                    <a:cubicBezTo>
                      <a:pt x="178" y="106"/>
                      <a:pt x="164" y="115"/>
                      <a:pt x="147" y="122"/>
                    </a:cubicBezTo>
                    <a:cubicBezTo>
                      <a:pt x="139" y="124"/>
                      <a:pt x="128" y="128"/>
                      <a:pt x="116" y="130"/>
                    </a:cubicBezTo>
                    <a:cubicBezTo>
                      <a:pt x="105" y="133"/>
                      <a:pt x="94" y="135"/>
                      <a:pt x="82" y="135"/>
                    </a:cubicBezTo>
                    <a:cubicBezTo>
                      <a:pt x="80" y="135"/>
                      <a:pt x="78" y="135"/>
                      <a:pt x="76" y="135"/>
                    </a:cubicBezTo>
                    <a:cubicBezTo>
                      <a:pt x="59" y="135"/>
                      <a:pt x="46" y="130"/>
                      <a:pt x="36" y="122"/>
                    </a:cubicBezTo>
                    <a:cubicBezTo>
                      <a:pt x="32" y="119"/>
                      <a:pt x="29" y="115"/>
                      <a:pt x="25" y="112"/>
                    </a:cubicBezTo>
                    <a:cubicBezTo>
                      <a:pt x="22" y="109"/>
                      <a:pt x="19" y="107"/>
                      <a:pt x="17" y="106"/>
                    </a:cubicBezTo>
                    <a:cubicBezTo>
                      <a:pt x="24" y="112"/>
                      <a:pt x="30" y="119"/>
                      <a:pt x="35" y="126"/>
                    </a:cubicBezTo>
                    <a:cubicBezTo>
                      <a:pt x="45" y="138"/>
                      <a:pt x="53" y="151"/>
                      <a:pt x="65" y="159"/>
                    </a:cubicBezTo>
                    <a:cubicBezTo>
                      <a:pt x="73" y="165"/>
                      <a:pt x="84" y="169"/>
                      <a:pt x="94" y="170"/>
                    </a:cubicBezTo>
                    <a:cubicBezTo>
                      <a:pt x="106" y="171"/>
                      <a:pt x="119" y="169"/>
                      <a:pt x="131" y="166"/>
                    </a:cubicBezTo>
                    <a:cubicBezTo>
                      <a:pt x="142" y="162"/>
                      <a:pt x="152" y="158"/>
                      <a:pt x="162" y="152"/>
                    </a:cubicBezTo>
                    <a:cubicBezTo>
                      <a:pt x="181" y="140"/>
                      <a:pt x="196" y="124"/>
                      <a:pt x="216" y="116"/>
                    </a:cubicBezTo>
                    <a:cubicBezTo>
                      <a:pt x="221" y="115"/>
                      <a:pt x="226" y="113"/>
                      <a:pt x="230" y="111"/>
                    </a:cubicBezTo>
                    <a:cubicBezTo>
                      <a:pt x="234" y="109"/>
                      <a:pt x="238" y="106"/>
                      <a:pt x="240" y="102"/>
                    </a:cubicBezTo>
                    <a:cubicBezTo>
                      <a:pt x="242" y="98"/>
                      <a:pt x="242" y="93"/>
                      <a:pt x="243" y="89"/>
                    </a:cubicBezTo>
                    <a:cubicBezTo>
                      <a:pt x="243" y="83"/>
                      <a:pt x="245" y="77"/>
                      <a:pt x="246" y="71"/>
                    </a:cubicBezTo>
                    <a:cubicBezTo>
                      <a:pt x="246" y="68"/>
                      <a:pt x="246" y="65"/>
                      <a:pt x="246" y="62"/>
                    </a:cubicBezTo>
                    <a:cubicBezTo>
                      <a:pt x="245" y="60"/>
                      <a:pt x="244" y="57"/>
                      <a:pt x="243" y="54"/>
                    </a:cubicBezTo>
                    <a:close/>
                    <a:moveTo>
                      <a:pt x="74" y="21"/>
                    </a:moveTo>
                    <a:cubicBezTo>
                      <a:pt x="72" y="23"/>
                      <a:pt x="71" y="26"/>
                      <a:pt x="69" y="27"/>
                    </a:cubicBezTo>
                    <a:cubicBezTo>
                      <a:pt x="68" y="27"/>
                      <a:pt x="66" y="26"/>
                      <a:pt x="66" y="25"/>
                    </a:cubicBezTo>
                    <a:cubicBezTo>
                      <a:pt x="64" y="23"/>
                      <a:pt x="69" y="17"/>
                      <a:pt x="72" y="17"/>
                    </a:cubicBezTo>
                    <a:cubicBezTo>
                      <a:pt x="73" y="17"/>
                      <a:pt x="73" y="17"/>
                      <a:pt x="73" y="17"/>
                    </a:cubicBezTo>
                    <a:cubicBezTo>
                      <a:pt x="75" y="18"/>
                      <a:pt x="75" y="21"/>
                      <a:pt x="74" y="21"/>
                    </a:cubicBezTo>
                    <a:close/>
                    <a:moveTo>
                      <a:pt x="142" y="23"/>
                    </a:moveTo>
                    <a:cubicBezTo>
                      <a:pt x="142" y="26"/>
                      <a:pt x="138" y="27"/>
                      <a:pt x="135" y="27"/>
                    </a:cubicBezTo>
                    <a:cubicBezTo>
                      <a:pt x="132" y="27"/>
                      <a:pt x="130" y="24"/>
                      <a:pt x="128" y="23"/>
                    </a:cubicBezTo>
                    <a:cubicBezTo>
                      <a:pt x="125" y="21"/>
                      <a:pt x="120" y="22"/>
                      <a:pt x="119" y="19"/>
                    </a:cubicBezTo>
                    <a:cubicBezTo>
                      <a:pt x="119" y="18"/>
                      <a:pt x="120" y="17"/>
                      <a:pt x="121" y="16"/>
                    </a:cubicBezTo>
                    <a:cubicBezTo>
                      <a:pt x="122" y="15"/>
                      <a:pt x="124" y="15"/>
                      <a:pt x="126" y="15"/>
                    </a:cubicBezTo>
                    <a:cubicBezTo>
                      <a:pt x="129" y="15"/>
                      <a:pt x="132" y="15"/>
                      <a:pt x="134" y="16"/>
                    </a:cubicBezTo>
                    <a:cubicBezTo>
                      <a:pt x="138" y="18"/>
                      <a:pt x="143" y="20"/>
                      <a:pt x="14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16">
                <a:extLst>
                  <a:ext uri="{FF2B5EF4-FFF2-40B4-BE49-F238E27FC236}">
                    <a16:creationId xmlns:a16="http://schemas.microsoft.com/office/drawing/2014/main" id="{D4B21403-A370-41D3-B040-8B7E49B89D35}"/>
                  </a:ext>
                </a:extLst>
              </p:cNvPr>
              <p:cNvSpPr>
                <a:spLocks noEditPoints="1"/>
              </p:cNvSpPr>
              <p:nvPr/>
            </p:nvSpPr>
            <p:spPr bwMode="auto">
              <a:xfrm>
                <a:off x="2115" y="3208"/>
                <a:ext cx="490" cy="571"/>
              </a:xfrm>
              <a:custGeom>
                <a:avLst/>
                <a:gdLst>
                  <a:gd name="T0" fmla="*/ 994 w 1042"/>
                  <a:gd name="T1" fmla="*/ 961 h 1216"/>
                  <a:gd name="T2" fmla="*/ 962 w 1042"/>
                  <a:gd name="T3" fmla="*/ 931 h 1216"/>
                  <a:gd name="T4" fmla="*/ 951 w 1042"/>
                  <a:gd name="T5" fmla="*/ 896 h 1216"/>
                  <a:gd name="T6" fmla="*/ 921 w 1042"/>
                  <a:gd name="T7" fmla="*/ 811 h 1216"/>
                  <a:gd name="T8" fmla="*/ 824 w 1042"/>
                  <a:gd name="T9" fmla="*/ 510 h 1216"/>
                  <a:gd name="T10" fmla="*/ 760 w 1042"/>
                  <a:gd name="T11" fmla="*/ 417 h 1216"/>
                  <a:gd name="T12" fmla="*/ 716 w 1042"/>
                  <a:gd name="T13" fmla="*/ 277 h 1216"/>
                  <a:gd name="T14" fmla="*/ 517 w 1042"/>
                  <a:gd name="T15" fmla="*/ 0 h 1216"/>
                  <a:gd name="T16" fmla="*/ 351 w 1042"/>
                  <a:gd name="T17" fmla="*/ 266 h 1216"/>
                  <a:gd name="T18" fmla="*/ 355 w 1042"/>
                  <a:gd name="T19" fmla="*/ 405 h 1216"/>
                  <a:gd name="T20" fmla="*/ 277 w 1042"/>
                  <a:gd name="T21" fmla="*/ 513 h 1216"/>
                  <a:gd name="T22" fmla="*/ 198 w 1042"/>
                  <a:gd name="T23" fmla="*/ 685 h 1216"/>
                  <a:gd name="T24" fmla="*/ 155 w 1042"/>
                  <a:gd name="T25" fmla="*/ 818 h 1216"/>
                  <a:gd name="T26" fmla="*/ 121 w 1042"/>
                  <a:gd name="T27" fmla="*/ 865 h 1216"/>
                  <a:gd name="T28" fmla="*/ 97 w 1042"/>
                  <a:gd name="T29" fmla="*/ 867 h 1216"/>
                  <a:gd name="T30" fmla="*/ 18 w 1042"/>
                  <a:gd name="T31" fmla="*/ 942 h 1216"/>
                  <a:gd name="T32" fmla="*/ 17 w 1042"/>
                  <a:gd name="T33" fmla="*/ 1034 h 1216"/>
                  <a:gd name="T34" fmla="*/ 0 w 1042"/>
                  <a:gd name="T35" fmla="*/ 1086 h 1216"/>
                  <a:gd name="T36" fmla="*/ 72 w 1042"/>
                  <a:gd name="T37" fmla="*/ 1145 h 1216"/>
                  <a:gd name="T38" fmla="*/ 257 w 1042"/>
                  <a:gd name="T39" fmla="*/ 1198 h 1216"/>
                  <a:gd name="T40" fmla="*/ 412 w 1042"/>
                  <a:gd name="T41" fmla="*/ 1159 h 1216"/>
                  <a:gd name="T42" fmla="*/ 512 w 1042"/>
                  <a:gd name="T43" fmla="*/ 1128 h 1216"/>
                  <a:gd name="T44" fmla="*/ 648 w 1042"/>
                  <a:gd name="T45" fmla="*/ 1147 h 1216"/>
                  <a:gd name="T46" fmla="*/ 757 w 1042"/>
                  <a:gd name="T47" fmla="*/ 1216 h 1216"/>
                  <a:gd name="T48" fmla="*/ 855 w 1042"/>
                  <a:gd name="T49" fmla="*/ 1168 h 1216"/>
                  <a:gd name="T50" fmla="*/ 953 w 1042"/>
                  <a:gd name="T51" fmla="*/ 1101 h 1216"/>
                  <a:gd name="T52" fmla="*/ 1038 w 1042"/>
                  <a:gd name="T53" fmla="*/ 1030 h 1216"/>
                  <a:gd name="T54" fmla="*/ 1017 w 1042"/>
                  <a:gd name="T55" fmla="*/ 1050 h 1216"/>
                  <a:gd name="T56" fmla="*/ 859 w 1042"/>
                  <a:gd name="T57" fmla="*/ 1153 h 1216"/>
                  <a:gd name="T58" fmla="*/ 771 w 1042"/>
                  <a:gd name="T59" fmla="*/ 1207 h 1216"/>
                  <a:gd name="T60" fmla="*/ 662 w 1042"/>
                  <a:gd name="T61" fmla="*/ 1142 h 1216"/>
                  <a:gd name="T62" fmla="*/ 527 w 1042"/>
                  <a:gd name="T63" fmla="*/ 1121 h 1216"/>
                  <a:gd name="T64" fmla="*/ 417 w 1042"/>
                  <a:gd name="T65" fmla="*/ 1125 h 1216"/>
                  <a:gd name="T66" fmla="*/ 404 w 1042"/>
                  <a:gd name="T67" fmla="*/ 1157 h 1216"/>
                  <a:gd name="T68" fmla="*/ 243 w 1042"/>
                  <a:gd name="T69" fmla="*/ 1183 h 1216"/>
                  <a:gd name="T70" fmla="*/ 57 w 1042"/>
                  <a:gd name="T71" fmla="*/ 1132 h 1216"/>
                  <a:gd name="T72" fmla="*/ 8 w 1042"/>
                  <a:gd name="T73" fmla="*/ 1086 h 1216"/>
                  <a:gd name="T74" fmla="*/ 25 w 1042"/>
                  <a:gd name="T75" fmla="*/ 1038 h 1216"/>
                  <a:gd name="T76" fmla="*/ 29 w 1042"/>
                  <a:gd name="T77" fmla="*/ 968 h 1216"/>
                  <a:gd name="T78" fmla="*/ 89 w 1042"/>
                  <a:gd name="T79" fmla="*/ 875 h 1216"/>
                  <a:gd name="T80" fmla="*/ 125 w 1042"/>
                  <a:gd name="T81" fmla="*/ 872 h 1216"/>
                  <a:gd name="T82" fmla="*/ 145 w 1042"/>
                  <a:gd name="T83" fmla="*/ 846 h 1216"/>
                  <a:gd name="T84" fmla="*/ 161 w 1042"/>
                  <a:gd name="T85" fmla="*/ 823 h 1216"/>
                  <a:gd name="T86" fmla="*/ 161 w 1042"/>
                  <a:gd name="T87" fmla="*/ 783 h 1216"/>
                  <a:gd name="T88" fmla="*/ 235 w 1042"/>
                  <a:gd name="T89" fmla="*/ 608 h 1216"/>
                  <a:gd name="T90" fmla="*/ 318 w 1042"/>
                  <a:gd name="T91" fmla="*/ 474 h 1216"/>
                  <a:gd name="T92" fmla="*/ 363 w 1042"/>
                  <a:gd name="T93" fmla="*/ 407 h 1216"/>
                  <a:gd name="T94" fmla="*/ 359 w 1042"/>
                  <a:gd name="T95" fmla="*/ 266 h 1216"/>
                  <a:gd name="T96" fmla="*/ 517 w 1042"/>
                  <a:gd name="T97" fmla="*/ 8 h 1216"/>
                  <a:gd name="T98" fmla="*/ 708 w 1042"/>
                  <a:gd name="T99" fmla="*/ 277 h 1216"/>
                  <a:gd name="T100" fmla="*/ 720 w 1042"/>
                  <a:gd name="T101" fmla="*/ 352 h 1216"/>
                  <a:gd name="T102" fmla="*/ 763 w 1042"/>
                  <a:gd name="T103" fmla="*/ 443 h 1216"/>
                  <a:gd name="T104" fmla="*/ 880 w 1042"/>
                  <a:gd name="T105" fmla="*/ 615 h 1216"/>
                  <a:gd name="T106" fmla="*/ 899 w 1042"/>
                  <a:gd name="T107" fmla="*/ 845 h 1216"/>
                  <a:gd name="T108" fmla="*/ 943 w 1042"/>
                  <a:gd name="T109" fmla="*/ 896 h 1216"/>
                  <a:gd name="T110" fmla="*/ 978 w 1042"/>
                  <a:gd name="T111" fmla="*/ 957 h 1216"/>
                  <a:gd name="T112" fmla="*/ 1006 w 1042"/>
                  <a:gd name="T113" fmla="*/ 980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42" h="1216">
                    <a:moveTo>
                      <a:pt x="1033" y="995"/>
                    </a:moveTo>
                    <a:cubicBezTo>
                      <a:pt x="1030" y="989"/>
                      <a:pt x="1025" y="984"/>
                      <a:pt x="1019" y="979"/>
                    </a:cubicBezTo>
                    <a:cubicBezTo>
                      <a:pt x="1016" y="976"/>
                      <a:pt x="1012" y="974"/>
                      <a:pt x="1009" y="973"/>
                    </a:cubicBezTo>
                    <a:cubicBezTo>
                      <a:pt x="1007" y="970"/>
                      <a:pt x="1007" y="970"/>
                      <a:pt x="1007" y="970"/>
                    </a:cubicBezTo>
                    <a:cubicBezTo>
                      <a:pt x="994" y="961"/>
                      <a:pt x="994" y="961"/>
                      <a:pt x="994" y="961"/>
                    </a:cubicBezTo>
                    <a:cubicBezTo>
                      <a:pt x="993" y="959"/>
                      <a:pt x="991" y="958"/>
                      <a:pt x="989" y="956"/>
                    </a:cubicBezTo>
                    <a:cubicBezTo>
                      <a:pt x="987" y="954"/>
                      <a:pt x="985" y="952"/>
                      <a:pt x="982" y="951"/>
                    </a:cubicBezTo>
                    <a:cubicBezTo>
                      <a:pt x="973" y="944"/>
                      <a:pt x="967" y="939"/>
                      <a:pt x="963" y="933"/>
                    </a:cubicBezTo>
                    <a:cubicBezTo>
                      <a:pt x="962" y="931"/>
                      <a:pt x="962" y="931"/>
                      <a:pt x="962" y="931"/>
                    </a:cubicBezTo>
                    <a:cubicBezTo>
                      <a:pt x="962" y="931"/>
                      <a:pt x="962" y="931"/>
                      <a:pt x="962" y="931"/>
                    </a:cubicBezTo>
                    <a:cubicBezTo>
                      <a:pt x="956" y="925"/>
                      <a:pt x="953" y="920"/>
                      <a:pt x="952" y="913"/>
                    </a:cubicBezTo>
                    <a:cubicBezTo>
                      <a:pt x="952" y="913"/>
                      <a:pt x="952" y="913"/>
                      <a:pt x="952" y="913"/>
                    </a:cubicBezTo>
                    <a:cubicBezTo>
                      <a:pt x="951" y="910"/>
                      <a:pt x="951" y="905"/>
                      <a:pt x="951" y="898"/>
                    </a:cubicBezTo>
                    <a:cubicBezTo>
                      <a:pt x="951" y="896"/>
                      <a:pt x="951" y="896"/>
                      <a:pt x="951" y="896"/>
                    </a:cubicBezTo>
                    <a:cubicBezTo>
                      <a:pt x="951" y="896"/>
                      <a:pt x="951" y="896"/>
                      <a:pt x="951" y="896"/>
                    </a:cubicBezTo>
                    <a:cubicBezTo>
                      <a:pt x="950" y="887"/>
                      <a:pt x="949" y="879"/>
                      <a:pt x="945" y="869"/>
                    </a:cubicBezTo>
                    <a:cubicBezTo>
                      <a:pt x="943" y="866"/>
                      <a:pt x="943" y="866"/>
                      <a:pt x="943" y="866"/>
                    </a:cubicBezTo>
                    <a:cubicBezTo>
                      <a:pt x="940" y="862"/>
                      <a:pt x="937" y="857"/>
                      <a:pt x="932" y="851"/>
                    </a:cubicBezTo>
                    <a:cubicBezTo>
                      <a:pt x="928" y="846"/>
                      <a:pt x="921" y="842"/>
                      <a:pt x="912" y="838"/>
                    </a:cubicBezTo>
                    <a:cubicBezTo>
                      <a:pt x="916" y="829"/>
                      <a:pt x="919" y="819"/>
                      <a:pt x="921" y="811"/>
                    </a:cubicBezTo>
                    <a:cubicBezTo>
                      <a:pt x="922" y="808"/>
                      <a:pt x="922" y="808"/>
                      <a:pt x="922" y="808"/>
                    </a:cubicBezTo>
                    <a:cubicBezTo>
                      <a:pt x="926" y="784"/>
                      <a:pt x="925" y="758"/>
                      <a:pt x="919" y="723"/>
                    </a:cubicBezTo>
                    <a:cubicBezTo>
                      <a:pt x="913" y="688"/>
                      <a:pt x="903" y="653"/>
                      <a:pt x="888" y="612"/>
                    </a:cubicBezTo>
                    <a:cubicBezTo>
                      <a:pt x="877" y="587"/>
                      <a:pt x="865" y="560"/>
                      <a:pt x="848" y="538"/>
                    </a:cubicBezTo>
                    <a:cubicBezTo>
                      <a:pt x="841" y="528"/>
                      <a:pt x="832" y="518"/>
                      <a:pt x="824" y="510"/>
                    </a:cubicBezTo>
                    <a:cubicBezTo>
                      <a:pt x="814" y="499"/>
                      <a:pt x="803" y="487"/>
                      <a:pt x="794" y="475"/>
                    </a:cubicBezTo>
                    <a:cubicBezTo>
                      <a:pt x="790" y="469"/>
                      <a:pt x="786" y="463"/>
                      <a:pt x="782" y="457"/>
                    </a:cubicBezTo>
                    <a:cubicBezTo>
                      <a:pt x="778" y="451"/>
                      <a:pt x="774" y="445"/>
                      <a:pt x="769" y="439"/>
                    </a:cubicBezTo>
                    <a:cubicBezTo>
                      <a:pt x="768" y="436"/>
                      <a:pt x="766" y="432"/>
                      <a:pt x="765" y="428"/>
                    </a:cubicBezTo>
                    <a:cubicBezTo>
                      <a:pt x="763" y="425"/>
                      <a:pt x="761" y="421"/>
                      <a:pt x="760" y="417"/>
                    </a:cubicBezTo>
                    <a:cubicBezTo>
                      <a:pt x="756" y="410"/>
                      <a:pt x="752" y="402"/>
                      <a:pt x="749" y="394"/>
                    </a:cubicBezTo>
                    <a:cubicBezTo>
                      <a:pt x="742" y="379"/>
                      <a:pt x="735" y="364"/>
                      <a:pt x="726" y="348"/>
                    </a:cubicBezTo>
                    <a:cubicBezTo>
                      <a:pt x="725" y="346"/>
                      <a:pt x="724" y="345"/>
                      <a:pt x="723" y="343"/>
                    </a:cubicBezTo>
                    <a:cubicBezTo>
                      <a:pt x="723" y="342"/>
                      <a:pt x="722" y="340"/>
                      <a:pt x="721" y="339"/>
                    </a:cubicBezTo>
                    <a:cubicBezTo>
                      <a:pt x="719" y="318"/>
                      <a:pt x="717" y="297"/>
                      <a:pt x="716" y="277"/>
                    </a:cubicBezTo>
                    <a:cubicBezTo>
                      <a:pt x="716" y="267"/>
                      <a:pt x="715" y="256"/>
                      <a:pt x="715" y="246"/>
                    </a:cubicBezTo>
                    <a:cubicBezTo>
                      <a:pt x="714" y="214"/>
                      <a:pt x="713" y="180"/>
                      <a:pt x="705" y="148"/>
                    </a:cubicBezTo>
                    <a:cubicBezTo>
                      <a:pt x="700" y="129"/>
                      <a:pt x="691" y="110"/>
                      <a:pt x="679" y="91"/>
                    </a:cubicBezTo>
                    <a:cubicBezTo>
                      <a:pt x="667" y="71"/>
                      <a:pt x="650" y="52"/>
                      <a:pt x="629" y="36"/>
                    </a:cubicBezTo>
                    <a:cubicBezTo>
                      <a:pt x="598" y="13"/>
                      <a:pt x="559" y="1"/>
                      <a:pt x="517" y="0"/>
                    </a:cubicBezTo>
                    <a:cubicBezTo>
                      <a:pt x="487" y="0"/>
                      <a:pt x="458" y="7"/>
                      <a:pt x="432" y="20"/>
                    </a:cubicBezTo>
                    <a:cubicBezTo>
                      <a:pt x="405" y="34"/>
                      <a:pt x="383" y="57"/>
                      <a:pt x="368" y="86"/>
                    </a:cubicBezTo>
                    <a:cubicBezTo>
                      <a:pt x="356" y="112"/>
                      <a:pt x="349" y="141"/>
                      <a:pt x="348" y="177"/>
                    </a:cubicBezTo>
                    <a:cubicBezTo>
                      <a:pt x="347" y="197"/>
                      <a:pt x="348" y="218"/>
                      <a:pt x="350" y="237"/>
                    </a:cubicBezTo>
                    <a:cubicBezTo>
                      <a:pt x="350" y="247"/>
                      <a:pt x="351" y="257"/>
                      <a:pt x="351" y="266"/>
                    </a:cubicBezTo>
                    <a:cubicBezTo>
                      <a:pt x="351" y="277"/>
                      <a:pt x="352" y="287"/>
                      <a:pt x="352" y="297"/>
                    </a:cubicBezTo>
                    <a:cubicBezTo>
                      <a:pt x="352" y="319"/>
                      <a:pt x="353" y="339"/>
                      <a:pt x="354" y="360"/>
                    </a:cubicBezTo>
                    <a:cubicBezTo>
                      <a:pt x="355" y="370"/>
                      <a:pt x="356" y="380"/>
                      <a:pt x="356" y="390"/>
                    </a:cubicBezTo>
                    <a:cubicBezTo>
                      <a:pt x="356" y="403"/>
                      <a:pt x="356" y="403"/>
                      <a:pt x="356" y="403"/>
                    </a:cubicBezTo>
                    <a:cubicBezTo>
                      <a:pt x="356" y="403"/>
                      <a:pt x="355" y="404"/>
                      <a:pt x="355" y="405"/>
                    </a:cubicBezTo>
                    <a:cubicBezTo>
                      <a:pt x="351" y="414"/>
                      <a:pt x="346" y="423"/>
                      <a:pt x="342" y="432"/>
                    </a:cubicBezTo>
                    <a:cubicBezTo>
                      <a:pt x="337" y="438"/>
                      <a:pt x="332" y="444"/>
                      <a:pt x="327" y="451"/>
                    </a:cubicBezTo>
                    <a:cubicBezTo>
                      <a:pt x="322" y="457"/>
                      <a:pt x="317" y="463"/>
                      <a:pt x="312" y="469"/>
                    </a:cubicBezTo>
                    <a:cubicBezTo>
                      <a:pt x="306" y="476"/>
                      <a:pt x="300" y="484"/>
                      <a:pt x="294" y="491"/>
                    </a:cubicBezTo>
                    <a:cubicBezTo>
                      <a:pt x="289" y="498"/>
                      <a:pt x="283" y="505"/>
                      <a:pt x="277" y="513"/>
                    </a:cubicBezTo>
                    <a:cubicBezTo>
                      <a:pt x="273" y="517"/>
                      <a:pt x="273" y="517"/>
                      <a:pt x="273" y="517"/>
                    </a:cubicBezTo>
                    <a:cubicBezTo>
                      <a:pt x="260" y="534"/>
                      <a:pt x="248" y="550"/>
                      <a:pt x="239" y="569"/>
                    </a:cubicBezTo>
                    <a:cubicBezTo>
                      <a:pt x="234" y="581"/>
                      <a:pt x="230" y="593"/>
                      <a:pt x="227" y="606"/>
                    </a:cubicBezTo>
                    <a:cubicBezTo>
                      <a:pt x="225" y="612"/>
                      <a:pt x="223" y="619"/>
                      <a:pt x="221" y="625"/>
                    </a:cubicBezTo>
                    <a:cubicBezTo>
                      <a:pt x="215" y="645"/>
                      <a:pt x="207" y="666"/>
                      <a:pt x="198" y="685"/>
                    </a:cubicBezTo>
                    <a:cubicBezTo>
                      <a:pt x="193" y="697"/>
                      <a:pt x="187" y="708"/>
                      <a:pt x="182" y="719"/>
                    </a:cubicBezTo>
                    <a:cubicBezTo>
                      <a:pt x="178" y="726"/>
                      <a:pt x="174" y="733"/>
                      <a:pt x="170" y="740"/>
                    </a:cubicBezTo>
                    <a:cubicBezTo>
                      <a:pt x="163" y="753"/>
                      <a:pt x="156" y="767"/>
                      <a:pt x="153" y="781"/>
                    </a:cubicBezTo>
                    <a:cubicBezTo>
                      <a:pt x="151" y="792"/>
                      <a:pt x="152" y="803"/>
                      <a:pt x="156" y="817"/>
                    </a:cubicBezTo>
                    <a:cubicBezTo>
                      <a:pt x="156" y="817"/>
                      <a:pt x="155" y="817"/>
                      <a:pt x="155" y="818"/>
                    </a:cubicBezTo>
                    <a:cubicBezTo>
                      <a:pt x="155" y="818"/>
                      <a:pt x="154" y="819"/>
                      <a:pt x="153" y="820"/>
                    </a:cubicBezTo>
                    <a:cubicBezTo>
                      <a:pt x="152" y="820"/>
                      <a:pt x="152" y="821"/>
                      <a:pt x="151" y="822"/>
                    </a:cubicBezTo>
                    <a:cubicBezTo>
                      <a:pt x="147" y="827"/>
                      <a:pt x="142" y="834"/>
                      <a:pt x="138" y="842"/>
                    </a:cubicBezTo>
                    <a:cubicBezTo>
                      <a:pt x="136" y="847"/>
                      <a:pt x="133" y="852"/>
                      <a:pt x="131" y="856"/>
                    </a:cubicBezTo>
                    <a:cubicBezTo>
                      <a:pt x="127" y="859"/>
                      <a:pt x="124" y="862"/>
                      <a:pt x="121" y="865"/>
                    </a:cubicBezTo>
                    <a:cubicBezTo>
                      <a:pt x="118" y="866"/>
                      <a:pt x="114" y="867"/>
                      <a:pt x="111" y="867"/>
                    </a:cubicBezTo>
                    <a:cubicBezTo>
                      <a:pt x="109" y="867"/>
                      <a:pt x="109" y="867"/>
                      <a:pt x="109" y="867"/>
                    </a:cubicBezTo>
                    <a:cubicBezTo>
                      <a:pt x="108" y="867"/>
                      <a:pt x="108" y="867"/>
                      <a:pt x="108" y="867"/>
                    </a:cubicBezTo>
                    <a:cubicBezTo>
                      <a:pt x="106" y="868"/>
                      <a:pt x="104" y="867"/>
                      <a:pt x="101" y="867"/>
                    </a:cubicBezTo>
                    <a:cubicBezTo>
                      <a:pt x="100" y="867"/>
                      <a:pt x="98" y="867"/>
                      <a:pt x="97" y="867"/>
                    </a:cubicBezTo>
                    <a:cubicBezTo>
                      <a:pt x="89" y="867"/>
                      <a:pt x="89" y="867"/>
                      <a:pt x="89" y="867"/>
                    </a:cubicBezTo>
                    <a:cubicBezTo>
                      <a:pt x="82" y="867"/>
                      <a:pt x="73" y="867"/>
                      <a:pt x="64" y="869"/>
                    </a:cubicBezTo>
                    <a:cubicBezTo>
                      <a:pt x="53" y="871"/>
                      <a:pt x="43" y="876"/>
                      <a:pt x="35" y="884"/>
                    </a:cubicBezTo>
                    <a:cubicBezTo>
                      <a:pt x="27" y="891"/>
                      <a:pt x="21" y="902"/>
                      <a:pt x="19" y="914"/>
                    </a:cubicBezTo>
                    <a:cubicBezTo>
                      <a:pt x="17" y="922"/>
                      <a:pt x="17" y="931"/>
                      <a:pt x="18" y="942"/>
                    </a:cubicBezTo>
                    <a:cubicBezTo>
                      <a:pt x="19" y="951"/>
                      <a:pt x="20" y="960"/>
                      <a:pt x="21" y="968"/>
                    </a:cubicBezTo>
                    <a:cubicBezTo>
                      <a:pt x="21" y="971"/>
                      <a:pt x="21" y="971"/>
                      <a:pt x="21" y="971"/>
                    </a:cubicBezTo>
                    <a:cubicBezTo>
                      <a:pt x="22" y="979"/>
                      <a:pt x="23" y="986"/>
                      <a:pt x="23" y="993"/>
                    </a:cubicBezTo>
                    <a:cubicBezTo>
                      <a:pt x="24" y="1009"/>
                      <a:pt x="22" y="1023"/>
                      <a:pt x="19" y="1033"/>
                    </a:cubicBezTo>
                    <a:cubicBezTo>
                      <a:pt x="17" y="1034"/>
                      <a:pt x="17" y="1034"/>
                      <a:pt x="17" y="1034"/>
                    </a:cubicBezTo>
                    <a:cubicBezTo>
                      <a:pt x="17" y="1035"/>
                      <a:pt x="17" y="1035"/>
                      <a:pt x="17" y="1035"/>
                    </a:cubicBezTo>
                    <a:cubicBezTo>
                      <a:pt x="16" y="1038"/>
                      <a:pt x="15" y="1040"/>
                      <a:pt x="14" y="1042"/>
                    </a:cubicBezTo>
                    <a:cubicBezTo>
                      <a:pt x="13" y="1043"/>
                      <a:pt x="13" y="1044"/>
                      <a:pt x="12" y="1045"/>
                    </a:cubicBezTo>
                    <a:cubicBezTo>
                      <a:pt x="9" y="1051"/>
                      <a:pt x="6" y="1057"/>
                      <a:pt x="4" y="1065"/>
                    </a:cubicBezTo>
                    <a:cubicBezTo>
                      <a:pt x="1" y="1070"/>
                      <a:pt x="0" y="1077"/>
                      <a:pt x="0" y="1086"/>
                    </a:cubicBezTo>
                    <a:cubicBezTo>
                      <a:pt x="0" y="1090"/>
                      <a:pt x="0" y="1100"/>
                      <a:pt x="5" y="1109"/>
                    </a:cubicBezTo>
                    <a:cubicBezTo>
                      <a:pt x="5" y="1111"/>
                      <a:pt x="6" y="1112"/>
                      <a:pt x="7" y="1113"/>
                    </a:cubicBezTo>
                    <a:cubicBezTo>
                      <a:pt x="13" y="1120"/>
                      <a:pt x="20" y="1127"/>
                      <a:pt x="30" y="1131"/>
                    </a:cubicBezTo>
                    <a:cubicBezTo>
                      <a:pt x="38" y="1136"/>
                      <a:pt x="46" y="1138"/>
                      <a:pt x="55" y="1140"/>
                    </a:cubicBezTo>
                    <a:cubicBezTo>
                      <a:pt x="60" y="1141"/>
                      <a:pt x="66" y="1143"/>
                      <a:pt x="72" y="1145"/>
                    </a:cubicBezTo>
                    <a:cubicBezTo>
                      <a:pt x="77" y="1147"/>
                      <a:pt x="77" y="1147"/>
                      <a:pt x="77" y="1147"/>
                    </a:cubicBezTo>
                    <a:cubicBezTo>
                      <a:pt x="84" y="1149"/>
                      <a:pt x="91" y="1151"/>
                      <a:pt x="98" y="1153"/>
                    </a:cubicBezTo>
                    <a:cubicBezTo>
                      <a:pt x="116" y="1159"/>
                      <a:pt x="136" y="1164"/>
                      <a:pt x="157" y="1168"/>
                    </a:cubicBezTo>
                    <a:cubicBezTo>
                      <a:pt x="191" y="1175"/>
                      <a:pt x="217" y="1182"/>
                      <a:pt x="241" y="1191"/>
                    </a:cubicBezTo>
                    <a:cubicBezTo>
                      <a:pt x="247" y="1193"/>
                      <a:pt x="252" y="1195"/>
                      <a:pt x="257" y="1198"/>
                    </a:cubicBezTo>
                    <a:cubicBezTo>
                      <a:pt x="277" y="1206"/>
                      <a:pt x="296" y="1214"/>
                      <a:pt x="317" y="1215"/>
                    </a:cubicBezTo>
                    <a:cubicBezTo>
                      <a:pt x="318" y="1215"/>
                      <a:pt x="318" y="1215"/>
                      <a:pt x="318" y="1215"/>
                    </a:cubicBezTo>
                    <a:cubicBezTo>
                      <a:pt x="337" y="1215"/>
                      <a:pt x="356" y="1210"/>
                      <a:pt x="372" y="1200"/>
                    </a:cubicBezTo>
                    <a:cubicBezTo>
                      <a:pt x="389" y="1190"/>
                      <a:pt x="402" y="1176"/>
                      <a:pt x="411" y="1160"/>
                    </a:cubicBezTo>
                    <a:cubicBezTo>
                      <a:pt x="412" y="1159"/>
                      <a:pt x="412" y="1159"/>
                      <a:pt x="412" y="1159"/>
                    </a:cubicBezTo>
                    <a:cubicBezTo>
                      <a:pt x="412" y="1158"/>
                      <a:pt x="412" y="1158"/>
                      <a:pt x="412" y="1158"/>
                    </a:cubicBezTo>
                    <a:cubicBezTo>
                      <a:pt x="416" y="1151"/>
                      <a:pt x="419" y="1143"/>
                      <a:pt x="421" y="1132"/>
                    </a:cubicBezTo>
                    <a:cubicBezTo>
                      <a:pt x="435" y="1130"/>
                      <a:pt x="448" y="1128"/>
                      <a:pt x="461" y="1127"/>
                    </a:cubicBezTo>
                    <a:cubicBezTo>
                      <a:pt x="475" y="1127"/>
                      <a:pt x="475" y="1127"/>
                      <a:pt x="475" y="1127"/>
                    </a:cubicBezTo>
                    <a:cubicBezTo>
                      <a:pt x="487" y="1128"/>
                      <a:pt x="500" y="1128"/>
                      <a:pt x="512" y="1128"/>
                    </a:cubicBezTo>
                    <a:cubicBezTo>
                      <a:pt x="515" y="1128"/>
                      <a:pt x="515" y="1128"/>
                      <a:pt x="515" y="1128"/>
                    </a:cubicBezTo>
                    <a:cubicBezTo>
                      <a:pt x="519" y="1128"/>
                      <a:pt x="522" y="1128"/>
                      <a:pt x="525" y="1129"/>
                    </a:cubicBezTo>
                    <a:cubicBezTo>
                      <a:pt x="526" y="1129"/>
                      <a:pt x="526" y="1129"/>
                      <a:pt x="526" y="1129"/>
                    </a:cubicBezTo>
                    <a:cubicBezTo>
                      <a:pt x="548" y="1130"/>
                      <a:pt x="570" y="1132"/>
                      <a:pt x="591" y="1135"/>
                    </a:cubicBezTo>
                    <a:cubicBezTo>
                      <a:pt x="610" y="1138"/>
                      <a:pt x="629" y="1142"/>
                      <a:pt x="648" y="1147"/>
                    </a:cubicBezTo>
                    <a:cubicBezTo>
                      <a:pt x="650" y="1147"/>
                      <a:pt x="651" y="1148"/>
                      <a:pt x="653" y="1148"/>
                    </a:cubicBezTo>
                    <a:cubicBezTo>
                      <a:pt x="653" y="1148"/>
                      <a:pt x="654" y="1148"/>
                      <a:pt x="654" y="1148"/>
                    </a:cubicBezTo>
                    <a:cubicBezTo>
                      <a:pt x="656" y="1158"/>
                      <a:pt x="659" y="1166"/>
                      <a:pt x="665" y="1173"/>
                    </a:cubicBezTo>
                    <a:cubicBezTo>
                      <a:pt x="673" y="1186"/>
                      <a:pt x="687" y="1197"/>
                      <a:pt x="705" y="1205"/>
                    </a:cubicBezTo>
                    <a:cubicBezTo>
                      <a:pt x="724" y="1212"/>
                      <a:pt x="741" y="1216"/>
                      <a:pt x="757" y="1216"/>
                    </a:cubicBezTo>
                    <a:cubicBezTo>
                      <a:pt x="762" y="1216"/>
                      <a:pt x="767" y="1216"/>
                      <a:pt x="772" y="1215"/>
                    </a:cubicBezTo>
                    <a:cubicBezTo>
                      <a:pt x="789" y="1213"/>
                      <a:pt x="807" y="1206"/>
                      <a:pt x="827" y="1192"/>
                    </a:cubicBezTo>
                    <a:cubicBezTo>
                      <a:pt x="828" y="1192"/>
                      <a:pt x="828" y="1192"/>
                      <a:pt x="828" y="1192"/>
                    </a:cubicBezTo>
                    <a:cubicBezTo>
                      <a:pt x="831" y="1189"/>
                      <a:pt x="834" y="1187"/>
                      <a:pt x="837" y="1184"/>
                    </a:cubicBezTo>
                    <a:cubicBezTo>
                      <a:pt x="843" y="1179"/>
                      <a:pt x="849" y="1173"/>
                      <a:pt x="855" y="1168"/>
                    </a:cubicBezTo>
                    <a:cubicBezTo>
                      <a:pt x="858" y="1165"/>
                      <a:pt x="861" y="1162"/>
                      <a:pt x="863" y="1160"/>
                    </a:cubicBezTo>
                    <a:cubicBezTo>
                      <a:pt x="865" y="1159"/>
                      <a:pt x="865" y="1159"/>
                      <a:pt x="865" y="1159"/>
                    </a:cubicBezTo>
                    <a:cubicBezTo>
                      <a:pt x="877" y="1148"/>
                      <a:pt x="890" y="1136"/>
                      <a:pt x="905" y="1126"/>
                    </a:cubicBezTo>
                    <a:cubicBezTo>
                      <a:pt x="916" y="1120"/>
                      <a:pt x="928" y="1113"/>
                      <a:pt x="941" y="1107"/>
                    </a:cubicBezTo>
                    <a:cubicBezTo>
                      <a:pt x="945" y="1105"/>
                      <a:pt x="949" y="1103"/>
                      <a:pt x="953" y="1101"/>
                    </a:cubicBezTo>
                    <a:cubicBezTo>
                      <a:pt x="977" y="1089"/>
                      <a:pt x="977" y="1089"/>
                      <a:pt x="977" y="1089"/>
                    </a:cubicBezTo>
                    <a:cubicBezTo>
                      <a:pt x="993" y="1081"/>
                      <a:pt x="1010" y="1072"/>
                      <a:pt x="1023" y="1056"/>
                    </a:cubicBezTo>
                    <a:cubicBezTo>
                      <a:pt x="1029" y="1049"/>
                      <a:pt x="1033" y="1042"/>
                      <a:pt x="1038" y="1032"/>
                    </a:cubicBezTo>
                    <a:cubicBezTo>
                      <a:pt x="1038" y="1031"/>
                      <a:pt x="1038" y="1031"/>
                      <a:pt x="1038" y="1031"/>
                    </a:cubicBezTo>
                    <a:cubicBezTo>
                      <a:pt x="1038" y="1030"/>
                      <a:pt x="1038" y="1030"/>
                      <a:pt x="1038" y="1030"/>
                    </a:cubicBezTo>
                    <a:cubicBezTo>
                      <a:pt x="1042" y="1018"/>
                      <a:pt x="1040" y="1006"/>
                      <a:pt x="1033" y="995"/>
                    </a:cubicBezTo>
                    <a:close/>
                    <a:moveTo>
                      <a:pt x="1030" y="1028"/>
                    </a:moveTo>
                    <a:cubicBezTo>
                      <a:pt x="1030" y="1028"/>
                      <a:pt x="1030" y="1028"/>
                      <a:pt x="1030" y="1028"/>
                    </a:cubicBezTo>
                    <a:cubicBezTo>
                      <a:pt x="1030" y="1029"/>
                      <a:pt x="1030" y="1029"/>
                      <a:pt x="1030" y="1029"/>
                    </a:cubicBezTo>
                    <a:cubicBezTo>
                      <a:pt x="1026" y="1038"/>
                      <a:pt x="1022" y="1044"/>
                      <a:pt x="1017" y="1050"/>
                    </a:cubicBezTo>
                    <a:cubicBezTo>
                      <a:pt x="1005" y="1065"/>
                      <a:pt x="989" y="1074"/>
                      <a:pt x="973" y="1081"/>
                    </a:cubicBezTo>
                    <a:cubicBezTo>
                      <a:pt x="949" y="1093"/>
                      <a:pt x="949" y="1093"/>
                      <a:pt x="949" y="1093"/>
                    </a:cubicBezTo>
                    <a:cubicBezTo>
                      <a:pt x="945" y="1096"/>
                      <a:pt x="941" y="1098"/>
                      <a:pt x="937" y="1100"/>
                    </a:cubicBezTo>
                    <a:cubicBezTo>
                      <a:pt x="924" y="1106"/>
                      <a:pt x="912" y="1113"/>
                      <a:pt x="901" y="1120"/>
                    </a:cubicBezTo>
                    <a:cubicBezTo>
                      <a:pt x="885" y="1129"/>
                      <a:pt x="871" y="1142"/>
                      <a:pt x="859" y="1153"/>
                    </a:cubicBezTo>
                    <a:cubicBezTo>
                      <a:pt x="859" y="1154"/>
                      <a:pt x="859" y="1154"/>
                      <a:pt x="859" y="1154"/>
                    </a:cubicBezTo>
                    <a:cubicBezTo>
                      <a:pt x="855" y="1156"/>
                      <a:pt x="852" y="1159"/>
                      <a:pt x="849" y="1162"/>
                    </a:cubicBezTo>
                    <a:cubicBezTo>
                      <a:pt x="844" y="1167"/>
                      <a:pt x="838" y="1173"/>
                      <a:pt x="832" y="1178"/>
                    </a:cubicBezTo>
                    <a:cubicBezTo>
                      <a:pt x="829" y="1181"/>
                      <a:pt x="826" y="1183"/>
                      <a:pt x="823" y="1186"/>
                    </a:cubicBezTo>
                    <a:cubicBezTo>
                      <a:pt x="803" y="1199"/>
                      <a:pt x="787" y="1205"/>
                      <a:pt x="771" y="1207"/>
                    </a:cubicBezTo>
                    <a:cubicBezTo>
                      <a:pt x="767" y="1208"/>
                      <a:pt x="762" y="1208"/>
                      <a:pt x="757" y="1208"/>
                    </a:cubicBezTo>
                    <a:cubicBezTo>
                      <a:pt x="742" y="1208"/>
                      <a:pt x="726" y="1204"/>
                      <a:pt x="709" y="1197"/>
                    </a:cubicBezTo>
                    <a:cubicBezTo>
                      <a:pt x="691" y="1190"/>
                      <a:pt x="679" y="1180"/>
                      <a:pt x="671" y="1169"/>
                    </a:cubicBezTo>
                    <a:cubicBezTo>
                      <a:pt x="666" y="1162"/>
                      <a:pt x="663" y="1154"/>
                      <a:pt x="662" y="1145"/>
                    </a:cubicBezTo>
                    <a:cubicBezTo>
                      <a:pt x="662" y="1142"/>
                      <a:pt x="662" y="1142"/>
                      <a:pt x="662" y="1142"/>
                    </a:cubicBezTo>
                    <a:cubicBezTo>
                      <a:pt x="659" y="1141"/>
                      <a:pt x="659" y="1141"/>
                      <a:pt x="659" y="1141"/>
                    </a:cubicBezTo>
                    <a:cubicBezTo>
                      <a:pt x="657" y="1141"/>
                      <a:pt x="656" y="1140"/>
                      <a:pt x="654" y="1140"/>
                    </a:cubicBezTo>
                    <a:cubicBezTo>
                      <a:pt x="653" y="1140"/>
                      <a:pt x="651" y="1140"/>
                      <a:pt x="650" y="1139"/>
                    </a:cubicBezTo>
                    <a:cubicBezTo>
                      <a:pt x="631" y="1134"/>
                      <a:pt x="612" y="1130"/>
                      <a:pt x="593" y="1127"/>
                    </a:cubicBezTo>
                    <a:cubicBezTo>
                      <a:pt x="571" y="1124"/>
                      <a:pt x="548" y="1122"/>
                      <a:pt x="527" y="1121"/>
                    </a:cubicBezTo>
                    <a:cubicBezTo>
                      <a:pt x="522" y="1120"/>
                      <a:pt x="519" y="1120"/>
                      <a:pt x="515" y="1120"/>
                    </a:cubicBezTo>
                    <a:cubicBezTo>
                      <a:pt x="512" y="1120"/>
                      <a:pt x="512" y="1120"/>
                      <a:pt x="512" y="1120"/>
                    </a:cubicBezTo>
                    <a:cubicBezTo>
                      <a:pt x="500" y="1120"/>
                      <a:pt x="487" y="1120"/>
                      <a:pt x="475" y="1119"/>
                    </a:cubicBezTo>
                    <a:cubicBezTo>
                      <a:pt x="461" y="1119"/>
                      <a:pt x="461" y="1119"/>
                      <a:pt x="461" y="1119"/>
                    </a:cubicBezTo>
                    <a:cubicBezTo>
                      <a:pt x="446" y="1120"/>
                      <a:pt x="432" y="1122"/>
                      <a:pt x="417" y="1125"/>
                    </a:cubicBezTo>
                    <a:cubicBezTo>
                      <a:pt x="415" y="1126"/>
                      <a:pt x="415" y="1126"/>
                      <a:pt x="415" y="1126"/>
                    </a:cubicBezTo>
                    <a:cubicBezTo>
                      <a:pt x="414" y="1128"/>
                      <a:pt x="414" y="1128"/>
                      <a:pt x="414" y="1128"/>
                    </a:cubicBezTo>
                    <a:cubicBezTo>
                      <a:pt x="412" y="1140"/>
                      <a:pt x="409" y="1148"/>
                      <a:pt x="405" y="1155"/>
                    </a:cubicBezTo>
                    <a:cubicBezTo>
                      <a:pt x="404" y="1156"/>
                      <a:pt x="404" y="1156"/>
                      <a:pt x="404" y="1156"/>
                    </a:cubicBezTo>
                    <a:cubicBezTo>
                      <a:pt x="404" y="1157"/>
                      <a:pt x="404" y="1157"/>
                      <a:pt x="404" y="1157"/>
                    </a:cubicBezTo>
                    <a:cubicBezTo>
                      <a:pt x="396" y="1172"/>
                      <a:pt x="383" y="1184"/>
                      <a:pt x="368" y="1194"/>
                    </a:cubicBezTo>
                    <a:cubicBezTo>
                      <a:pt x="353" y="1202"/>
                      <a:pt x="336" y="1207"/>
                      <a:pt x="318" y="1207"/>
                    </a:cubicBezTo>
                    <a:cubicBezTo>
                      <a:pt x="317" y="1207"/>
                      <a:pt x="317" y="1207"/>
                      <a:pt x="317" y="1207"/>
                    </a:cubicBezTo>
                    <a:cubicBezTo>
                      <a:pt x="297" y="1206"/>
                      <a:pt x="280" y="1199"/>
                      <a:pt x="261" y="1190"/>
                    </a:cubicBezTo>
                    <a:cubicBezTo>
                      <a:pt x="255" y="1187"/>
                      <a:pt x="250" y="1185"/>
                      <a:pt x="243" y="1183"/>
                    </a:cubicBezTo>
                    <a:cubicBezTo>
                      <a:pt x="219" y="1174"/>
                      <a:pt x="193" y="1167"/>
                      <a:pt x="159" y="1160"/>
                    </a:cubicBezTo>
                    <a:cubicBezTo>
                      <a:pt x="138" y="1156"/>
                      <a:pt x="118" y="1151"/>
                      <a:pt x="100" y="1145"/>
                    </a:cubicBezTo>
                    <a:cubicBezTo>
                      <a:pt x="93" y="1144"/>
                      <a:pt x="86" y="1141"/>
                      <a:pt x="80" y="1139"/>
                    </a:cubicBezTo>
                    <a:cubicBezTo>
                      <a:pt x="74" y="1137"/>
                      <a:pt x="74" y="1137"/>
                      <a:pt x="74" y="1137"/>
                    </a:cubicBezTo>
                    <a:cubicBezTo>
                      <a:pt x="68" y="1135"/>
                      <a:pt x="62" y="1133"/>
                      <a:pt x="57" y="1132"/>
                    </a:cubicBezTo>
                    <a:cubicBezTo>
                      <a:pt x="48" y="1130"/>
                      <a:pt x="41" y="1128"/>
                      <a:pt x="34" y="1124"/>
                    </a:cubicBezTo>
                    <a:cubicBezTo>
                      <a:pt x="25" y="1120"/>
                      <a:pt x="18" y="1114"/>
                      <a:pt x="13" y="1108"/>
                    </a:cubicBezTo>
                    <a:cubicBezTo>
                      <a:pt x="13" y="1107"/>
                      <a:pt x="13" y="1107"/>
                      <a:pt x="13" y="1107"/>
                    </a:cubicBezTo>
                    <a:cubicBezTo>
                      <a:pt x="12" y="1106"/>
                      <a:pt x="12" y="1106"/>
                      <a:pt x="12" y="1106"/>
                    </a:cubicBezTo>
                    <a:cubicBezTo>
                      <a:pt x="8" y="1099"/>
                      <a:pt x="8" y="1090"/>
                      <a:pt x="8" y="1086"/>
                    </a:cubicBezTo>
                    <a:cubicBezTo>
                      <a:pt x="8" y="1079"/>
                      <a:pt x="9" y="1073"/>
                      <a:pt x="12" y="1068"/>
                    </a:cubicBezTo>
                    <a:cubicBezTo>
                      <a:pt x="12" y="1067"/>
                      <a:pt x="12" y="1067"/>
                      <a:pt x="12" y="1067"/>
                    </a:cubicBezTo>
                    <a:cubicBezTo>
                      <a:pt x="14" y="1060"/>
                      <a:pt x="17" y="1055"/>
                      <a:pt x="20" y="1049"/>
                    </a:cubicBezTo>
                    <a:cubicBezTo>
                      <a:pt x="20" y="1048"/>
                      <a:pt x="21" y="1047"/>
                      <a:pt x="21" y="1046"/>
                    </a:cubicBezTo>
                    <a:cubicBezTo>
                      <a:pt x="22" y="1043"/>
                      <a:pt x="24" y="1041"/>
                      <a:pt x="25" y="1038"/>
                    </a:cubicBezTo>
                    <a:cubicBezTo>
                      <a:pt x="25" y="1037"/>
                      <a:pt x="25" y="1037"/>
                      <a:pt x="25" y="1037"/>
                    </a:cubicBezTo>
                    <a:cubicBezTo>
                      <a:pt x="26" y="1036"/>
                      <a:pt x="26" y="1036"/>
                      <a:pt x="26" y="1036"/>
                    </a:cubicBezTo>
                    <a:cubicBezTo>
                      <a:pt x="30" y="1025"/>
                      <a:pt x="32" y="1011"/>
                      <a:pt x="31" y="993"/>
                    </a:cubicBezTo>
                    <a:cubicBezTo>
                      <a:pt x="31" y="986"/>
                      <a:pt x="30" y="978"/>
                      <a:pt x="29" y="970"/>
                    </a:cubicBezTo>
                    <a:cubicBezTo>
                      <a:pt x="29" y="968"/>
                      <a:pt x="29" y="968"/>
                      <a:pt x="29" y="968"/>
                    </a:cubicBezTo>
                    <a:cubicBezTo>
                      <a:pt x="28" y="960"/>
                      <a:pt x="27" y="951"/>
                      <a:pt x="26" y="942"/>
                    </a:cubicBezTo>
                    <a:cubicBezTo>
                      <a:pt x="25" y="931"/>
                      <a:pt x="25" y="923"/>
                      <a:pt x="27" y="916"/>
                    </a:cubicBezTo>
                    <a:cubicBezTo>
                      <a:pt x="29" y="905"/>
                      <a:pt x="34" y="896"/>
                      <a:pt x="41" y="890"/>
                    </a:cubicBezTo>
                    <a:cubicBezTo>
                      <a:pt x="48" y="883"/>
                      <a:pt x="56" y="879"/>
                      <a:pt x="66" y="877"/>
                    </a:cubicBezTo>
                    <a:cubicBezTo>
                      <a:pt x="73" y="875"/>
                      <a:pt x="82" y="875"/>
                      <a:pt x="89" y="875"/>
                    </a:cubicBezTo>
                    <a:cubicBezTo>
                      <a:pt x="97" y="875"/>
                      <a:pt x="97" y="875"/>
                      <a:pt x="97" y="875"/>
                    </a:cubicBezTo>
                    <a:cubicBezTo>
                      <a:pt x="98" y="875"/>
                      <a:pt x="99" y="875"/>
                      <a:pt x="101" y="875"/>
                    </a:cubicBezTo>
                    <a:cubicBezTo>
                      <a:pt x="103" y="875"/>
                      <a:pt x="106" y="876"/>
                      <a:pt x="109" y="875"/>
                    </a:cubicBezTo>
                    <a:cubicBezTo>
                      <a:pt x="111" y="875"/>
                      <a:pt x="111" y="875"/>
                      <a:pt x="111" y="875"/>
                    </a:cubicBezTo>
                    <a:cubicBezTo>
                      <a:pt x="116" y="875"/>
                      <a:pt x="120" y="874"/>
                      <a:pt x="125" y="872"/>
                    </a:cubicBezTo>
                    <a:cubicBezTo>
                      <a:pt x="125" y="871"/>
                      <a:pt x="125" y="871"/>
                      <a:pt x="125" y="871"/>
                    </a:cubicBezTo>
                    <a:cubicBezTo>
                      <a:pt x="130" y="868"/>
                      <a:pt x="133" y="865"/>
                      <a:pt x="137" y="861"/>
                    </a:cubicBezTo>
                    <a:cubicBezTo>
                      <a:pt x="137" y="860"/>
                      <a:pt x="137" y="860"/>
                      <a:pt x="137" y="860"/>
                    </a:cubicBezTo>
                    <a:cubicBezTo>
                      <a:pt x="138" y="860"/>
                      <a:pt x="138" y="860"/>
                      <a:pt x="138" y="860"/>
                    </a:cubicBezTo>
                    <a:cubicBezTo>
                      <a:pt x="140" y="856"/>
                      <a:pt x="143" y="851"/>
                      <a:pt x="145" y="846"/>
                    </a:cubicBezTo>
                    <a:cubicBezTo>
                      <a:pt x="146" y="846"/>
                      <a:pt x="146" y="846"/>
                      <a:pt x="146" y="846"/>
                    </a:cubicBezTo>
                    <a:cubicBezTo>
                      <a:pt x="149" y="838"/>
                      <a:pt x="153" y="831"/>
                      <a:pt x="158" y="827"/>
                    </a:cubicBezTo>
                    <a:cubicBezTo>
                      <a:pt x="158" y="827"/>
                      <a:pt x="158" y="827"/>
                      <a:pt x="158" y="827"/>
                    </a:cubicBezTo>
                    <a:cubicBezTo>
                      <a:pt x="160" y="825"/>
                      <a:pt x="160" y="825"/>
                      <a:pt x="160" y="825"/>
                    </a:cubicBezTo>
                    <a:cubicBezTo>
                      <a:pt x="160" y="824"/>
                      <a:pt x="160" y="824"/>
                      <a:pt x="161" y="823"/>
                    </a:cubicBezTo>
                    <a:cubicBezTo>
                      <a:pt x="162" y="822"/>
                      <a:pt x="163" y="821"/>
                      <a:pt x="164" y="820"/>
                    </a:cubicBezTo>
                    <a:cubicBezTo>
                      <a:pt x="164" y="819"/>
                      <a:pt x="164" y="819"/>
                      <a:pt x="164" y="819"/>
                    </a:cubicBezTo>
                    <a:cubicBezTo>
                      <a:pt x="164" y="817"/>
                      <a:pt x="164" y="817"/>
                      <a:pt x="164" y="817"/>
                    </a:cubicBezTo>
                    <a:cubicBezTo>
                      <a:pt x="164" y="816"/>
                      <a:pt x="164" y="816"/>
                      <a:pt x="164" y="816"/>
                    </a:cubicBezTo>
                    <a:cubicBezTo>
                      <a:pt x="160" y="803"/>
                      <a:pt x="159" y="792"/>
                      <a:pt x="161" y="783"/>
                    </a:cubicBezTo>
                    <a:cubicBezTo>
                      <a:pt x="164" y="769"/>
                      <a:pt x="170" y="757"/>
                      <a:pt x="178" y="744"/>
                    </a:cubicBezTo>
                    <a:cubicBezTo>
                      <a:pt x="181" y="737"/>
                      <a:pt x="185" y="730"/>
                      <a:pt x="189" y="722"/>
                    </a:cubicBezTo>
                    <a:cubicBezTo>
                      <a:pt x="194" y="711"/>
                      <a:pt x="200" y="700"/>
                      <a:pt x="206" y="689"/>
                    </a:cubicBezTo>
                    <a:cubicBezTo>
                      <a:pt x="215" y="669"/>
                      <a:pt x="223" y="648"/>
                      <a:pt x="229" y="627"/>
                    </a:cubicBezTo>
                    <a:cubicBezTo>
                      <a:pt x="231" y="621"/>
                      <a:pt x="233" y="614"/>
                      <a:pt x="235" y="608"/>
                    </a:cubicBezTo>
                    <a:cubicBezTo>
                      <a:pt x="238" y="596"/>
                      <a:pt x="242" y="584"/>
                      <a:pt x="247" y="573"/>
                    </a:cubicBezTo>
                    <a:cubicBezTo>
                      <a:pt x="255" y="554"/>
                      <a:pt x="267" y="538"/>
                      <a:pt x="279" y="522"/>
                    </a:cubicBezTo>
                    <a:cubicBezTo>
                      <a:pt x="283" y="518"/>
                      <a:pt x="283" y="518"/>
                      <a:pt x="283" y="518"/>
                    </a:cubicBezTo>
                    <a:cubicBezTo>
                      <a:pt x="289" y="511"/>
                      <a:pt x="295" y="503"/>
                      <a:pt x="301" y="496"/>
                    </a:cubicBezTo>
                    <a:cubicBezTo>
                      <a:pt x="306" y="489"/>
                      <a:pt x="312" y="482"/>
                      <a:pt x="318" y="474"/>
                    </a:cubicBezTo>
                    <a:cubicBezTo>
                      <a:pt x="323" y="468"/>
                      <a:pt x="328" y="462"/>
                      <a:pt x="333" y="455"/>
                    </a:cubicBezTo>
                    <a:cubicBezTo>
                      <a:pt x="338" y="449"/>
                      <a:pt x="343" y="443"/>
                      <a:pt x="348" y="436"/>
                    </a:cubicBezTo>
                    <a:cubicBezTo>
                      <a:pt x="348" y="436"/>
                      <a:pt x="348" y="436"/>
                      <a:pt x="348" y="436"/>
                    </a:cubicBezTo>
                    <a:cubicBezTo>
                      <a:pt x="353" y="427"/>
                      <a:pt x="359" y="418"/>
                      <a:pt x="363" y="407"/>
                    </a:cubicBezTo>
                    <a:cubicBezTo>
                      <a:pt x="363" y="407"/>
                      <a:pt x="363" y="407"/>
                      <a:pt x="363" y="407"/>
                    </a:cubicBezTo>
                    <a:cubicBezTo>
                      <a:pt x="363" y="407"/>
                      <a:pt x="364" y="406"/>
                      <a:pt x="364" y="404"/>
                    </a:cubicBezTo>
                    <a:cubicBezTo>
                      <a:pt x="364" y="390"/>
                      <a:pt x="364" y="390"/>
                      <a:pt x="364" y="390"/>
                    </a:cubicBezTo>
                    <a:cubicBezTo>
                      <a:pt x="364" y="380"/>
                      <a:pt x="363" y="370"/>
                      <a:pt x="362" y="360"/>
                    </a:cubicBezTo>
                    <a:cubicBezTo>
                      <a:pt x="361" y="339"/>
                      <a:pt x="360" y="319"/>
                      <a:pt x="360" y="297"/>
                    </a:cubicBezTo>
                    <a:cubicBezTo>
                      <a:pt x="360" y="287"/>
                      <a:pt x="359" y="276"/>
                      <a:pt x="359" y="266"/>
                    </a:cubicBezTo>
                    <a:cubicBezTo>
                      <a:pt x="359" y="256"/>
                      <a:pt x="358" y="247"/>
                      <a:pt x="358" y="237"/>
                    </a:cubicBezTo>
                    <a:cubicBezTo>
                      <a:pt x="356" y="217"/>
                      <a:pt x="355" y="197"/>
                      <a:pt x="356" y="177"/>
                    </a:cubicBezTo>
                    <a:cubicBezTo>
                      <a:pt x="357" y="142"/>
                      <a:pt x="363" y="114"/>
                      <a:pt x="376" y="90"/>
                    </a:cubicBezTo>
                    <a:cubicBezTo>
                      <a:pt x="390" y="62"/>
                      <a:pt x="411" y="41"/>
                      <a:pt x="436" y="27"/>
                    </a:cubicBezTo>
                    <a:cubicBezTo>
                      <a:pt x="460" y="14"/>
                      <a:pt x="488" y="8"/>
                      <a:pt x="517" y="8"/>
                    </a:cubicBezTo>
                    <a:cubicBezTo>
                      <a:pt x="558" y="9"/>
                      <a:pt x="595" y="21"/>
                      <a:pt x="625" y="42"/>
                    </a:cubicBezTo>
                    <a:cubicBezTo>
                      <a:pt x="644" y="58"/>
                      <a:pt x="661" y="76"/>
                      <a:pt x="673" y="95"/>
                    </a:cubicBezTo>
                    <a:cubicBezTo>
                      <a:pt x="684" y="113"/>
                      <a:pt x="693" y="132"/>
                      <a:pt x="697" y="150"/>
                    </a:cubicBezTo>
                    <a:cubicBezTo>
                      <a:pt x="705" y="181"/>
                      <a:pt x="706" y="214"/>
                      <a:pt x="707" y="247"/>
                    </a:cubicBezTo>
                    <a:cubicBezTo>
                      <a:pt x="707" y="257"/>
                      <a:pt x="708" y="267"/>
                      <a:pt x="708" y="277"/>
                    </a:cubicBezTo>
                    <a:cubicBezTo>
                      <a:pt x="709" y="298"/>
                      <a:pt x="711" y="320"/>
                      <a:pt x="713" y="340"/>
                    </a:cubicBezTo>
                    <a:cubicBezTo>
                      <a:pt x="713" y="341"/>
                      <a:pt x="713" y="341"/>
                      <a:pt x="713" y="341"/>
                    </a:cubicBezTo>
                    <a:cubicBezTo>
                      <a:pt x="714" y="342"/>
                      <a:pt x="714" y="342"/>
                      <a:pt x="714" y="342"/>
                    </a:cubicBezTo>
                    <a:cubicBezTo>
                      <a:pt x="715" y="344"/>
                      <a:pt x="716" y="345"/>
                      <a:pt x="717" y="347"/>
                    </a:cubicBezTo>
                    <a:cubicBezTo>
                      <a:pt x="718" y="349"/>
                      <a:pt x="719" y="351"/>
                      <a:pt x="720" y="352"/>
                    </a:cubicBezTo>
                    <a:cubicBezTo>
                      <a:pt x="728" y="367"/>
                      <a:pt x="735" y="383"/>
                      <a:pt x="742" y="398"/>
                    </a:cubicBezTo>
                    <a:cubicBezTo>
                      <a:pt x="745" y="405"/>
                      <a:pt x="749" y="413"/>
                      <a:pt x="752" y="421"/>
                    </a:cubicBezTo>
                    <a:cubicBezTo>
                      <a:pt x="754" y="424"/>
                      <a:pt x="756" y="428"/>
                      <a:pt x="757" y="432"/>
                    </a:cubicBezTo>
                    <a:cubicBezTo>
                      <a:pt x="759" y="435"/>
                      <a:pt x="761" y="439"/>
                      <a:pt x="762" y="443"/>
                    </a:cubicBezTo>
                    <a:cubicBezTo>
                      <a:pt x="763" y="443"/>
                      <a:pt x="763" y="443"/>
                      <a:pt x="763" y="443"/>
                    </a:cubicBezTo>
                    <a:cubicBezTo>
                      <a:pt x="767" y="449"/>
                      <a:pt x="771" y="455"/>
                      <a:pt x="775" y="461"/>
                    </a:cubicBezTo>
                    <a:cubicBezTo>
                      <a:pt x="779" y="467"/>
                      <a:pt x="783" y="473"/>
                      <a:pt x="788" y="479"/>
                    </a:cubicBezTo>
                    <a:cubicBezTo>
                      <a:pt x="797" y="492"/>
                      <a:pt x="807" y="504"/>
                      <a:pt x="818" y="515"/>
                    </a:cubicBezTo>
                    <a:cubicBezTo>
                      <a:pt x="826" y="524"/>
                      <a:pt x="834" y="533"/>
                      <a:pt x="842" y="542"/>
                    </a:cubicBezTo>
                    <a:cubicBezTo>
                      <a:pt x="858" y="564"/>
                      <a:pt x="870" y="590"/>
                      <a:pt x="880" y="615"/>
                    </a:cubicBezTo>
                    <a:cubicBezTo>
                      <a:pt x="896" y="655"/>
                      <a:pt x="906" y="690"/>
                      <a:pt x="911" y="725"/>
                    </a:cubicBezTo>
                    <a:cubicBezTo>
                      <a:pt x="917" y="758"/>
                      <a:pt x="918" y="784"/>
                      <a:pt x="914" y="806"/>
                    </a:cubicBezTo>
                    <a:cubicBezTo>
                      <a:pt x="913" y="808"/>
                      <a:pt x="913" y="808"/>
                      <a:pt x="913" y="808"/>
                    </a:cubicBezTo>
                    <a:cubicBezTo>
                      <a:pt x="911" y="819"/>
                      <a:pt x="908" y="829"/>
                      <a:pt x="902" y="839"/>
                    </a:cubicBezTo>
                    <a:cubicBezTo>
                      <a:pt x="899" y="845"/>
                      <a:pt x="899" y="845"/>
                      <a:pt x="899" y="845"/>
                    </a:cubicBezTo>
                    <a:cubicBezTo>
                      <a:pt x="906" y="845"/>
                      <a:pt x="906" y="845"/>
                      <a:pt x="906" y="845"/>
                    </a:cubicBezTo>
                    <a:cubicBezTo>
                      <a:pt x="915" y="848"/>
                      <a:pt x="922" y="852"/>
                      <a:pt x="926" y="857"/>
                    </a:cubicBezTo>
                    <a:cubicBezTo>
                      <a:pt x="931" y="861"/>
                      <a:pt x="933" y="866"/>
                      <a:pt x="936" y="870"/>
                    </a:cubicBezTo>
                    <a:cubicBezTo>
                      <a:pt x="937" y="871"/>
                      <a:pt x="937" y="872"/>
                      <a:pt x="937" y="873"/>
                    </a:cubicBezTo>
                    <a:cubicBezTo>
                      <a:pt x="941" y="881"/>
                      <a:pt x="942" y="888"/>
                      <a:pt x="943" y="896"/>
                    </a:cubicBezTo>
                    <a:cubicBezTo>
                      <a:pt x="943" y="898"/>
                      <a:pt x="943" y="898"/>
                      <a:pt x="943" y="898"/>
                    </a:cubicBezTo>
                    <a:cubicBezTo>
                      <a:pt x="943" y="905"/>
                      <a:pt x="943" y="910"/>
                      <a:pt x="944" y="915"/>
                    </a:cubicBezTo>
                    <a:cubicBezTo>
                      <a:pt x="945" y="923"/>
                      <a:pt x="949" y="929"/>
                      <a:pt x="955" y="936"/>
                    </a:cubicBezTo>
                    <a:cubicBezTo>
                      <a:pt x="956" y="937"/>
                      <a:pt x="957" y="938"/>
                      <a:pt x="957" y="938"/>
                    </a:cubicBezTo>
                    <a:cubicBezTo>
                      <a:pt x="962" y="945"/>
                      <a:pt x="968" y="951"/>
                      <a:pt x="978" y="957"/>
                    </a:cubicBezTo>
                    <a:cubicBezTo>
                      <a:pt x="979" y="959"/>
                      <a:pt x="981" y="960"/>
                      <a:pt x="983" y="962"/>
                    </a:cubicBezTo>
                    <a:cubicBezTo>
                      <a:pt x="985" y="964"/>
                      <a:pt x="987" y="966"/>
                      <a:pt x="990" y="967"/>
                    </a:cubicBezTo>
                    <a:cubicBezTo>
                      <a:pt x="1001" y="976"/>
                      <a:pt x="1001" y="976"/>
                      <a:pt x="1001" y="976"/>
                    </a:cubicBezTo>
                    <a:cubicBezTo>
                      <a:pt x="1005" y="979"/>
                      <a:pt x="1005" y="979"/>
                      <a:pt x="1005" y="979"/>
                    </a:cubicBezTo>
                    <a:cubicBezTo>
                      <a:pt x="1006" y="980"/>
                      <a:pt x="1006" y="980"/>
                      <a:pt x="1006" y="980"/>
                    </a:cubicBezTo>
                    <a:cubicBezTo>
                      <a:pt x="1008" y="981"/>
                      <a:pt x="1011" y="982"/>
                      <a:pt x="1013" y="985"/>
                    </a:cubicBezTo>
                    <a:cubicBezTo>
                      <a:pt x="1014" y="985"/>
                      <a:pt x="1014" y="985"/>
                      <a:pt x="1014" y="985"/>
                    </a:cubicBezTo>
                    <a:cubicBezTo>
                      <a:pt x="1020" y="990"/>
                      <a:pt x="1024" y="994"/>
                      <a:pt x="1027" y="999"/>
                    </a:cubicBezTo>
                    <a:cubicBezTo>
                      <a:pt x="1032" y="1009"/>
                      <a:pt x="1034" y="1018"/>
                      <a:pt x="1030" y="10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30200454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083EC31A-BEC3-A24F-A97F-7153ABBB815F}"/>
              </a:ext>
            </a:extLst>
          </p:cNvPr>
          <p:cNvSpPr/>
          <p:nvPr/>
        </p:nvSpPr>
        <p:spPr>
          <a:xfrm>
            <a:off x="5150498" y="316866"/>
            <a:ext cx="6736701" cy="622109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2"/>
              </a:solidFill>
              <a:effectLst/>
              <a:uLnTx/>
              <a:uFillTx/>
              <a:latin typeface="Segoe UI"/>
              <a:ea typeface="+mn-ea"/>
              <a:cs typeface="+mn-cs"/>
            </a:endParaRPr>
          </a:p>
        </p:txBody>
      </p:sp>
      <p:sp>
        <p:nvSpPr>
          <p:cNvPr id="17" name="Title 16"/>
          <p:cNvSpPr>
            <a:spLocks noGrp="1"/>
          </p:cNvSpPr>
          <p:nvPr>
            <p:ph type="title"/>
          </p:nvPr>
        </p:nvSpPr>
        <p:spPr>
          <a:xfrm>
            <a:off x="588263" y="457200"/>
            <a:ext cx="4295022" cy="553998"/>
          </a:xfrm>
        </p:spPr>
        <p:txBody>
          <a:bodyPr/>
          <a:lstStyle/>
          <a:p>
            <a:r>
              <a:rPr lang="en-US" dirty="0"/>
              <a:t>Enhancing the developer experience</a:t>
            </a:r>
          </a:p>
        </p:txBody>
      </p:sp>
      <p:sp>
        <p:nvSpPr>
          <p:cNvPr id="6" name="Text Placeholder 5"/>
          <p:cNvSpPr>
            <a:spLocks noGrp="1"/>
          </p:cNvSpPr>
          <p:nvPr>
            <p:ph type="body" sz="quarter" idx="10"/>
          </p:nvPr>
        </p:nvSpPr>
        <p:spPr>
          <a:xfrm>
            <a:off x="584201" y="2486084"/>
            <a:ext cx="4279630" cy="1923604"/>
          </a:xfrm>
        </p:spPr>
        <p:txBody>
          <a:bodyPr/>
          <a:lstStyle/>
          <a:p>
            <a:pPr marL="0" indent="0">
              <a:spcBef>
                <a:spcPts val="1000"/>
              </a:spcBef>
              <a:buNone/>
            </a:pPr>
            <a:r>
              <a:rPr lang="en-US" sz="2000" dirty="0"/>
              <a:t>SQL Graph enhancements</a:t>
            </a:r>
          </a:p>
          <a:p>
            <a:pPr marL="0" indent="0">
              <a:spcBef>
                <a:spcPts val="1000"/>
              </a:spcBef>
              <a:buNone/>
            </a:pPr>
            <a:r>
              <a:rPr lang="en-US" sz="2000" dirty="0"/>
              <a:t>UTF-8 support</a:t>
            </a:r>
          </a:p>
          <a:p>
            <a:pPr marL="0" indent="0">
              <a:spcBef>
                <a:spcPts val="1000"/>
              </a:spcBef>
              <a:buNone/>
            </a:pPr>
            <a:r>
              <a:rPr lang="en-US" sz="2000" dirty="0"/>
              <a:t>Machine Learning Services enhancements</a:t>
            </a:r>
          </a:p>
          <a:p>
            <a:pPr marL="0" indent="0">
              <a:spcBef>
                <a:spcPts val="1000"/>
              </a:spcBef>
              <a:buNone/>
            </a:pPr>
            <a:r>
              <a:rPr lang="en-US" sz="2000" dirty="0"/>
              <a:t>SQL Server Java extension</a:t>
            </a:r>
          </a:p>
        </p:txBody>
      </p:sp>
      <p:cxnSp>
        <p:nvCxnSpPr>
          <p:cNvPr id="7" name="Connector: Elbow 6">
            <a:extLst>
              <a:ext uri="{FF2B5EF4-FFF2-40B4-BE49-F238E27FC236}">
                <a16:creationId xmlns:a16="http://schemas.microsoft.com/office/drawing/2014/main" id="{588D7C60-10B6-4ECA-A06C-33D6B2C57609}"/>
              </a:ext>
            </a:extLst>
          </p:cNvPr>
          <p:cNvCxnSpPr>
            <a:cxnSpLocks/>
          </p:cNvCxnSpPr>
          <p:nvPr/>
        </p:nvCxnSpPr>
        <p:spPr>
          <a:xfrm rot="10800000">
            <a:off x="6303811" y="3229606"/>
            <a:ext cx="1232978" cy="191149"/>
          </a:xfrm>
          <a:prstGeom prst="bentConnector2">
            <a:avLst/>
          </a:prstGeom>
          <a:ln w="12700">
            <a:solidFill>
              <a:srgbClr val="0078D7"/>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5E5DE9E0-4A09-465D-97A0-1BE2CAA3AFBD}"/>
              </a:ext>
            </a:extLst>
          </p:cNvPr>
          <p:cNvSpPr txBox="1"/>
          <p:nvPr/>
        </p:nvSpPr>
        <p:spPr>
          <a:xfrm>
            <a:off x="6458561" y="3499595"/>
            <a:ext cx="821549" cy="153888"/>
          </a:xfrm>
          <a:prstGeom prst="rect">
            <a:avLst/>
          </a:prstGeom>
          <a:noFill/>
        </p:spPr>
        <p:txBody>
          <a:bodyPr wrap="square" lIns="0" tIns="0" rIns="0" bIns="0" rtlCol="0">
            <a:spAutoFit/>
          </a:bodyPr>
          <a:lstStyle/>
          <a:p>
            <a:pPr algn="ctr"/>
            <a:r>
              <a:rPr lang="en-US" sz="1000" dirty="0">
                <a:gradFill>
                  <a:gsLst>
                    <a:gs pos="2917">
                      <a:schemeClr val="tx1"/>
                    </a:gs>
                    <a:gs pos="30000">
                      <a:schemeClr val="tx1"/>
                    </a:gs>
                  </a:gsLst>
                  <a:lin ang="5400000" scaled="0"/>
                </a:gradFill>
                <a:latin typeface="+mj-lt"/>
              </a:rPr>
              <a:t>T-SQL</a:t>
            </a:r>
          </a:p>
        </p:txBody>
      </p:sp>
      <p:sp>
        <p:nvSpPr>
          <p:cNvPr id="18" name="TextBox 17">
            <a:extLst>
              <a:ext uri="{FF2B5EF4-FFF2-40B4-BE49-F238E27FC236}">
                <a16:creationId xmlns:a16="http://schemas.microsoft.com/office/drawing/2014/main" id="{22237CE7-3C58-4C12-B01D-9333E6F6B996}"/>
              </a:ext>
            </a:extLst>
          </p:cNvPr>
          <p:cNvSpPr txBox="1"/>
          <p:nvPr/>
        </p:nvSpPr>
        <p:spPr>
          <a:xfrm>
            <a:off x="8811773" y="3474048"/>
            <a:ext cx="1120617" cy="461665"/>
          </a:xfrm>
          <a:prstGeom prst="rect">
            <a:avLst/>
          </a:prstGeom>
          <a:noFill/>
        </p:spPr>
        <p:txBody>
          <a:bodyPr wrap="square" lIns="0" tIns="0" rIns="0" bIns="0" rtlCol="0">
            <a:spAutoFit/>
          </a:bodyPr>
          <a:lstStyle/>
          <a:p>
            <a:pPr algn="ctr"/>
            <a:r>
              <a:rPr lang="en-US" sz="1000" dirty="0">
                <a:gradFill>
                  <a:gsLst>
                    <a:gs pos="2917">
                      <a:schemeClr val="tx1"/>
                    </a:gs>
                    <a:gs pos="30000">
                      <a:schemeClr val="tx1"/>
                    </a:gs>
                  </a:gsLst>
                  <a:lin ang="5400000" scaled="0"/>
                </a:gradFill>
                <a:latin typeface="+mj-lt"/>
              </a:rPr>
              <a:t>Direct communications for performance</a:t>
            </a:r>
          </a:p>
        </p:txBody>
      </p:sp>
      <p:sp>
        <p:nvSpPr>
          <p:cNvPr id="19" name="TextBox 18">
            <a:extLst>
              <a:ext uri="{FF2B5EF4-FFF2-40B4-BE49-F238E27FC236}">
                <a16:creationId xmlns:a16="http://schemas.microsoft.com/office/drawing/2014/main" id="{FC79762F-057A-4E66-85E0-B7B8A5FAFD02}"/>
              </a:ext>
            </a:extLst>
          </p:cNvPr>
          <p:cNvSpPr txBox="1"/>
          <p:nvPr/>
        </p:nvSpPr>
        <p:spPr>
          <a:xfrm>
            <a:off x="10069156" y="1871993"/>
            <a:ext cx="1260883" cy="153888"/>
          </a:xfrm>
          <a:prstGeom prst="rect">
            <a:avLst/>
          </a:prstGeom>
          <a:noFill/>
        </p:spPr>
        <p:txBody>
          <a:bodyPr wrap="square" lIns="0" tIns="0" rIns="0" bIns="0" rtlCol="0">
            <a:spAutoFit/>
          </a:bodyPr>
          <a:lstStyle/>
          <a:p>
            <a:pPr algn="ctr"/>
            <a:r>
              <a:rPr lang="en-US" sz="1000" dirty="0">
                <a:gradFill>
                  <a:gsLst>
                    <a:gs pos="2917">
                      <a:schemeClr val="tx1"/>
                    </a:gs>
                    <a:gs pos="30000">
                      <a:schemeClr val="tx1"/>
                    </a:gs>
                  </a:gsLst>
                  <a:lin ang="5400000" scaled="0"/>
                </a:gradFill>
                <a:latin typeface="+mj-lt"/>
              </a:rPr>
              <a:t>Satellite</a:t>
            </a:r>
          </a:p>
        </p:txBody>
      </p:sp>
      <p:cxnSp>
        <p:nvCxnSpPr>
          <p:cNvPr id="21" name="Connector: Elbow 20">
            <a:extLst>
              <a:ext uri="{FF2B5EF4-FFF2-40B4-BE49-F238E27FC236}">
                <a16:creationId xmlns:a16="http://schemas.microsoft.com/office/drawing/2014/main" id="{D75625B4-8397-4336-A3B6-B7EB8627D6DF}"/>
              </a:ext>
            </a:extLst>
          </p:cNvPr>
          <p:cNvCxnSpPr>
            <a:cxnSpLocks/>
          </p:cNvCxnSpPr>
          <p:nvPr/>
        </p:nvCxnSpPr>
        <p:spPr>
          <a:xfrm rot="10800000">
            <a:off x="8097098" y="4135942"/>
            <a:ext cx="560308" cy="866578"/>
          </a:xfrm>
          <a:prstGeom prst="bentConnector2">
            <a:avLst/>
          </a:prstGeom>
          <a:ln w="12700">
            <a:solidFill>
              <a:srgbClr val="0078D7"/>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0570D4CC-4359-4202-B734-D47DAF50D064}"/>
              </a:ext>
            </a:extLst>
          </p:cNvPr>
          <p:cNvCxnSpPr>
            <a:cxnSpLocks/>
            <a:endCxn id="9" idx="2"/>
          </p:cNvCxnSpPr>
          <p:nvPr/>
        </p:nvCxnSpPr>
        <p:spPr>
          <a:xfrm flipV="1">
            <a:off x="9381801" y="4670327"/>
            <a:ext cx="1345125" cy="341111"/>
          </a:xfrm>
          <a:prstGeom prst="bentConnector2">
            <a:avLst/>
          </a:prstGeom>
          <a:ln w="12700">
            <a:solidFill>
              <a:srgbClr val="0078D7"/>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F0D3B179-7CDA-404D-9BAD-FA4864924865}"/>
              </a:ext>
            </a:extLst>
          </p:cNvPr>
          <p:cNvSpPr/>
          <p:nvPr/>
        </p:nvSpPr>
        <p:spPr bwMode="auto">
          <a:xfrm>
            <a:off x="6674376" y="713650"/>
            <a:ext cx="3523041" cy="215444"/>
          </a:xfrm>
          <a:prstGeom prst="rect">
            <a:avLst/>
          </a:prstGeom>
          <a:noFill/>
          <a:ln w="3810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4363">
              <a:defRPr/>
            </a:pPr>
            <a:r>
              <a:rPr lang="en-US" sz="1400" b="1" kern="0" dirty="0">
                <a:ln>
                  <a:solidFill>
                    <a:srgbClr val="FFFFFF">
                      <a:alpha val="0"/>
                    </a:srgbClr>
                  </a:solidFill>
                </a:ln>
                <a:solidFill>
                  <a:srgbClr val="0078D7"/>
                </a:solidFill>
                <a:latin typeface="Segoe UI Semibold" charset="0"/>
                <a:ea typeface="Segoe UI Semibold" charset="0"/>
                <a:cs typeface="Segoe UI Semibold" charset="0"/>
              </a:rPr>
              <a:t>Extend T-SQL with R, Python, and Java</a:t>
            </a:r>
          </a:p>
        </p:txBody>
      </p:sp>
      <p:sp>
        <p:nvSpPr>
          <p:cNvPr id="27" name="Freeform: Shape 829">
            <a:extLst>
              <a:ext uri="{FF2B5EF4-FFF2-40B4-BE49-F238E27FC236}">
                <a16:creationId xmlns:a16="http://schemas.microsoft.com/office/drawing/2014/main" id="{746D3B5F-1D00-9342-852F-51EB217A59D6}"/>
              </a:ext>
            </a:extLst>
          </p:cNvPr>
          <p:cNvSpPr/>
          <p:nvPr/>
        </p:nvSpPr>
        <p:spPr bwMode="auto">
          <a:xfrm>
            <a:off x="7686854" y="2789318"/>
            <a:ext cx="782406" cy="1008684"/>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solidFill>
            <a:srgbClr val="2F78D0"/>
          </a:solidFill>
          <a:ln w="12700">
            <a:solidFill>
              <a:srgbClr val="02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a:p>
            <a:pPr lvl="0" algn="ctr" defTabSz="932472" fontAlgn="base">
              <a:spcBef>
                <a:spcPct val="0"/>
              </a:spcBef>
              <a:spcAft>
                <a:spcPct val="0"/>
              </a:spcAft>
            </a:pPr>
            <a:r>
              <a:rPr lang="en-US" sz="1000" b="1" dirty="0">
                <a:solidFill>
                  <a:srgbClr val="50E6FF"/>
                </a:solidFill>
              </a:rPr>
              <a:t>SQL Server</a:t>
            </a:r>
          </a:p>
        </p:txBody>
      </p:sp>
      <p:grpSp>
        <p:nvGrpSpPr>
          <p:cNvPr id="24" name="Group 23">
            <a:extLst>
              <a:ext uri="{FF2B5EF4-FFF2-40B4-BE49-F238E27FC236}">
                <a16:creationId xmlns:a16="http://schemas.microsoft.com/office/drawing/2014/main" id="{06D11017-CDE4-D141-A482-C9FFB6AA82F8}"/>
              </a:ext>
            </a:extLst>
          </p:cNvPr>
          <p:cNvGrpSpPr/>
          <p:nvPr/>
        </p:nvGrpSpPr>
        <p:grpSpPr>
          <a:xfrm>
            <a:off x="5942460" y="2496065"/>
            <a:ext cx="650980" cy="630708"/>
            <a:chOff x="7157554" y="1735934"/>
            <a:chExt cx="397423" cy="398542"/>
          </a:xfrm>
        </p:grpSpPr>
        <p:grpSp>
          <p:nvGrpSpPr>
            <p:cNvPr id="25" name="Group 24">
              <a:extLst>
                <a:ext uri="{FF2B5EF4-FFF2-40B4-BE49-F238E27FC236}">
                  <a16:creationId xmlns:a16="http://schemas.microsoft.com/office/drawing/2014/main" id="{86249C5D-21F1-404A-B435-C2BFD6EFBC3B}"/>
                </a:ext>
              </a:extLst>
            </p:cNvPr>
            <p:cNvGrpSpPr/>
            <p:nvPr/>
          </p:nvGrpSpPr>
          <p:grpSpPr>
            <a:xfrm>
              <a:off x="7157554" y="1735934"/>
              <a:ext cx="397423" cy="398542"/>
              <a:chOff x="2107244" y="1575258"/>
              <a:chExt cx="310993" cy="264555"/>
            </a:xfrm>
            <a:solidFill>
              <a:srgbClr val="0078D7"/>
            </a:solidFill>
          </p:grpSpPr>
          <p:sp>
            <p:nvSpPr>
              <p:cNvPr id="32" name="Rectangle 9">
                <a:extLst>
                  <a:ext uri="{FF2B5EF4-FFF2-40B4-BE49-F238E27FC236}">
                    <a16:creationId xmlns:a16="http://schemas.microsoft.com/office/drawing/2014/main" id="{0FB9C916-E911-3540-BB67-FCD6F7944462}"/>
                  </a:ext>
                </a:extLst>
              </p:cNvPr>
              <p:cNvSpPr>
                <a:spLocks noChangeArrowheads="1"/>
              </p:cNvSpPr>
              <p:nvPr/>
            </p:nvSpPr>
            <p:spPr bwMode="auto">
              <a:xfrm>
                <a:off x="2107244" y="1575258"/>
                <a:ext cx="310993" cy="264555"/>
              </a:xfrm>
              <a:prstGeom prst="rect">
                <a:avLst/>
              </a:prstGeom>
              <a:grp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sp>
            <p:nvSpPr>
              <p:cNvPr id="33" name="Line 10">
                <a:extLst>
                  <a:ext uri="{FF2B5EF4-FFF2-40B4-BE49-F238E27FC236}">
                    <a16:creationId xmlns:a16="http://schemas.microsoft.com/office/drawing/2014/main" id="{65F8A54F-11C1-FC42-A665-3113ED3CC25E}"/>
                  </a:ext>
                </a:extLst>
              </p:cNvPr>
              <p:cNvSpPr>
                <a:spLocks noChangeShapeType="1"/>
              </p:cNvSpPr>
              <p:nvPr/>
            </p:nvSpPr>
            <p:spPr bwMode="auto">
              <a:xfrm flipH="1">
                <a:off x="2107244" y="1647026"/>
                <a:ext cx="310993" cy="0"/>
              </a:xfrm>
              <a:prstGeom prst="line">
                <a:avLst/>
              </a:prstGeom>
              <a:grpFill/>
              <a:ln w="1905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grpSp>
        <p:grpSp>
          <p:nvGrpSpPr>
            <p:cNvPr id="28" name="Group 27">
              <a:extLst>
                <a:ext uri="{FF2B5EF4-FFF2-40B4-BE49-F238E27FC236}">
                  <a16:creationId xmlns:a16="http://schemas.microsoft.com/office/drawing/2014/main" id="{5F7ACF43-4BCA-8C40-8EBD-932BDEC723FF}"/>
                </a:ext>
              </a:extLst>
            </p:cNvPr>
            <p:cNvGrpSpPr/>
            <p:nvPr/>
          </p:nvGrpSpPr>
          <p:grpSpPr>
            <a:xfrm>
              <a:off x="7264761" y="1903738"/>
              <a:ext cx="191394" cy="180132"/>
              <a:chOff x="2202934" y="1701907"/>
              <a:chExt cx="95690" cy="90061"/>
            </a:xfrm>
            <a:solidFill>
              <a:srgbClr val="50E6FF"/>
            </a:solidFill>
          </p:grpSpPr>
          <p:sp>
            <p:nvSpPr>
              <p:cNvPr id="30" name="Freeform 14">
                <a:extLst>
                  <a:ext uri="{FF2B5EF4-FFF2-40B4-BE49-F238E27FC236}">
                    <a16:creationId xmlns:a16="http://schemas.microsoft.com/office/drawing/2014/main" id="{72E93978-3D6C-D540-9470-AB9367A9BE7F}"/>
                  </a:ext>
                </a:extLst>
              </p:cNvPr>
              <p:cNvSpPr>
                <a:spLocks/>
              </p:cNvSpPr>
              <p:nvPr/>
            </p:nvSpPr>
            <p:spPr bwMode="auto">
              <a:xfrm>
                <a:off x="2202934"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grpFill/>
              <a:ln w="12700" cap="flat">
                <a:solidFill>
                  <a:srgbClr val="0078D7"/>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31" name="Line 15">
                <a:extLst>
                  <a:ext uri="{FF2B5EF4-FFF2-40B4-BE49-F238E27FC236}">
                    <a16:creationId xmlns:a16="http://schemas.microsoft.com/office/drawing/2014/main" id="{73BF02FE-8052-1745-B9B5-7859D3C786CD}"/>
                  </a:ext>
                </a:extLst>
              </p:cNvPr>
              <p:cNvSpPr>
                <a:spLocks noChangeShapeType="1"/>
              </p:cNvSpPr>
              <p:nvPr/>
            </p:nvSpPr>
            <p:spPr bwMode="auto">
              <a:xfrm>
                <a:off x="2253117" y="1755381"/>
                <a:ext cx="0" cy="36587"/>
              </a:xfrm>
              <a:prstGeom prst="line">
                <a:avLst/>
              </a:prstGeom>
              <a:grpFill/>
              <a:ln w="12700" cap="flat">
                <a:solidFill>
                  <a:srgbClr val="0078D7"/>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sp>
          <p:nvSpPr>
            <p:cNvPr id="29" name="Oval 28">
              <a:extLst>
                <a:ext uri="{FF2B5EF4-FFF2-40B4-BE49-F238E27FC236}">
                  <a16:creationId xmlns:a16="http://schemas.microsoft.com/office/drawing/2014/main" id="{FC900D63-64E8-C04A-A24F-7FB6786D0FB0}"/>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cxnSp>
        <p:nvCxnSpPr>
          <p:cNvPr id="3" name="Straight Connector 2">
            <a:extLst>
              <a:ext uri="{FF2B5EF4-FFF2-40B4-BE49-F238E27FC236}">
                <a16:creationId xmlns:a16="http://schemas.microsoft.com/office/drawing/2014/main" id="{96BCE4A6-4430-1E43-95B2-8C6F3C6A5C31}"/>
              </a:ext>
            </a:extLst>
          </p:cNvPr>
          <p:cNvCxnSpPr/>
          <p:nvPr/>
        </p:nvCxnSpPr>
        <p:spPr>
          <a:xfrm>
            <a:off x="8657406" y="3420166"/>
            <a:ext cx="1372090" cy="0"/>
          </a:xfrm>
          <a:prstGeom prst="line">
            <a:avLst/>
          </a:prstGeom>
          <a:ln w="12700">
            <a:solidFill>
              <a:srgbClr val="0078D7"/>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F634C26D-E87C-7F40-BAF7-6BE7332C373D}"/>
              </a:ext>
            </a:extLst>
          </p:cNvPr>
          <p:cNvGrpSpPr/>
          <p:nvPr/>
        </p:nvGrpSpPr>
        <p:grpSpPr>
          <a:xfrm>
            <a:off x="8734730" y="4670327"/>
            <a:ext cx="608721" cy="615212"/>
            <a:chOff x="7632206" y="4181475"/>
            <a:chExt cx="1932899" cy="1953509"/>
          </a:xfrm>
        </p:grpSpPr>
        <p:sp>
          <p:nvSpPr>
            <p:cNvPr id="35" name="Rectangle 34">
              <a:extLst>
                <a:ext uri="{FF2B5EF4-FFF2-40B4-BE49-F238E27FC236}">
                  <a16:creationId xmlns:a16="http://schemas.microsoft.com/office/drawing/2014/main" id="{C70F2D69-9870-4F45-8AC6-7CD4C608F641}"/>
                </a:ext>
              </a:extLst>
            </p:cNvPr>
            <p:cNvSpPr/>
            <p:nvPr/>
          </p:nvSpPr>
          <p:spPr bwMode="auto">
            <a:xfrm>
              <a:off x="7632206" y="5983357"/>
              <a:ext cx="1932899" cy="151627"/>
            </a:xfrm>
            <a:prstGeom prst="rect">
              <a:avLst/>
            </a:prstGeom>
            <a:solidFill>
              <a:srgbClr val="0078D7"/>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36" name="Triangle 35">
              <a:extLst>
                <a:ext uri="{FF2B5EF4-FFF2-40B4-BE49-F238E27FC236}">
                  <a16:creationId xmlns:a16="http://schemas.microsoft.com/office/drawing/2014/main" id="{D4709E32-4734-D143-9532-F8AB45AAE431}"/>
                </a:ext>
              </a:extLst>
            </p:cNvPr>
            <p:cNvSpPr/>
            <p:nvPr/>
          </p:nvSpPr>
          <p:spPr bwMode="auto">
            <a:xfrm>
              <a:off x="7752522" y="5217903"/>
              <a:ext cx="1024089" cy="765454"/>
            </a:xfrm>
            <a:prstGeom prst="triangle">
              <a:avLst>
                <a:gd name="adj" fmla="val 49234"/>
              </a:avLst>
            </a:prstGeom>
            <a:solidFill>
              <a:srgbClr val="50E6FF"/>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37" name="Triangle 36">
              <a:extLst>
                <a:ext uri="{FF2B5EF4-FFF2-40B4-BE49-F238E27FC236}">
                  <a16:creationId xmlns:a16="http://schemas.microsoft.com/office/drawing/2014/main" id="{5D7A721C-2F86-0F4A-98F1-8BB6C3233276}"/>
                </a:ext>
              </a:extLst>
            </p:cNvPr>
            <p:cNvSpPr/>
            <p:nvPr/>
          </p:nvSpPr>
          <p:spPr bwMode="auto">
            <a:xfrm>
              <a:off x="7990551" y="4181476"/>
              <a:ext cx="548031" cy="609186"/>
            </a:xfrm>
            <a:prstGeom prst="triangle">
              <a:avLst>
                <a:gd name="adj" fmla="val 49234"/>
              </a:avLst>
            </a:prstGeom>
            <a:solidFill>
              <a:srgbClr val="0078D7"/>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38" name="Rectangle 37">
              <a:extLst>
                <a:ext uri="{FF2B5EF4-FFF2-40B4-BE49-F238E27FC236}">
                  <a16:creationId xmlns:a16="http://schemas.microsoft.com/office/drawing/2014/main" id="{1F5A370A-0683-C343-B26C-DE61FF613399}"/>
                </a:ext>
              </a:extLst>
            </p:cNvPr>
            <p:cNvSpPr/>
            <p:nvPr/>
          </p:nvSpPr>
          <p:spPr bwMode="auto">
            <a:xfrm>
              <a:off x="7990551" y="4790662"/>
              <a:ext cx="548031" cy="1192695"/>
            </a:xfrm>
            <a:prstGeom prst="rect">
              <a:avLst/>
            </a:prstGeom>
            <a:solidFill>
              <a:srgbClr val="0078D7"/>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39" name="Oval 38">
              <a:extLst>
                <a:ext uri="{FF2B5EF4-FFF2-40B4-BE49-F238E27FC236}">
                  <a16:creationId xmlns:a16="http://schemas.microsoft.com/office/drawing/2014/main" id="{CC9E2120-5A00-A049-8650-3BF2F6F8AD65}"/>
                </a:ext>
              </a:extLst>
            </p:cNvPr>
            <p:cNvSpPr/>
            <p:nvPr/>
          </p:nvSpPr>
          <p:spPr bwMode="auto">
            <a:xfrm>
              <a:off x="8195814" y="4928771"/>
              <a:ext cx="137504" cy="137504"/>
            </a:xfrm>
            <a:prstGeom prst="ellipse">
              <a:avLst/>
            </a:prstGeom>
            <a:solidFill>
              <a:srgbClr val="50E6FF"/>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40" name="Oval 39">
              <a:extLst>
                <a:ext uri="{FF2B5EF4-FFF2-40B4-BE49-F238E27FC236}">
                  <a16:creationId xmlns:a16="http://schemas.microsoft.com/office/drawing/2014/main" id="{38801540-DC47-AA4B-B979-BAA1AACAD839}"/>
                </a:ext>
              </a:extLst>
            </p:cNvPr>
            <p:cNvSpPr/>
            <p:nvPr/>
          </p:nvSpPr>
          <p:spPr bwMode="auto">
            <a:xfrm>
              <a:off x="8206905" y="5149151"/>
              <a:ext cx="137504" cy="137504"/>
            </a:xfrm>
            <a:prstGeom prst="ellipse">
              <a:avLst/>
            </a:prstGeom>
            <a:solidFill>
              <a:srgbClr val="50E6FF"/>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41" name="Rectangle 40">
              <a:extLst>
                <a:ext uri="{FF2B5EF4-FFF2-40B4-BE49-F238E27FC236}">
                  <a16:creationId xmlns:a16="http://schemas.microsoft.com/office/drawing/2014/main" id="{0671AC8A-4D54-EC4E-85D3-8706AFA7E8BD}"/>
                </a:ext>
              </a:extLst>
            </p:cNvPr>
            <p:cNvSpPr/>
            <p:nvPr/>
          </p:nvSpPr>
          <p:spPr bwMode="auto">
            <a:xfrm>
              <a:off x="8249516" y="5600630"/>
              <a:ext cx="45719" cy="382727"/>
            </a:xfrm>
            <a:prstGeom prst="rect">
              <a:avLst/>
            </a:prstGeom>
            <a:solidFill>
              <a:srgbClr val="50E6FF"/>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42" name="Rectangle 41">
              <a:extLst>
                <a:ext uri="{FF2B5EF4-FFF2-40B4-BE49-F238E27FC236}">
                  <a16:creationId xmlns:a16="http://schemas.microsoft.com/office/drawing/2014/main" id="{A6A54105-E279-044E-864B-F8EA2E89BC41}"/>
                </a:ext>
              </a:extLst>
            </p:cNvPr>
            <p:cNvSpPr/>
            <p:nvPr/>
          </p:nvSpPr>
          <p:spPr bwMode="auto">
            <a:xfrm>
              <a:off x="8975558" y="4181475"/>
              <a:ext cx="360947" cy="1801881"/>
            </a:xfrm>
            <a:prstGeom prst="rect">
              <a:avLst/>
            </a:prstGeom>
            <a:solidFill>
              <a:srgbClr val="0078D7"/>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43" name="Rectangle 42">
              <a:extLst>
                <a:ext uri="{FF2B5EF4-FFF2-40B4-BE49-F238E27FC236}">
                  <a16:creationId xmlns:a16="http://schemas.microsoft.com/office/drawing/2014/main" id="{EF56AC7E-41DC-B14B-9F25-D978083179A2}"/>
                </a:ext>
              </a:extLst>
            </p:cNvPr>
            <p:cNvSpPr/>
            <p:nvPr/>
          </p:nvSpPr>
          <p:spPr bwMode="auto">
            <a:xfrm>
              <a:off x="8538581" y="4873539"/>
              <a:ext cx="436977" cy="55232"/>
            </a:xfrm>
            <a:prstGeom prst="rect">
              <a:avLst/>
            </a:prstGeom>
            <a:solidFill>
              <a:srgbClr val="0078D7"/>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sp>
        <p:nvSpPr>
          <p:cNvPr id="45" name="TextBox 44">
            <a:extLst>
              <a:ext uri="{FF2B5EF4-FFF2-40B4-BE49-F238E27FC236}">
                <a16:creationId xmlns:a16="http://schemas.microsoft.com/office/drawing/2014/main" id="{EE4FF7DD-8A8A-CA4C-A4D2-5FA9E3BCB96E}"/>
              </a:ext>
            </a:extLst>
          </p:cNvPr>
          <p:cNvSpPr txBox="1"/>
          <p:nvPr/>
        </p:nvSpPr>
        <p:spPr>
          <a:xfrm>
            <a:off x="8487309" y="5347093"/>
            <a:ext cx="1120617" cy="153888"/>
          </a:xfrm>
          <a:prstGeom prst="rect">
            <a:avLst/>
          </a:prstGeom>
          <a:noFill/>
        </p:spPr>
        <p:txBody>
          <a:bodyPr wrap="square" lIns="0" tIns="0" rIns="0" bIns="0" rtlCol="0">
            <a:spAutoFit/>
          </a:bodyPr>
          <a:lstStyle/>
          <a:p>
            <a:pPr algn="ctr"/>
            <a:r>
              <a:rPr lang="en-US" sz="1000" dirty="0">
                <a:gradFill>
                  <a:gsLst>
                    <a:gs pos="2917">
                      <a:schemeClr val="tx1"/>
                    </a:gs>
                    <a:gs pos="30000">
                      <a:schemeClr val="tx1"/>
                    </a:gs>
                  </a:gsLst>
                  <a:lin ang="5400000" scaled="0"/>
                </a:gradFill>
                <a:latin typeface="+mj-lt"/>
              </a:rPr>
              <a:t>Launch pad</a:t>
            </a:r>
          </a:p>
        </p:txBody>
      </p:sp>
      <p:sp>
        <p:nvSpPr>
          <p:cNvPr id="2" name="Rectangle 1">
            <a:extLst>
              <a:ext uri="{FF2B5EF4-FFF2-40B4-BE49-F238E27FC236}">
                <a16:creationId xmlns:a16="http://schemas.microsoft.com/office/drawing/2014/main" id="{7E463AB3-8DC6-45D1-BCC9-F7DE90E8743D}"/>
              </a:ext>
            </a:extLst>
          </p:cNvPr>
          <p:cNvSpPr/>
          <p:nvPr/>
        </p:nvSpPr>
        <p:spPr bwMode="auto">
          <a:xfrm>
            <a:off x="7429463" y="1572461"/>
            <a:ext cx="4071010" cy="4073427"/>
          </a:xfrm>
          <a:prstGeom prst="rect">
            <a:avLst/>
          </a:prstGeom>
          <a:noFill/>
          <a:ln>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grpSp>
        <p:nvGrpSpPr>
          <p:cNvPr id="20" name="Group 19">
            <a:extLst>
              <a:ext uri="{FF2B5EF4-FFF2-40B4-BE49-F238E27FC236}">
                <a16:creationId xmlns:a16="http://schemas.microsoft.com/office/drawing/2014/main" id="{5E9C4124-A8B3-49E5-A23B-6560414880A4}"/>
              </a:ext>
            </a:extLst>
          </p:cNvPr>
          <p:cNvGrpSpPr/>
          <p:nvPr/>
        </p:nvGrpSpPr>
        <p:grpSpPr>
          <a:xfrm>
            <a:off x="10177356" y="2171181"/>
            <a:ext cx="1099140" cy="2499146"/>
            <a:chOff x="10177356" y="2171181"/>
            <a:chExt cx="1099140" cy="2499146"/>
          </a:xfrm>
        </p:grpSpPr>
        <p:sp>
          <p:nvSpPr>
            <p:cNvPr id="9" name="Rectangle 8">
              <a:extLst>
                <a:ext uri="{FF2B5EF4-FFF2-40B4-BE49-F238E27FC236}">
                  <a16:creationId xmlns:a16="http://schemas.microsoft.com/office/drawing/2014/main" id="{90A20F47-51B7-47F1-AB39-1EB2DE33F721}"/>
                </a:ext>
              </a:extLst>
            </p:cNvPr>
            <p:cNvSpPr/>
            <p:nvPr/>
          </p:nvSpPr>
          <p:spPr bwMode="auto">
            <a:xfrm>
              <a:off x="10177356" y="2171181"/>
              <a:ext cx="1099140" cy="2499146"/>
            </a:xfrm>
            <a:prstGeom prst="rect">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10" name="TextBox 9">
              <a:extLst>
                <a:ext uri="{FF2B5EF4-FFF2-40B4-BE49-F238E27FC236}">
                  <a16:creationId xmlns:a16="http://schemas.microsoft.com/office/drawing/2014/main" id="{EBD14818-7AD6-4059-AC5A-E2E826820862}"/>
                </a:ext>
              </a:extLst>
            </p:cNvPr>
            <p:cNvSpPr txBox="1"/>
            <p:nvPr/>
          </p:nvSpPr>
          <p:spPr>
            <a:xfrm>
              <a:off x="10381667" y="2171181"/>
              <a:ext cx="625346" cy="615553"/>
            </a:xfrm>
            <a:prstGeom prst="rect">
              <a:avLst/>
            </a:prstGeom>
            <a:noFill/>
          </p:spPr>
          <p:txBody>
            <a:bodyPr wrap="square" lIns="0" tIns="0" rIns="0" bIns="0" rtlCol="0">
              <a:spAutoFit/>
            </a:bodyPr>
            <a:lstStyle/>
            <a:p>
              <a:pPr marL="0" marR="0" lvl="0" indent="0" algn="ctr" defTabSz="1218935" rtl="0" eaLnBrk="1" fontAlgn="auto" latinLnBrk="0" hangingPunct="1">
                <a:lnSpc>
                  <a:spcPct val="100000"/>
                </a:lnSpc>
                <a:spcBef>
                  <a:spcPts val="0"/>
                </a:spcBef>
                <a:spcAft>
                  <a:spcPts val="0"/>
                </a:spcAft>
                <a:buClrTx/>
                <a:buSzTx/>
                <a:buFontTx/>
                <a:buNone/>
                <a:tabLst/>
                <a:defRPr/>
              </a:pPr>
              <a:r>
                <a:rPr kumimoji="0" lang="en-US" sz="40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R</a:t>
              </a:r>
            </a:p>
          </p:txBody>
        </p:sp>
        <p:grpSp>
          <p:nvGrpSpPr>
            <p:cNvPr id="11" name="Group 10">
              <a:extLst>
                <a:ext uri="{FF2B5EF4-FFF2-40B4-BE49-F238E27FC236}">
                  <a16:creationId xmlns:a16="http://schemas.microsoft.com/office/drawing/2014/main" id="{321B6EDF-43A1-4C24-AF45-DCD9307D9B15}"/>
                </a:ext>
              </a:extLst>
            </p:cNvPr>
            <p:cNvGrpSpPr>
              <a:grpSpLocks noChangeAspect="1"/>
            </p:cNvGrpSpPr>
            <p:nvPr/>
          </p:nvGrpSpPr>
          <p:grpSpPr bwMode="auto">
            <a:xfrm>
              <a:off x="10529493" y="3021911"/>
              <a:ext cx="418209" cy="420053"/>
              <a:chOff x="522" y="2880"/>
              <a:chExt cx="908" cy="912"/>
            </a:xfrm>
            <a:solidFill>
              <a:schemeClr val="accent1"/>
            </a:solidFill>
          </p:grpSpPr>
          <p:sp>
            <p:nvSpPr>
              <p:cNvPr id="13" name="Freeform 5">
                <a:extLst>
                  <a:ext uri="{FF2B5EF4-FFF2-40B4-BE49-F238E27FC236}">
                    <a16:creationId xmlns:a16="http://schemas.microsoft.com/office/drawing/2014/main" id="{07E33A7A-913D-4CCA-9CA6-4904B96A6A07}"/>
                  </a:ext>
                </a:extLst>
              </p:cNvPr>
              <p:cNvSpPr>
                <a:spLocks noEditPoints="1"/>
              </p:cNvSpPr>
              <p:nvPr/>
            </p:nvSpPr>
            <p:spPr bwMode="auto">
              <a:xfrm>
                <a:off x="522" y="2880"/>
                <a:ext cx="668" cy="669"/>
              </a:xfrm>
              <a:custGeom>
                <a:avLst/>
                <a:gdLst>
                  <a:gd name="T0" fmla="*/ 223 w 332"/>
                  <a:gd name="T1" fmla="*/ 0 h 332"/>
                  <a:gd name="T2" fmla="*/ 172 w 332"/>
                  <a:gd name="T3" fmla="*/ 4 h 332"/>
                  <a:gd name="T4" fmla="*/ 118 w 332"/>
                  <a:gd name="T5" fmla="*/ 60 h 332"/>
                  <a:gd name="T6" fmla="*/ 118 w 332"/>
                  <a:gd name="T7" fmla="*/ 101 h 332"/>
                  <a:gd name="T8" fmla="*/ 225 w 332"/>
                  <a:gd name="T9" fmla="*/ 101 h 332"/>
                  <a:gd name="T10" fmla="*/ 225 w 332"/>
                  <a:gd name="T11" fmla="*/ 114 h 332"/>
                  <a:gd name="T12" fmla="*/ 118 w 332"/>
                  <a:gd name="T13" fmla="*/ 114 h 332"/>
                  <a:gd name="T14" fmla="*/ 78 w 332"/>
                  <a:gd name="T15" fmla="*/ 114 h 332"/>
                  <a:gd name="T16" fmla="*/ 11 w 332"/>
                  <a:gd name="T17" fmla="*/ 169 h 332"/>
                  <a:gd name="T18" fmla="*/ 11 w 332"/>
                  <a:gd name="T19" fmla="*/ 278 h 332"/>
                  <a:gd name="T20" fmla="*/ 68 w 332"/>
                  <a:gd name="T21" fmla="*/ 332 h 332"/>
                  <a:gd name="T22" fmla="*/ 105 w 332"/>
                  <a:gd name="T23" fmla="*/ 332 h 332"/>
                  <a:gd name="T24" fmla="*/ 105 w 332"/>
                  <a:gd name="T25" fmla="*/ 283 h 332"/>
                  <a:gd name="T26" fmla="*/ 172 w 332"/>
                  <a:gd name="T27" fmla="*/ 216 h 332"/>
                  <a:gd name="T28" fmla="*/ 279 w 332"/>
                  <a:gd name="T29" fmla="*/ 216 h 332"/>
                  <a:gd name="T30" fmla="*/ 332 w 332"/>
                  <a:gd name="T31" fmla="*/ 162 h 332"/>
                  <a:gd name="T32" fmla="*/ 332 w 332"/>
                  <a:gd name="T33" fmla="*/ 60 h 332"/>
                  <a:gd name="T34" fmla="*/ 279 w 332"/>
                  <a:gd name="T35" fmla="*/ 4 h 332"/>
                  <a:gd name="T36" fmla="*/ 223 w 332"/>
                  <a:gd name="T37" fmla="*/ 0 h 332"/>
                  <a:gd name="T38" fmla="*/ 165 w 332"/>
                  <a:gd name="T39" fmla="*/ 33 h 332"/>
                  <a:gd name="T40" fmla="*/ 185 w 332"/>
                  <a:gd name="T41" fmla="*/ 53 h 332"/>
                  <a:gd name="T42" fmla="*/ 165 w 332"/>
                  <a:gd name="T43" fmla="*/ 73 h 332"/>
                  <a:gd name="T44" fmla="*/ 145 w 332"/>
                  <a:gd name="T45" fmla="*/ 53 h 332"/>
                  <a:gd name="T46" fmla="*/ 165 w 332"/>
                  <a:gd name="T47" fmla="*/ 33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2" h="332">
                    <a:moveTo>
                      <a:pt x="223" y="0"/>
                    </a:moveTo>
                    <a:cubicBezTo>
                      <a:pt x="205" y="0"/>
                      <a:pt x="187" y="1"/>
                      <a:pt x="172" y="4"/>
                    </a:cubicBezTo>
                    <a:cubicBezTo>
                      <a:pt x="126" y="12"/>
                      <a:pt x="118" y="29"/>
                      <a:pt x="118" y="60"/>
                    </a:cubicBezTo>
                    <a:cubicBezTo>
                      <a:pt x="118" y="101"/>
                      <a:pt x="118" y="101"/>
                      <a:pt x="118" y="101"/>
                    </a:cubicBezTo>
                    <a:cubicBezTo>
                      <a:pt x="225" y="101"/>
                      <a:pt x="225" y="101"/>
                      <a:pt x="225" y="101"/>
                    </a:cubicBezTo>
                    <a:cubicBezTo>
                      <a:pt x="225" y="114"/>
                      <a:pt x="225" y="114"/>
                      <a:pt x="225" y="114"/>
                    </a:cubicBezTo>
                    <a:cubicBezTo>
                      <a:pt x="118" y="114"/>
                      <a:pt x="118" y="114"/>
                      <a:pt x="118" y="114"/>
                    </a:cubicBezTo>
                    <a:cubicBezTo>
                      <a:pt x="78" y="114"/>
                      <a:pt x="78" y="114"/>
                      <a:pt x="78" y="114"/>
                    </a:cubicBezTo>
                    <a:cubicBezTo>
                      <a:pt x="47" y="114"/>
                      <a:pt x="19" y="133"/>
                      <a:pt x="11" y="169"/>
                    </a:cubicBezTo>
                    <a:cubicBezTo>
                      <a:pt x="1" y="210"/>
                      <a:pt x="0" y="235"/>
                      <a:pt x="11" y="278"/>
                    </a:cubicBezTo>
                    <a:cubicBezTo>
                      <a:pt x="18" y="309"/>
                      <a:pt x="37" y="332"/>
                      <a:pt x="68" y="332"/>
                    </a:cubicBezTo>
                    <a:cubicBezTo>
                      <a:pt x="105" y="332"/>
                      <a:pt x="105" y="332"/>
                      <a:pt x="105" y="332"/>
                    </a:cubicBezTo>
                    <a:cubicBezTo>
                      <a:pt x="105" y="283"/>
                      <a:pt x="105" y="283"/>
                      <a:pt x="105" y="283"/>
                    </a:cubicBezTo>
                    <a:cubicBezTo>
                      <a:pt x="105" y="248"/>
                      <a:pt x="135" y="216"/>
                      <a:pt x="172" y="216"/>
                    </a:cubicBezTo>
                    <a:cubicBezTo>
                      <a:pt x="279" y="216"/>
                      <a:pt x="279" y="216"/>
                      <a:pt x="279" y="216"/>
                    </a:cubicBezTo>
                    <a:cubicBezTo>
                      <a:pt x="309" y="216"/>
                      <a:pt x="332" y="192"/>
                      <a:pt x="332" y="162"/>
                    </a:cubicBezTo>
                    <a:cubicBezTo>
                      <a:pt x="332" y="60"/>
                      <a:pt x="332" y="60"/>
                      <a:pt x="332" y="60"/>
                    </a:cubicBezTo>
                    <a:cubicBezTo>
                      <a:pt x="332" y="31"/>
                      <a:pt x="308" y="9"/>
                      <a:pt x="279" y="4"/>
                    </a:cubicBezTo>
                    <a:cubicBezTo>
                      <a:pt x="260" y="1"/>
                      <a:pt x="241" y="0"/>
                      <a:pt x="223" y="0"/>
                    </a:cubicBezTo>
                    <a:close/>
                    <a:moveTo>
                      <a:pt x="165" y="33"/>
                    </a:moveTo>
                    <a:cubicBezTo>
                      <a:pt x="176" y="33"/>
                      <a:pt x="185" y="42"/>
                      <a:pt x="185" y="53"/>
                    </a:cubicBezTo>
                    <a:cubicBezTo>
                      <a:pt x="185" y="64"/>
                      <a:pt x="176" y="73"/>
                      <a:pt x="165" y="73"/>
                    </a:cubicBezTo>
                    <a:cubicBezTo>
                      <a:pt x="154" y="73"/>
                      <a:pt x="145" y="64"/>
                      <a:pt x="145" y="53"/>
                    </a:cubicBezTo>
                    <a:cubicBezTo>
                      <a:pt x="145" y="42"/>
                      <a:pt x="154" y="33"/>
                      <a:pt x="165"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sp>
            <p:nvSpPr>
              <p:cNvPr id="14" name="Freeform 6">
                <a:extLst>
                  <a:ext uri="{FF2B5EF4-FFF2-40B4-BE49-F238E27FC236}">
                    <a16:creationId xmlns:a16="http://schemas.microsoft.com/office/drawing/2014/main" id="{A95278E2-AD58-489F-BE01-B25EC6F038A5}"/>
                  </a:ext>
                </a:extLst>
              </p:cNvPr>
              <p:cNvSpPr>
                <a:spLocks noEditPoints="1"/>
              </p:cNvSpPr>
              <p:nvPr/>
            </p:nvSpPr>
            <p:spPr bwMode="auto">
              <a:xfrm>
                <a:off x="760" y="3110"/>
                <a:ext cx="670" cy="682"/>
              </a:xfrm>
              <a:custGeom>
                <a:avLst/>
                <a:gdLst>
                  <a:gd name="T0" fmla="*/ 228 w 333"/>
                  <a:gd name="T1" fmla="*/ 0 h 339"/>
                  <a:gd name="T2" fmla="*/ 228 w 333"/>
                  <a:gd name="T3" fmla="*/ 48 h 339"/>
                  <a:gd name="T4" fmla="*/ 161 w 333"/>
                  <a:gd name="T5" fmla="*/ 116 h 339"/>
                  <a:gd name="T6" fmla="*/ 54 w 333"/>
                  <a:gd name="T7" fmla="*/ 116 h 339"/>
                  <a:gd name="T8" fmla="*/ 0 w 333"/>
                  <a:gd name="T9" fmla="*/ 170 h 339"/>
                  <a:gd name="T10" fmla="*/ 0 w 333"/>
                  <a:gd name="T11" fmla="*/ 273 h 339"/>
                  <a:gd name="T12" fmla="*/ 54 w 333"/>
                  <a:gd name="T13" fmla="*/ 327 h 339"/>
                  <a:gd name="T14" fmla="*/ 161 w 333"/>
                  <a:gd name="T15" fmla="*/ 327 h 339"/>
                  <a:gd name="T16" fmla="*/ 214 w 333"/>
                  <a:gd name="T17" fmla="*/ 273 h 339"/>
                  <a:gd name="T18" fmla="*/ 214 w 333"/>
                  <a:gd name="T19" fmla="*/ 232 h 339"/>
                  <a:gd name="T20" fmla="*/ 107 w 333"/>
                  <a:gd name="T21" fmla="*/ 232 h 339"/>
                  <a:gd name="T22" fmla="*/ 107 w 333"/>
                  <a:gd name="T23" fmla="*/ 218 h 339"/>
                  <a:gd name="T24" fmla="*/ 214 w 333"/>
                  <a:gd name="T25" fmla="*/ 218 h 339"/>
                  <a:gd name="T26" fmla="*/ 268 w 333"/>
                  <a:gd name="T27" fmla="*/ 218 h 339"/>
                  <a:gd name="T28" fmla="*/ 322 w 333"/>
                  <a:gd name="T29" fmla="*/ 164 h 339"/>
                  <a:gd name="T30" fmla="*/ 322 w 333"/>
                  <a:gd name="T31" fmla="*/ 55 h 339"/>
                  <a:gd name="T32" fmla="*/ 268 w 333"/>
                  <a:gd name="T33" fmla="*/ 0 h 339"/>
                  <a:gd name="T34" fmla="*/ 228 w 333"/>
                  <a:gd name="T35" fmla="*/ 0 h 339"/>
                  <a:gd name="T36" fmla="*/ 167 w 333"/>
                  <a:gd name="T37" fmla="*/ 259 h 339"/>
                  <a:gd name="T38" fmla="*/ 188 w 333"/>
                  <a:gd name="T39" fmla="*/ 279 h 339"/>
                  <a:gd name="T40" fmla="*/ 167 w 333"/>
                  <a:gd name="T41" fmla="*/ 300 h 339"/>
                  <a:gd name="T42" fmla="*/ 147 w 333"/>
                  <a:gd name="T43" fmla="*/ 279 h 339"/>
                  <a:gd name="T44" fmla="*/ 167 w 333"/>
                  <a:gd name="T45" fmla="*/ 259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3" h="339">
                    <a:moveTo>
                      <a:pt x="228" y="0"/>
                    </a:moveTo>
                    <a:cubicBezTo>
                      <a:pt x="228" y="48"/>
                      <a:pt x="228" y="48"/>
                      <a:pt x="228" y="48"/>
                    </a:cubicBezTo>
                    <a:cubicBezTo>
                      <a:pt x="228" y="85"/>
                      <a:pt x="196" y="116"/>
                      <a:pt x="161" y="116"/>
                    </a:cubicBezTo>
                    <a:cubicBezTo>
                      <a:pt x="54" y="116"/>
                      <a:pt x="54" y="116"/>
                      <a:pt x="54" y="116"/>
                    </a:cubicBezTo>
                    <a:cubicBezTo>
                      <a:pt x="24" y="116"/>
                      <a:pt x="0" y="141"/>
                      <a:pt x="0" y="170"/>
                    </a:cubicBezTo>
                    <a:cubicBezTo>
                      <a:pt x="0" y="273"/>
                      <a:pt x="0" y="273"/>
                      <a:pt x="0" y="273"/>
                    </a:cubicBezTo>
                    <a:cubicBezTo>
                      <a:pt x="0" y="302"/>
                      <a:pt x="25" y="319"/>
                      <a:pt x="54" y="327"/>
                    </a:cubicBezTo>
                    <a:cubicBezTo>
                      <a:pt x="88" y="337"/>
                      <a:pt x="120" y="339"/>
                      <a:pt x="161" y="327"/>
                    </a:cubicBezTo>
                    <a:cubicBezTo>
                      <a:pt x="188" y="319"/>
                      <a:pt x="214" y="304"/>
                      <a:pt x="214" y="273"/>
                    </a:cubicBezTo>
                    <a:cubicBezTo>
                      <a:pt x="214" y="232"/>
                      <a:pt x="214" y="232"/>
                      <a:pt x="214" y="232"/>
                    </a:cubicBezTo>
                    <a:cubicBezTo>
                      <a:pt x="107" y="232"/>
                      <a:pt x="107" y="232"/>
                      <a:pt x="107" y="232"/>
                    </a:cubicBezTo>
                    <a:cubicBezTo>
                      <a:pt x="107" y="218"/>
                      <a:pt x="107" y="218"/>
                      <a:pt x="107" y="218"/>
                    </a:cubicBezTo>
                    <a:cubicBezTo>
                      <a:pt x="214" y="218"/>
                      <a:pt x="214" y="218"/>
                      <a:pt x="214" y="218"/>
                    </a:cubicBezTo>
                    <a:cubicBezTo>
                      <a:pt x="268" y="218"/>
                      <a:pt x="268" y="218"/>
                      <a:pt x="268" y="218"/>
                    </a:cubicBezTo>
                    <a:cubicBezTo>
                      <a:pt x="299" y="218"/>
                      <a:pt x="311" y="196"/>
                      <a:pt x="322" y="164"/>
                    </a:cubicBezTo>
                    <a:cubicBezTo>
                      <a:pt x="333" y="130"/>
                      <a:pt x="332" y="98"/>
                      <a:pt x="322" y="55"/>
                    </a:cubicBezTo>
                    <a:cubicBezTo>
                      <a:pt x="314" y="24"/>
                      <a:pt x="299" y="0"/>
                      <a:pt x="268" y="0"/>
                    </a:cubicBezTo>
                    <a:lnTo>
                      <a:pt x="228" y="0"/>
                    </a:lnTo>
                    <a:close/>
                    <a:moveTo>
                      <a:pt x="167" y="259"/>
                    </a:moveTo>
                    <a:cubicBezTo>
                      <a:pt x="179" y="259"/>
                      <a:pt x="188" y="268"/>
                      <a:pt x="188" y="279"/>
                    </a:cubicBezTo>
                    <a:cubicBezTo>
                      <a:pt x="188" y="291"/>
                      <a:pt x="179" y="300"/>
                      <a:pt x="167" y="300"/>
                    </a:cubicBezTo>
                    <a:cubicBezTo>
                      <a:pt x="156" y="300"/>
                      <a:pt x="147" y="291"/>
                      <a:pt x="147" y="279"/>
                    </a:cubicBezTo>
                    <a:cubicBezTo>
                      <a:pt x="147" y="268"/>
                      <a:pt x="156" y="259"/>
                      <a:pt x="167" y="2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grpSp>
        <p:grpSp>
          <p:nvGrpSpPr>
            <p:cNvPr id="16" name="Group 15">
              <a:extLst>
                <a:ext uri="{FF2B5EF4-FFF2-40B4-BE49-F238E27FC236}">
                  <a16:creationId xmlns:a16="http://schemas.microsoft.com/office/drawing/2014/main" id="{958BFF54-CE8C-489C-96E5-F9FF31CB4EC9}"/>
                </a:ext>
              </a:extLst>
            </p:cNvPr>
            <p:cNvGrpSpPr/>
            <p:nvPr/>
          </p:nvGrpSpPr>
          <p:grpSpPr>
            <a:xfrm>
              <a:off x="10492326" y="3637189"/>
              <a:ext cx="469199" cy="808027"/>
              <a:chOff x="10695214" y="4270043"/>
              <a:chExt cx="860430" cy="1481780"/>
            </a:xfrm>
          </p:grpSpPr>
          <p:pic>
            <p:nvPicPr>
              <p:cNvPr id="5" name="Picture 4">
                <a:extLst>
                  <a:ext uri="{FF2B5EF4-FFF2-40B4-BE49-F238E27FC236}">
                    <a16:creationId xmlns:a16="http://schemas.microsoft.com/office/drawing/2014/main" id="{7C537541-FC1D-4741-989E-BF00F92DF89B}"/>
                  </a:ext>
                </a:extLst>
              </p:cNvPr>
              <p:cNvPicPr>
                <a:picLocks noChangeAspect="1"/>
              </p:cNvPicPr>
              <p:nvPr/>
            </p:nvPicPr>
            <p:blipFill rotWithShape="1">
              <a:blip r:embed="rId3"/>
              <a:srcRect r="56128"/>
              <a:stretch/>
            </p:blipFill>
            <p:spPr>
              <a:xfrm>
                <a:off x="10767230" y="4270043"/>
                <a:ext cx="716397" cy="952542"/>
              </a:xfrm>
              <a:prstGeom prst="rect">
                <a:avLst/>
              </a:prstGeom>
            </p:spPr>
          </p:pic>
          <p:pic>
            <p:nvPicPr>
              <p:cNvPr id="44" name="Picture 43">
                <a:extLst>
                  <a:ext uri="{FF2B5EF4-FFF2-40B4-BE49-F238E27FC236}">
                    <a16:creationId xmlns:a16="http://schemas.microsoft.com/office/drawing/2014/main" id="{26B7F982-7642-451E-9942-2AD8CB7F915E}"/>
                  </a:ext>
                </a:extLst>
              </p:cNvPr>
              <p:cNvPicPr>
                <a:picLocks noChangeAspect="1"/>
              </p:cNvPicPr>
              <p:nvPr/>
            </p:nvPicPr>
            <p:blipFill rotWithShape="1">
              <a:blip r:embed="rId3"/>
              <a:srcRect l="47307" t="34734" b="16030"/>
              <a:stretch/>
            </p:blipFill>
            <p:spPr>
              <a:xfrm>
                <a:off x="10695214" y="5282823"/>
                <a:ext cx="860430" cy="469000"/>
              </a:xfrm>
              <a:prstGeom prst="rect">
                <a:avLst/>
              </a:prstGeom>
            </p:spPr>
          </p:pic>
        </p:grpSp>
      </p:grpSp>
      <p:grpSp>
        <p:nvGrpSpPr>
          <p:cNvPr id="46" name="Group 45">
            <a:extLst>
              <a:ext uri="{FF2B5EF4-FFF2-40B4-BE49-F238E27FC236}">
                <a16:creationId xmlns:a16="http://schemas.microsoft.com/office/drawing/2014/main" id="{FCD63DA7-FF0A-4EBD-A9B8-4C4557C7BAD4}"/>
              </a:ext>
            </a:extLst>
          </p:cNvPr>
          <p:cNvGrpSpPr/>
          <p:nvPr/>
        </p:nvGrpSpPr>
        <p:grpSpPr>
          <a:xfrm>
            <a:off x="11075449" y="5347093"/>
            <a:ext cx="574377" cy="568183"/>
            <a:chOff x="6712956" y="9045673"/>
            <a:chExt cx="464984" cy="459971"/>
          </a:xfrm>
        </p:grpSpPr>
        <p:sp>
          <p:nvSpPr>
            <p:cNvPr id="47" name="Rectangle 46">
              <a:extLst>
                <a:ext uri="{FF2B5EF4-FFF2-40B4-BE49-F238E27FC236}">
                  <a16:creationId xmlns:a16="http://schemas.microsoft.com/office/drawing/2014/main" id="{97B3D61D-7468-4F42-94F5-CDE2BDF39047}"/>
                </a:ext>
              </a:extLst>
            </p:cNvPr>
            <p:cNvSpPr/>
            <p:nvPr/>
          </p:nvSpPr>
          <p:spPr bwMode="auto">
            <a:xfrm>
              <a:off x="6712956" y="9205584"/>
              <a:ext cx="464984" cy="138505"/>
            </a:xfrm>
            <a:prstGeom prst="rect">
              <a:avLst/>
            </a:prstGeom>
            <a:solidFill>
              <a:srgbClr val="0078D7"/>
            </a:solidFill>
            <a:ln w="127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Rectangle 47">
              <a:extLst>
                <a:ext uri="{FF2B5EF4-FFF2-40B4-BE49-F238E27FC236}">
                  <a16:creationId xmlns:a16="http://schemas.microsoft.com/office/drawing/2014/main" id="{B226EC24-FD8B-4D7C-BC3D-548FBC1E612E}"/>
                </a:ext>
              </a:extLst>
            </p:cNvPr>
            <p:cNvSpPr/>
            <p:nvPr/>
          </p:nvSpPr>
          <p:spPr bwMode="auto">
            <a:xfrm>
              <a:off x="6712956" y="9367139"/>
              <a:ext cx="464984" cy="138505"/>
            </a:xfrm>
            <a:prstGeom prst="rect">
              <a:avLst/>
            </a:prstGeom>
            <a:solidFill>
              <a:srgbClr val="0078D7"/>
            </a:solidFill>
            <a:ln w="127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9" name="Group 48">
              <a:extLst>
                <a:ext uri="{FF2B5EF4-FFF2-40B4-BE49-F238E27FC236}">
                  <a16:creationId xmlns:a16="http://schemas.microsoft.com/office/drawing/2014/main" id="{BA642318-226B-4B8B-9CE4-D90646318725}"/>
                </a:ext>
              </a:extLst>
            </p:cNvPr>
            <p:cNvGrpSpPr/>
            <p:nvPr/>
          </p:nvGrpSpPr>
          <p:grpSpPr>
            <a:xfrm>
              <a:off x="6712956" y="9045673"/>
              <a:ext cx="464984" cy="138505"/>
              <a:chOff x="551886" y="4922823"/>
              <a:chExt cx="508602" cy="151498"/>
            </a:xfrm>
          </p:grpSpPr>
          <p:sp>
            <p:nvSpPr>
              <p:cNvPr id="58" name="Rectangle 57">
                <a:extLst>
                  <a:ext uri="{FF2B5EF4-FFF2-40B4-BE49-F238E27FC236}">
                    <a16:creationId xmlns:a16="http://schemas.microsoft.com/office/drawing/2014/main" id="{CCD72AF7-51C2-4D0E-8996-B45B0E6D9620}"/>
                  </a:ext>
                </a:extLst>
              </p:cNvPr>
              <p:cNvSpPr/>
              <p:nvPr/>
            </p:nvSpPr>
            <p:spPr bwMode="auto">
              <a:xfrm>
                <a:off x="551886" y="4922823"/>
                <a:ext cx="508602" cy="151498"/>
              </a:xfrm>
              <a:prstGeom prst="rect">
                <a:avLst/>
              </a:prstGeom>
              <a:solidFill>
                <a:srgbClr val="0078D7"/>
              </a:solidFill>
              <a:ln w="127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 name="Oval 58">
                <a:extLst>
                  <a:ext uri="{FF2B5EF4-FFF2-40B4-BE49-F238E27FC236}">
                    <a16:creationId xmlns:a16="http://schemas.microsoft.com/office/drawing/2014/main" id="{87BADBAF-2023-4223-85B1-704531063CF2}"/>
                  </a:ext>
                </a:extLst>
              </p:cNvPr>
              <p:cNvSpPr/>
              <p:nvPr/>
            </p:nvSpPr>
            <p:spPr bwMode="auto">
              <a:xfrm flipH="1">
                <a:off x="955040" y="4971128"/>
                <a:ext cx="45720" cy="45720"/>
              </a:xfrm>
              <a:prstGeom prst="ellipse">
                <a:avLst/>
              </a:prstGeom>
              <a:solidFill>
                <a:srgbClr val="50E6FF"/>
              </a:solidFill>
              <a:ln w="12700" cap="flat" cmpd="sng" algn="ctr">
                <a:solidFill>
                  <a:srgbClr val="50E6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0" name="Straight Connector 59">
                <a:extLst>
                  <a:ext uri="{FF2B5EF4-FFF2-40B4-BE49-F238E27FC236}">
                    <a16:creationId xmlns:a16="http://schemas.microsoft.com/office/drawing/2014/main" id="{1E7C6418-1F8C-4D75-A761-9D91D3B184A1}"/>
                  </a:ext>
                </a:extLst>
              </p:cNvPr>
              <p:cNvCxnSpPr/>
              <p:nvPr/>
            </p:nvCxnSpPr>
            <p:spPr>
              <a:xfrm>
                <a:off x="625475" y="4997163"/>
                <a:ext cx="238125" cy="0"/>
              </a:xfrm>
              <a:prstGeom prst="line">
                <a:avLst/>
              </a:prstGeom>
              <a:solidFill>
                <a:srgbClr val="50E6FF"/>
              </a:solidFill>
              <a:ln w="19050" cap="flat" cmpd="sng" algn="ctr">
                <a:solidFill>
                  <a:srgbClr val="50E6FF"/>
                </a:solidFill>
                <a:prstDash val="solid"/>
                <a:headEnd type="none"/>
                <a:tailEnd type="none"/>
              </a:ln>
              <a:effectLst/>
            </p:spPr>
          </p:cxnSp>
        </p:grpSp>
        <p:cxnSp>
          <p:nvCxnSpPr>
            <p:cNvPr id="50" name="Straight Connector 49">
              <a:extLst>
                <a:ext uri="{FF2B5EF4-FFF2-40B4-BE49-F238E27FC236}">
                  <a16:creationId xmlns:a16="http://schemas.microsoft.com/office/drawing/2014/main" id="{CBE422ED-68AA-4994-9B04-7EAA9CE39424}"/>
                </a:ext>
              </a:extLst>
            </p:cNvPr>
            <p:cNvCxnSpPr>
              <a:cxnSpLocks/>
            </p:cNvCxnSpPr>
            <p:nvPr/>
          </p:nvCxnSpPr>
          <p:spPr>
            <a:xfrm>
              <a:off x="6805851" y="9400854"/>
              <a:ext cx="0" cy="67998"/>
            </a:xfrm>
            <a:prstGeom prst="line">
              <a:avLst/>
            </a:prstGeom>
            <a:noFill/>
            <a:ln w="19050" cap="flat" cmpd="sng" algn="ctr">
              <a:solidFill>
                <a:srgbClr val="50E6FF"/>
              </a:solidFill>
              <a:prstDash val="solid"/>
              <a:headEnd type="none"/>
              <a:tailEnd type="none"/>
            </a:ln>
            <a:effectLst/>
          </p:spPr>
        </p:cxnSp>
        <p:cxnSp>
          <p:nvCxnSpPr>
            <p:cNvPr id="51" name="Straight Connector 50">
              <a:extLst>
                <a:ext uri="{FF2B5EF4-FFF2-40B4-BE49-F238E27FC236}">
                  <a16:creationId xmlns:a16="http://schemas.microsoft.com/office/drawing/2014/main" id="{A7394915-7F1A-4350-9E07-3AB522BD9001}"/>
                </a:ext>
              </a:extLst>
            </p:cNvPr>
            <p:cNvCxnSpPr>
              <a:cxnSpLocks/>
            </p:cNvCxnSpPr>
            <p:nvPr/>
          </p:nvCxnSpPr>
          <p:spPr>
            <a:xfrm>
              <a:off x="6898824" y="9400854"/>
              <a:ext cx="0" cy="67998"/>
            </a:xfrm>
            <a:prstGeom prst="line">
              <a:avLst/>
            </a:prstGeom>
            <a:noFill/>
            <a:ln w="19050" cap="flat" cmpd="sng" algn="ctr">
              <a:solidFill>
                <a:srgbClr val="50E6FF"/>
              </a:solidFill>
              <a:prstDash val="solid"/>
              <a:headEnd type="none"/>
              <a:tailEnd type="none"/>
            </a:ln>
            <a:effectLst/>
          </p:spPr>
        </p:cxnSp>
        <p:cxnSp>
          <p:nvCxnSpPr>
            <p:cNvPr id="52" name="Straight Connector 51">
              <a:extLst>
                <a:ext uri="{FF2B5EF4-FFF2-40B4-BE49-F238E27FC236}">
                  <a16:creationId xmlns:a16="http://schemas.microsoft.com/office/drawing/2014/main" id="{86F4121A-DC27-4ADC-907F-18BF778C3D29}"/>
                </a:ext>
              </a:extLst>
            </p:cNvPr>
            <p:cNvCxnSpPr>
              <a:cxnSpLocks/>
            </p:cNvCxnSpPr>
            <p:nvPr/>
          </p:nvCxnSpPr>
          <p:spPr>
            <a:xfrm>
              <a:off x="6991796" y="9400854"/>
              <a:ext cx="0" cy="67998"/>
            </a:xfrm>
            <a:prstGeom prst="line">
              <a:avLst/>
            </a:prstGeom>
            <a:noFill/>
            <a:ln w="19050" cap="flat" cmpd="sng" algn="ctr">
              <a:solidFill>
                <a:srgbClr val="50E6FF"/>
              </a:solidFill>
              <a:prstDash val="solid"/>
              <a:headEnd type="none"/>
              <a:tailEnd type="none"/>
            </a:ln>
            <a:effectLst/>
          </p:spPr>
        </p:cxnSp>
        <p:cxnSp>
          <p:nvCxnSpPr>
            <p:cNvPr id="53" name="Straight Connector 52">
              <a:extLst>
                <a:ext uri="{FF2B5EF4-FFF2-40B4-BE49-F238E27FC236}">
                  <a16:creationId xmlns:a16="http://schemas.microsoft.com/office/drawing/2014/main" id="{D7515146-7F4D-4449-8DA8-9EB2123A1CBE}"/>
                </a:ext>
              </a:extLst>
            </p:cNvPr>
            <p:cNvCxnSpPr>
              <a:cxnSpLocks/>
            </p:cNvCxnSpPr>
            <p:nvPr/>
          </p:nvCxnSpPr>
          <p:spPr>
            <a:xfrm>
              <a:off x="7084769" y="9400854"/>
              <a:ext cx="0" cy="67998"/>
            </a:xfrm>
            <a:prstGeom prst="line">
              <a:avLst/>
            </a:prstGeom>
            <a:noFill/>
            <a:ln w="19050" cap="flat" cmpd="sng" algn="ctr">
              <a:solidFill>
                <a:srgbClr val="50E6FF"/>
              </a:solidFill>
              <a:prstDash val="solid"/>
              <a:headEnd type="none"/>
              <a:tailEnd type="none"/>
            </a:ln>
            <a:effectLst/>
          </p:spPr>
        </p:cxnSp>
        <p:cxnSp>
          <p:nvCxnSpPr>
            <p:cNvPr id="54" name="Straight Connector 53">
              <a:extLst>
                <a:ext uri="{FF2B5EF4-FFF2-40B4-BE49-F238E27FC236}">
                  <a16:creationId xmlns:a16="http://schemas.microsoft.com/office/drawing/2014/main" id="{DB13274C-3280-4DAD-83AD-11C78A38AACE}"/>
                </a:ext>
              </a:extLst>
            </p:cNvPr>
            <p:cNvCxnSpPr>
              <a:cxnSpLocks/>
            </p:cNvCxnSpPr>
            <p:nvPr/>
          </p:nvCxnSpPr>
          <p:spPr>
            <a:xfrm>
              <a:off x="6805851" y="9242791"/>
              <a:ext cx="0" cy="67998"/>
            </a:xfrm>
            <a:prstGeom prst="line">
              <a:avLst/>
            </a:prstGeom>
            <a:noFill/>
            <a:ln w="19050" cap="flat" cmpd="sng" algn="ctr">
              <a:solidFill>
                <a:srgbClr val="50E6FF"/>
              </a:solidFill>
              <a:prstDash val="solid"/>
              <a:headEnd type="none"/>
              <a:tailEnd type="none"/>
            </a:ln>
            <a:effectLst/>
          </p:spPr>
        </p:cxnSp>
        <p:cxnSp>
          <p:nvCxnSpPr>
            <p:cNvPr id="55" name="Straight Connector 54">
              <a:extLst>
                <a:ext uri="{FF2B5EF4-FFF2-40B4-BE49-F238E27FC236}">
                  <a16:creationId xmlns:a16="http://schemas.microsoft.com/office/drawing/2014/main" id="{5E8797E8-E745-4FF6-A0E1-F7508C838D59}"/>
                </a:ext>
              </a:extLst>
            </p:cNvPr>
            <p:cNvCxnSpPr>
              <a:cxnSpLocks/>
            </p:cNvCxnSpPr>
            <p:nvPr/>
          </p:nvCxnSpPr>
          <p:spPr>
            <a:xfrm>
              <a:off x="6898824" y="9242791"/>
              <a:ext cx="0" cy="67998"/>
            </a:xfrm>
            <a:prstGeom prst="line">
              <a:avLst/>
            </a:prstGeom>
            <a:noFill/>
            <a:ln w="19050" cap="flat" cmpd="sng" algn="ctr">
              <a:solidFill>
                <a:srgbClr val="50E6FF"/>
              </a:solidFill>
              <a:prstDash val="solid"/>
              <a:headEnd type="none"/>
              <a:tailEnd type="none"/>
            </a:ln>
            <a:effectLst/>
          </p:spPr>
        </p:cxnSp>
        <p:cxnSp>
          <p:nvCxnSpPr>
            <p:cNvPr id="56" name="Straight Connector 55">
              <a:extLst>
                <a:ext uri="{FF2B5EF4-FFF2-40B4-BE49-F238E27FC236}">
                  <a16:creationId xmlns:a16="http://schemas.microsoft.com/office/drawing/2014/main" id="{3EB46D21-FA74-4270-9B1A-1CA243E1742E}"/>
                </a:ext>
              </a:extLst>
            </p:cNvPr>
            <p:cNvCxnSpPr>
              <a:cxnSpLocks/>
            </p:cNvCxnSpPr>
            <p:nvPr/>
          </p:nvCxnSpPr>
          <p:spPr>
            <a:xfrm>
              <a:off x="6991796" y="9242791"/>
              <a:ext cx="0" cy="67998"/>
            </a:xfrm>
            <a:prstGeom prst="line">
              <a:avLst/>
            </a:prstGeom>
            <a:noFill/>
            <a:ln w="19050" cap="flat" cmpd="sng" algn="ctr">
              <a:solidFill>
                <a:srgbClr val="50E6FF"/>
              </a:solidFill>
              <a:prstDash val="solid"/>
              <a:headEnd type="none"/>
              <a:tailEnd type="none"/>
            </a:ln>
            <a:effectLst/>
          </p:spPr>
        </p:cxnSp>
        <p:cxnSp>
          <p:nvCxnSpPr>
            <p:cNvPr id="57" name="Straight Connector 56">
              <a:extLst>
                <a:ext uri="{FF2B5EF4-FFF2-40B4-BE49-F238E27FC236}">
                  <a16:creationId xmlns:a16="http://schemas.microsoft.com/office/drawing/2014/main" id="{BA311CE3-40E2-422C-981B-ED363F0A85AC}"/>
                </a:ext>
              </a:extLst>
            </p:cNvPr>
            <p:cNvCxnSpPr>
              <a:cxnSpLocks/>
            </p:cNvCxnSpPr>
            <p:nvPr/>
          </p:nvCxnSpPr>
          <p:spPr>
            <a:xfrm>
              <a:off x="7084769" y="9242791"/>
              <a:ext cx="0" cy="67998"/>
            </a:xfrm>
            <a:prstGeom prst="line">
              <a:avLst/>
            </a:prstGeom>
            <a:noFill/>
            <a:ln w="19050" cap="flat" cmpd="sng" algn="ctr">
              <a:solidFill>
                <a:srgbClr val="50E6FF"/>
              </a:solidFill>
              <a:prstDash val="solid"/>
              <a:headEnd type="none"/>
              <a:tailEnd type="none"/>
            </a:ln>
            <a:effectLst/>
          </p:spPr>
        </p:cxnSp>
      </p:grpSp>
      <p:sp>
        <p:nvSpPr>
          <p:cNvPr id="61" name="Freeform 130">
            <a:extLst>
              <a:ext uri="{FF2B5EF4-FFF2-40B4-BE49-F238E27FC236}">
                <a16:creationId xmlns:a16="http://schemas.microsoft.com/office/drawing/2014/main" id="{FDE8F9E0-1BB5-4898-90D4-07D4810740B9}"/>
              </a:ext>
            </a:extLst>
          </p:cNvPr>
          <p:cNvSpPr>
            <a:spLocks noChangeAspect="1" noEditPoints="1"/>
          </p:cNvSpPr>
          <p:nvPr/>
        </p:nvSpPr>
        <p:spPr bwMode="black">
          <a:xfrm>
            <a:off x="9668647" y="5817113"/>
            <a:ext cx="380894" cy="385748"/>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178D7"/>
          </a:solidFill>
          <a:ln>
            <a:noFill/>
          </a:ln>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pic>
        <p:nvPicPr>
          <p:cNvPr id="62" name="Picture 61">
            <a:extLst>
              <a:ext uri="{FF2B5EF4-FFF2-40B4-BE49-F238E27FC236}">
                <a16:creationId xmlns:a16="http://schemas.microsoft.com/office/drawing/2014/main" id="{17A4A74C-DC6F-49AA-A526-8754DE0909BB}"/>
              </a:ext>
            </a:extLst>
          </p:cNvPr>
          <p:cNvPicPr>
            <a:picLocks noChangeAspect="1"/>
          </p:cNvPicPr>
          <p:nvPr/>
        </p:nvPicPr>
        <p:blipFill>
          <a:blip r:embed="rId4" cstate="print">
            <a:duotone>
              <a:srgbClr val="0078D7">
                <a:shade val="45000"/>
                <a:satMod val="135000"/>
              </a:srgbClr>
              <a:prstClr val="white"/>
            </a:duotone>
            <a:lum bright="14000" contrast="20000"/>
            <a:extLst>
              <a:ext uri="{28A0092B-C50C-407E-A947-70E740481C1C}">
                <a14:useLocalDpi xmlns:a14="http://schemas.microsoft.com/office/drawing/2010/main" val="0"/>
              </a:ext>
            </a:extLst>
          </a:blip>
          <a:stretch>
            <a:fillRect/>
          </a:stretch>
        </p:blipFill>
        <p:spPr>
          <a:xfrm>
            <a:off x="8847582" y="5806357"/>
            <a:ext cx="342098" cy="407260"/>
          </a:xfrm>
          <a:prstGeom prst="rect">
            <a:avLst/>
          </a:prstGeom>
        </p:spPr>
      </p:pic>
    </p:spTree>
    <p:extLst>
      <p:ext uri="{BB962C8B-B14F-4D97-AF65-F5344CB8AC3E}">
        <p14:creationId xmlns:p14="http://schemas.microsoft.com/office/powerpoint/2010/main" val="10870012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C60B96-D19E-44AB-B183-5605F170FB0A}"/>
              </a:ext>
            </a:extLst>
          </p:cNvPr>
          <p:cNvSpPr>
            <a:spLocks noGrp="1"/>
          </p:cNvSpPr>
          <p:nvPr>
            <p:ph type="title"/>
          </p:nvPr>
        </p:nvSpPr>
        <p:spPr>
          <a:xfrm>
            <a:off x="417933" y="264339"/>
            <a:ext cx="11018520" cy="553998"/>
          </a:xfrm>
        </p:spPr>
        <p:txBody>
          <a:bodyPr/>
          <a:lstStyle/>
          <a:p>
            <a:r>
              <a:rPr lang="en-US" dirty="0"/>
              <a:t>SQL Server Graph Database</a:t>
            </a:r>
          </a:p>
        </p:txBody>
      </p:sp>
      <p:pic>
        <p:nvPicPr>
          <p:cNvPr id="4" name="Picture 2" descr="person-cities-restaurants-tables">
            <a:extLst>
              <a:ext uri="{FF2B5EF4-FFF2-40B4-BE49-F238E27FC236}">
                <a16:creationId xmlns:a16="http://schemas.microsoft.com/office/drawing/2014/main" id="{49E96EBB-8B77-46E1-8301-CD1824E1E01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47037" y="194959"/>
            <a:ext cx="3990974" cy="322030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Table 4">
            <a:extLst>
              <a:ext uri="{FF2B5EF4-FFF2-40B4-BE49-F238E27FC236}">
                <a16:creationId xmlns:a16="http://schemas.microsoft.com/office/drawing/2014/main" id="{AC19318C-61DD-404D-B294-F6A10C6CE440}"/>
              </a:ext>
            </a:extLst>
          </p:cNvPr>
          <p:cNvGraphicFramePr>
            <a:graphicFrameLocks noGrp="1"/>
          </p:cNvGraphicFramePr>
          <p:nvPr>
            <p:extLst>
              <p:ext uri="{D42A27DB-BD31-4B8C-83A1-F6EECF244321}">
                <p14:modId xmlns:p14="http://schemas.microsoft.com/office/powerpoint/2010/main" val="796778415"/>
              </p:ext>
            </p:extLst>
          </p:nvPr>
        </p:nvGraphicFramePr>
        <p:xfrm>
          <a:off x="460113" y="2257555"/>
          <a:ext cx="3275012" cy="2971483"/>
        </p:xfrm>
        <a:graphic>
          <a:graphicData uri="http://schemas.openxmlformats.org/drawingml/2006/table">
            <a:tbl>
              <a:tblPr firstRow="1" bandRow="1">
                <a:tableStyleId>{5C22544A-7EE6-4342-B048-85BDC9FD1C3A}</a:tableStyleId>
              </a:tblPr>
              <a:tblGrid>
                <a:gridCol w="1637506">
                  <a:extLst>
                    <a:ext uri="{9D8B030D-6E8A-4147-A177-3AD203B41FA5}">
                      <a16:colId xmlns:a16="http://schemas.microsoft.com/office/drawing/2014/main" val="876674372"/>
                    </a:ext>
                  </a:extLst>
                </a:gridCol>
                <a:gridCol w="1637506">
                  <a:extLst>
                    <a:ext uri="{9D8B030D-6E8A-4147-A177-3AD203B41FA5}">
                      <a16:colId xmlns:a16="http://schemas.microsoft.com/office/drawing/2014/main" val="2275974805"/>
                    </a:ext>
                  </a:extLst>
                </a:gridCol>
              </a:tblGrid>
              <a:tr h="411163">
                <a:tc>
                  <a:txBody>
                    <a:bodyPr/>
                    <a:lstStyle/>
                    <a:p>
                      <a:r>
                        <a:rPr lang="en-US" dirty="0"/>
                        <a:t>Table</a:t>
                      </a:r>
                    </a:p>
                  </a:txBody>
                  <a:tcPr/>
                </a:tc>
                <a:tc>
                  <a:txBody>
                    <a:bodyPr/>
                    <a:lstStyle/>
                    <a:p>
                      <a:r>
                        <a:rPr lang="en-US" dirty="0"/>
                        <a:t>Table Type</a:t>
                      </a:r>
                    </a:p>
                  </a:txBody>
                  <a:tcPr/>
                </a:tc>
                <a:extLst>
                  <a:ext uri="{0D108BD9-81ED-4DB2-BD59-A6C34878D82A}">
                    <a16:rowId xmlns:a16="http://schemas.microsoft.com/office/drawing/2014/main" val="1999477664"/>
                  </a:ext>
                </a:extLst>
              </a:tr>
              <a:tr h="352000">
                <a:tc>
                  <a:txBody>
                    <a:bodyPr/>
                    <a:lstStyle/>
                    <a:p>
                      <a:r>
                        <a:rPr lang="en-US" dirty="0"/>
                        <a:t>Person</a:t>
                      </a:r>
                    </a:p>
                  </a:txBody>
                  <a:tcPr/>
                </a:tc>
                <a:tc>
                  <a:txBody>
                    <a:bodyPr/>
                    <a:lstStyle/>
                    <a:p>
                      <a:r>
                        <a:rPr lang="en-US" dirty="0"/>
                        <a:t>NODE</a:t>
                      </a:r>
                    </a:p>
                  </a:txBody>
                  <a:tcPr/>
                </a:tc>
                <a:extLst>
                  <a:ext uri="{0D108BD9-81ED-4DB2-BD59-A6C34878D82A}">
                    <a16:rowId xmlns:a16="http://schemas.microsoft.com/office/drawing/2014/main" val="1830788281"/>
                  </a:ext>
                </a:extLst>
              </a:tr>
              <a:tr h="352000">
                <a:tc>
                  <a:txBody>
                    <a:bodyPr/>
                    <a:lstStyle/>
                    <a:p>
                      <a:r>
                        <a:rPr lang="en-US" dirty="0"/>
                        <a:t>Restaurant</a:t>
                      </a:r>
                    </a:p>
                  </a:txBody>
                  <a:tcPr/>
                </a:tc>
                <a:tc>
                  <a:txBody>
                    <a:bodyPr/>
                    <a:lstStyle/>
                    <a:p>
                      <a:r>
                        <a:rPr lang="en-US" dirty="0"/>
                        <a:t>NODE</a:t>
                      </a:r>
                    </a:p>
                  </a:txBody>
                  <a:tcPr/>
                </a:tc>
                <a:extLst>
                  <a:ext uri="{0D108BD9-81ED-4DB2-BD59-A6C34878D82A}">
                    <a16:rowId xmlns:a16="http://schemas.microsoft.com/office/drawing/2014/main" val="3681059420"/>
                  </a:ext>
                </a:extLst>
              </a:tr>
              <a:tr h="352000">
                <a:tc>
                  <a:txBody>
                    <a:bodyPr/>
                    <a:lstStyle/>
                    <a:p>
                      <a:r>
                        <a:rPr lang="en-US" dirty="0"/>
                        <a:t>City</a:t>
                      </a:r>
                    </a:p>
                  </a:txBody>
                  <a:tcPr/>
                </a:tc>
                <a:tc>
                  <a:txBody>
                    <a:bodyPr/>
                    <a:lstStyle/>
                    <a:p>
                      <a:r>
                        <a:rPr lang="en-US" dirty="0"/>
                        <a:t>NODE</a:t>
                      </a:r>
                    </a:p>
                  </a:txBody>
                  <a:tcPr/>
                </a:tc>
                <a:extLst>
                  <a:ext uri="{0D108BD9-81ED-4DB2-BD59-A6C34878D82A}">
                    <a16:rowId xmlns:a16="http://schemas.microsoft.com/office/drawing/2014/main" val="530156747"/>
                  </a:ext>
                </a:extLst>
              </a:tr>
              <a:tr h="352000">
                <a:tc>
                  <a:txBody>
                    <a:bodyPr/>
                    <a:lstStyle/>
                    <a:p>
                      <a:r>
                        <a:rPr lang="en-US" dirty="0"/>
                        <a:t>Likes (rating)</a:t>
                      </a:r>
                    </a:p>
                  </a:txBody>
                  <a:tcPr/>
                </a:tc>
                <a:tc>
                  <a:txBody>
                    <a:bodyPr/>
                    <a:lstStyle/>
                    <a:p>
                      <a:r>
                        <a:rPr lang="en-US" dirty="0"/>
                        <a:t>EDGE</a:t>
                      </a:r>
                    </a:p>
                  </a:txBody>
                  <a:tcPr/>
                </a:tc>
                <a:extLst>
                  <a:ext uri="{0D108BD9-81ED-4DB2-BD59-A6C34878D82A}">
                    <a16:rowId xmlns:a16="http://schemas.microsoft.com/office/drawing/2014/main" val="395619739"/>
                  </a:ext>
                </a:extLst>
              </a:tr>
              <a:tr h="352000">
                <a:tc>
                  <a:txBody>
                    <a:bodyPr/>
                    <a:lstStyle/>
                    <a:p>
                      <a:r>
                        <a:rPr lang="en-US" dirty="0"/>
                        <a:t>friendOf</a:t>
                      </a:r>
                    </a:p>
                  </a:txBody>
                  <a:tcPr/>
                </a:tc>
                <a:tc>
                  <a:txBody>
                    <a:bodyPr/>
                    <a:lstStyle/>
                    <a:p>
                      <a:r>
                        <a:rPr lang="en-US" dirty="0"/>
                        <a:t>EDGE</a:t>
                      </a:r>
                    </a:p>
                  </a:txBody>
                  <a:tcPr/>
                </a:tc>
                <a:extLst>
                  <a:ext uri="{0D108BD9-81ED-4DB2-BD59-A6C34878D82A}">
                    <a16:rowId xmlns:a16="http://schemas.microsoft.com/office/drawing/2014/main" val="2318118122"/>
                  </a:ext>
                </a:extLst>
              </a:tr>
              <a:tr h="352000">
                <a:tc>
                  <a:txBody>
                    <a:bodyPr/>
                    <a:lstStyle/>
                    <a:p>
                      <a:r>
                        <a:rPr lang="en-US" dirty="0"/>
                        <a:t>livesIn</a:t>
                      </a:r>
                    </a:p>
                  </a:txBody>
                  <a:tcPr/>
                </a:tc>
                <a:tc>
                  <a:txBody>
                    <a:bodyPr/>
                    <a:lstStyle/>
                    <a:p>
                      <a:r>
                        <a:rPr lang="en-US" dirty="0"/>
                        <a:t>EDGE</a:t>
                      </a:r>
                    </a:p>
                  </a:txBody>
                  <a:tcPr/>
                </a:tc>
                <a:extLst>
                  <a:ext uri="{0D108BD9-81ED-4DB2-BD59-A6C34878D82A}">
                    <a16:rowId xmlns:a16="http://schemas.microsoft.com/office/drawing/2014/main" val="3833041407"/>
                  </a:ext>
                </a:extLst>
              </a:tr>
              <a:tr h="352000">
                <a:tc>
                  <a:txBody>
                    <a:bodyPr/>
                    <a:lstStyle/>
                    <a:p>
                      <a:r>
                        <a:rPr lang="en-US" dirty="0"/>
                        <a:t>LocatedIn</a:t>
                      </a:r>
                    </a:p>
                  </a:txBody>
                  <a:tcPr/>
                </a:tc>
                <a:tc>
                  <a:txBody>
                    <a:bodyPr/>
                    <a:lstStyle/>
                    <a:p>
                      <a:r>
                        <a:rPr lang="en-US" dirty="0"/>
                        <a:t>EDGE</a:t>
                      </a:r>
                    </a:p>
                  </a:txBody>
                  <a:tcPr/>
                </a:tc>
                <a:extLst>
                  <a:ext uri="{0D108BD9-81ED-4DB2-BD59-A6C34878D82A}">
                    <a16:rowId xmlns:a16="http://schemas.microsoft.com/office/drawing/2014/main" val="3414480566"/>
                  </a:ext>
                </a:extLst>
              </a:tr>
            </a:tbl>
          </a:graphicData>
        </a:graphic>
      </p:graphicFrame>
      <p:sp>
        <p:nvSpPr>
          <p:cNvPr id="6" name="Rectangle 5">
            <a:extLst>
              <a:ext uri="{FF2B5EF4-FFF2-40B4-BE49-F238E27FC236}">
                <a16:creationId xmlns:a16="http://schemas.microsoft.com/office/drawing/2014/main" id="{4B04D43F-34FC-4BBA-BB68-20DBB3818B8E}"/>
              </a:ext>
            </a:extLst>
          </p:cNvPr>
          <p:cNvSpPr/>
          <p:nvPr/>
        </p:nvSpPr>
        <p:spPr>
          <a:xfrm>
            <a:off x="5358734" y="5022464"/>
            <a:ext cx="6937744" cy="1815882"/>
          </a:xfrm>
          <a:prstGeom prst="rect">
            <a:avLst/>
          </a:prstGeom>
        </p:spPr>
        <p:txBody>
          <a:bodyPr wrap="square">
            <a:spAutoFit/>
          </a:bodyPr>
          <a:lstStyle/>
          <a:p>
            <a:r>
              <a:rPr lang="en-US" sz="1600" dirty="0">
                <a:latin typeface="Consolas" panose="020B0609020204030204" pitchFamily="49" charset="0"/>
              </a:rPr>
              <a:t>-- Find Restaurants that John's friends like</a:t>
            </a:r>
          </a:p>
          <a:p>
            <a:r>
              <a:rPr lang="en-US" sz="1600" dirty="0">
                <a:latin typeface="Consolas" panose="020B0609020204030204" pitchFamily="49" charset="0"/>
              </a:rPr>
              <a:t>SELECT Restaurant.name </a:t>
            </a:r>
          </a:p>
          <a:p>
            <a:r>
              <a:rPr lang="en-US" sz="1600" dirty="0">
                <a:latin typeface="Consolas" panose="020B0609020204030204" pitchFamily="49" charset="0"/>
              </a:rPr>
              <a:t>FROM Person person1, Person person2, likes, friendOf, Restaurant </a:t>
            </a:r>
          </a:p>
          <a:p>
            <a:r>
              <a:rPr lang="en-US" sz="1600" dirty="0">
                <a:latin typeface="Consolas" panose="020B0609020204030204" pitchFamily="49" charset="0"/>
              </a:rPr>
              <a:t>WHERE MATCH(person1-(friendOf)-&gt;person2-(likes)-&gt;Restaurant) </a:t>
            </a:r>
          </a:p>
          <a:p>
            <a:r>
              <a:rPr lang="en-US" sz="1600" dirty="0">
                <a:latin typeface="Consolas" panose="020B0609020204030204" pitchFamily="49" charset="0"/>
              </a:rPr>
              <a:t>AND person1.name='John'; </a:t>
            </a:r>
            <a:br>
              <a:rPr lang="en-US" sz="1600" dirty="0"/>
            </a:br>
            <a:endParaRPr lang="en-US" sz="1600" dirty="0"/>
          </a:p>
        </p:txBody>
      </p:sp>
      <p:sp>
        <p:nvSpPr>
          <p:cNvPr id="7" name="Thought Bubble: Cloud 6">
            <a:extLst>
              <a:ext uri="{FF2B5EF4-FFF2-40B4-BE49-F238E27FC236}">
                <a16:creationId xmlns:a16="http://schemas.microsoft.com/office/drawing/2014/main" id="{658EF6B3-37F2-4519-870E-729A0F35E41C}"/>
              </a:ext>
            </a:extLst>
          </p:cNvPr>
          <p:cNvSpPr/>
          <p:nvPr/>
        </p:nvSpPr>
        <p:spPr bwMode="auto">
          <a:xfrm>
            <a:off x="5680882" y="1325119"/>
            <a:ext cx="2209800" cy="1371600"/>
          </a:xfrm>
          <a:prstGeom prst="cloudCallout">
            <a:avLst>
              <a:gd name="adj1" fmla="val 63850"/>
              <a:gd name="adj2" fmla="val -46802"/>
            </a:avLst>
          </a:prstGeom>
          <a:solidFill>
            <a:schemeClr val="accent1">
              <a:lumMod val="50000"/>
            </a:schemeClr>
          </a:solidFill>
          <a:ln>
            <a:noFill/>
            <a:headEnd type="none" w="med" len="med"/>
            <a:tailEnd type="none" w="med" len="med"/>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Try the </a:t>
            </a:r>
            <a:r>
              <a:rPr lang="en-US" sz="2400" dirty="0">
                <a:gradFill>
                  <a:gsLst>
                    <a:gs pos="0">
                      <a:srgbClr val="FFFFFF"/>
                    </a:gs>
                    <a:gs pos="100000">
                      <a:srgbClr val="FFFFFF"/>
                    </a:gs>
                  </a:gsLst>
                  <a:lin ang="5400000" scaled="0"/>
                </a:gradFill>
                <a:ea typeface="Segoe UI" pitchFamily="34" charset="0"/>
                <a:cs typeface="Segoe UI" pitchFamily="34" charset="0"/>
                <a:hlinkClick r:id="rId3"/>
              </a:rPr>
              <a:t>sample</a:t>
            </a: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D32A63A4-2E3E-4DCC-95EE-FAC836A429ED}"/>
              </a:ext>
            </a:extLst>
          </p:cNvPr>
          <p:cNvSpPr/>
          <p:nvPr/>
        </p:nvSpPr>
        <p:spPr>
          <a:xfrm>
            <a:off x="5358734" y="3836471"/>
            <a:ext cx="4224233" cy="338554"/>
          </a:xfrm>
          <a:prstGeom prst="rect">
            <a:avLst/>
          </a:prstGeom>
        </p:spPr>
        <p:txBody>
          <a:bodyPr wrap="none">
            <a:spAutoFit/>
          </a:bodyPr>
          <a:lstStyle/>
          <a:p>
            <a:r>
              <a:rPr lang="en-US" sz="1600" dirty="0">
                <a:latin typeface="Consolas" panose="020B0609020204030204" pitchFamily="49" charset="0"/>
              </a:rPr>
              <a:t>INSERT INTO Person VALUES (1,'John')</a:t>
            </a:r>
            <a:endParaRPr lang="en-US" sz="1600" dirty="0"/>
          </a:p>
        </p:txBody>
      </p:sp>
      <p:sp>
        <p:nvSpPr>
          <p:cNvPr id="9" name="Rectangle 8">
            <a:extLst>
              <a:ext uri="{FF2B5EF4-FFF2-40B4-BE49-F238E27FC236}">
                <a16:creationId xmlns:a16="http://schemas.microsoft.com/office/drawing/2014/main" id="{D406E5CB-7134-4797-9FE1-BAB6E8E852AE}"/>
              </a:ext>
            </a:extLst>
          </p:cNvPr>
          <p:cNvSpPr/>
          <p:nvPr/>
        </p:nvSpPr>
        <p:spPr>
          <a:xfrm>
            <a:off x="5333704" y="4224081"/>
            <a:ext cx="6962774" cy="584775"/>
          </a:xfrm>
          <a:prstGeom prst="rect">
            <a:avLst/>
          </a:prstGeom>
        </p:spPr>
        <p:txBody>
          <a:bodyPr wrap="square">
            <a:spAutoFit/>
          </a:bodyPr>
          <a:lstStyle/>
          <a:p>
            <a:r>
              <a:rPr lang="en-US" sz="1600" dirty="0">
                <a:latin typeface="Consolas" panose="020B0609020204030204" pitchFamily="49" charset="0"/>
              </a:rPr>
              <a:t>INSERT INTO likes VALUES ((SELECT $node_id FROM Person WHERE id = 1), (SELECT $node_id FROM Restaurant WHERE id = 1),9);</a:t>
            </a:r>
            <a:endParaRPr lang="en-US" sz="1600" dirty="0"/>
          </a:p>
        </p:txBody>
      </p:sp>
      <p:sp>
        <p:nvSpPr>
          <p:cNvPr id="10" name="Rectangle 9">
            <a:extLst>
              <a:ext uri="{FF2B5EF4-FFF2-40B4-BE49-F238E27FC236}">
                <a16:creationId xmlns:a16="http://schemas.microsoft.com/office/drawing/2014/main" id="{331FF703-5649-4484-9A01-F8728ABA9618}"/>
              </a:ext>
            </a:extLst>
          </p:cNvPr>
          <p:cNvSpPr/>
          <p:nvPr/>
        </p:nvSpPr>
        <p:spPr bwMode="auto">
          <a:xfrm>
            <a:off x="6094539" y="6069238"/>
            <a:ext cx="6069664" cy="247424"/>
          </a:xfrm>
          <a:prstGeom prst="rect">
            <a:avLst/>
          </a:prstGeom>
          <a:noFill/>
          <a:ln>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a:extLst>
              <a:ext uri="{FF2B5EF4-FFF2-40B4-BE49-F238E27FC236}">
                <a16:creationId xmlns:a16="http://schemas.microsoft.com/office/drawing/2014/main" id="{C8AAF447-092F-4489-823C-B797B4BA7192}"/>
              </a:ext>
            </a:extLst>
          </p:cNvPr>
          <p:cNvSpPr txBox="1"/>
          <p:nvPr/>
        </p:nvSpPr>
        <p:spPr>
          <a:xfrm>
            <a:off x="557211" y="5399475"/>
            <a:ext cx="1860253"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SQL Server 2019</a:t>
            </a:r>
          </a:p>
        </p:txBody>
      </p:sp>
      <p:sp>
        <p:nvSpPr>
          <p:cNvPr id="12" name="TextBox 11">
            <a:extLst>
              <a:ext uri="{FF2B5EF4-FFF2-40B4-BE49-F238E27FC236}">
                <a16:creationId xmlns:a16="http://schemas.microsoft.com/office/drawing/2014/main" id="{5FEFF80A-F35E-4FAE-85F1-66F84E9F430F}"/>
              </a:ext>
            </a:extLst>
          </p:cNvPr>
          <p:cNvSpPr txBox="1"/>
          <p:nvPr/>
        </p:nvSpPr>
        <p:spPr>
          <a:xfrm>
            <a:off x="573741" y="5800078"/>
            <a:ext cx="3391458" cy="923330"/>
          </a:xfrm>
          <a:prstGeom prst="rect">
            <a:avLst/>
          </a:prstGeom>
          <a:noFill/>
        </p:spPr>
        <p:txBody>
          <a:bodyPr wrap="square" lIns="0" tIns="0" rIns="0" bIns="0" rtlCol="0">
            <a:spAutoFit/>
          </a:bodyPr>
          <a:lstStyle/>
          <a:p>
            <a:pPr marL="457200" indent="-457200" algn="l">
              <a:buFont typeface="Arial" panose="020B0604020202020204" pitchFamily="34" charset="0"/>
              <a:buChar char="•"/>
            </a:pPr>
            <a:r>
              <a:rPr lang="en-US" sz="2000" dirty="0">
                <a:gradFill>
                  <a:gsLst>
                    <a:gs pos="2917">
                      <a:schemeClr val="tx1"/>
                    </a:gs>
                    <a:gs pos="30000">
                      <a:schemeClr val="tx1"/>
                    </a:gs>
                  </a:gsLst>
                  <a:lin ang="5400000" scaled="0"/>
                </a:gradFill>
              </a:rPr>
              <a:t>Derived tables and views</a:t>
            </a:r>
          </a:p>
          <a:p>
            <a:pPr marL="457200" indent="-457200" algn="l">
              <a:buFont typeface="Arial" panose="020B0604020202020204" pitchFamily="34" charset="0"/>
              <a:buChar char="•"/>
            </a:pPr>
            <a:r>
              <a:rPr lang="en-US" sz="2000" dirty="0">
                <a:gradFill>
                  <a:gsLst>
                    <a:gs pos="2917">
                      <a:schemeClr val="tx1"/>
                    </a:gs>
                    <a:gs pos="30000">
                      <a:schemeClr val="tx1"/>
                    </a:gs>
                  </a:gsLst>
                  <a:lin ang="5400000" scaled="0"/>
                </a:gradFill>
              </a:rPr>
              <a:t>Match support for MERGE</a:t>
            </a:r>
          </a:p>
          <a:p>
            <a:pPr marL="457200" indent="-457200" algn="l">
              <a:buFont typeface="Arial" panose="020B0604020202020204" pitchFamily="34" charset="0"/>
              <a:buChar char="•"/>
            </a:pPr>
            <a:r>
              <a:rPr lang="en-US" sz="2000" dirty="0">
                <a:gradFill>
                  <a:gsLst>
                    <a:gs pos="2917">
                      <a:schemeClr val="tx1"/>
                    </a:gs>
                    <a:gs pos="30000">
                      <a:schemeClr val="tx1"/>
                    </a:gs>
                  </a:gsLst>
                  <a:lin ang="5400000" scaled="0"/>
                </a:gradFill>
              </a:rPr>
              <a:t>Edge Constraints</a:t>
            </a:r>
          </a:p>
        </p:txBody>
      </p:sp>
      <p:sp>
        <p:nvSpPr>
          <p:cNvPr id="13" name="Text Placeholder 2">
            <a:extLst>
              <a:ext uri="{FF2B5EF4-FFF2-40B4-BE49-F238E27FC236}">
                <a16:creationId xmlns:a16="http://schemas.microsoft.com/office/drawing/2014/main" id="{38614559-E1E3-4AD6-BF8B-60491B08DCDA}"/>
              </a:ext>
            </a:extLst>
          </p:cNvPr>
          <p:cNvSpPr txBox="1">
            <a:spLocks/>
          </p:cNvSpPr>
          <p:nvPr/>
        </p:nvSpPr>
        <p:spPr>
          <a:xfrm>
            <a:off x="460113" y="973994"/>
            <a:ext cx="4873591" cy="1113125"/>
          </a:xfrm>
          <a:prstGeom prst="rect">
            <a:avLst/>
          </a:prstGeom>
          <a:solidFill>
            <a:schemeClr val="bg1">
              <a:lumMod val="85000"/>
            </a:schemeClr>
          </a:solidFill>
        </p:spPr>
        <p:txBody>
          <a:bodyPr vert="horz" wrap="square" lIns="0" tIns="0" rIns="0" bIns="0" rtlCol="0">
            <a:spAutoFit/>
          </a:bodyPr>
          <a:lstStyle>
            <a:lvl1pPr marL="228600" marR="0" indent="-228600" algn="l" defTabSz="932742" rtl="0" eaLnBrk="1" fontAlgn="auto" latinLnBrk="0" hangingPunct="1">
              <a:lnSpc>
                <a:spcPct val="100000"/>
              </a:lnSpc>
              <a:spcBef>
                <a:spcPts val="1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2400" b="1" dirty="0"/>
              <a:t>The problem</a:t>
            </a:r>
          </a:p>
          <a:p>
            <a:pPr marL="0" indent="0">
              <a:buFont typeface="Wingdings" panose="05000000000000000000" pitchFamily="2" charset="2"/>
              <a:buNone/>
            </a:pPr>
            <a:r>
              <a:rPr lang="en-US" dirty="0"/>
              <a:t>My data is modeled like a graph but T-SQL doesn’t naturally support that</a:t>
            </a:r>
          </a:p>
        </p:txBody>
      </p:sp>
    </p:spTree>
    <p:extLst>
      <p:ext uri="{BB962C8B-B14F-4D97-AF65-F5344CB8AC3E}">
        <p14:creationId xmlns:p14="http://schemas.microsoft.com/office/powerpoint/2010/main" val="34772075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animBg="1"/>
      <p:bldP spid="8" grpId="0"/>
      <p:bldP spid="9" grpId="0"/>
      <p:bldP spid="10" grpId="0" animBg="1"/>
      <p:bldP spid="11" grpId="0"/>
      <p:bldP spid="12"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C60B96-D19E-44AB-B183-5605F170FB0A}"/>
              </a:ext>
            </a:extLst>
          </p:cNvPr>
          <p:cNvSpPr>
            <a:spLocks noGrp="1"/>
          </p:cNvSpPr>
          <p:nvPr>
            <p:ph type="title"/>
          </p:nvPr>
        </p:nvSpPr>
        <p:spPr>
          <a:xfrm>
            <a:off x="171679" y="229799"/>
            <a:ext cx="4812915" cy="553998"/>
          </a:xfrm>
        </p:spPr>
        <p:txBody>
          <a:bodyPr/>
          <a:lstStyle/>
          <a:p>
            <a:r>
              <a:rPr lang="en-US" dirty="0"/>
              <a:t>SQL Server Extensibility</a:t>
            </a:r>
          </a:p>
        </p:txBody>
      </p:sp>
      <p:sp>
        <p:nvSpPr>
          <p:cNvPr id="5" name="Rectangle 4">
            <a:extLst>
              <a:ext uri="{FF2B5EF4-FFF2-40B4-BE49-F238E27FC236}">
                <a16:creationId xmlns:a16="http://schemas.microsoft.com/office/drawing/2014/main" id="{DC8C3A60-7C7A-4039-A048-48502A1C52E1}"/>
              </a:ext>
            </a:extLst>
          </p:cNvPr>
          <p:cNvSpPr/>
          <p:nvPr/>
        </p:nvSpPr>
        <p:spPr>
          <a:xfrm>
            <a:off x="5659395" y="316866"/>
            <a:ext cx="6227804" cy="6191026"/>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2"/>
              </a:solidFill>
              <a:effectLst/>
              <a:uLnTx/>
              <a:uFillTx/>
              <a:latin typeface="Segoe UI"/>
              <a:ea typeface="+mn-ea"/>
              <a:cs typeface="+mn-cs"/>
            </a:endParaRPr>
          </a:p>
        </p:txBody>
      </p:sp>
      <p:cxnSp>
        <p:nvCxnSpPr>
          <p:cNvPr id="6" name="Connector: Elbow 5">
            <a:extLst>
              <a:ext uri="{FF2B5EF4-FFF2-40B4-BE49-F238E27FC236}">
                <a16:creationId xmlns:a16="http://schemas.microsoft.com/office/drawing/2014/main" id="{E3166F12-3569-4E9B-91A0-469766B3A507}"/>
              </a:ext>
            </a:extLst>
          </p:cNvPr>
          <p:cNvCxnSpPr>
            <a:cxnSpLocks/>
          </p:cNvCxnSpPr>
          <p:nvPr/>
        </p:nvCxnSpPr>
        <p:spPr>
          <a:xfrm rot="10800000">
            <a:off x="6303811" y="3229606"/>
            <a:ext cx="1232978" cy="191149"/>
          </a:xfrm>
          <a:prstGeom prst="bentConnector2">
            <a:avLst/>
          </a:prstGeom>
          <a:ln w="12700">
            <a:solidFill>
              <a:srgbClr val="0078D7"/>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4F849EEC-3606-4200-8F7C-4DD34B3A6FAA}"/>
              </a:ext>
            </a:extLst>
          </p:cNvPr>
          <p:cNvSpPr txBox="1"/>
          <p:nvPr/>
        </p:nvSpPr>
        <p:spPr>
          <a:xfrm>
            <a:off x="6458561" y="3499595"/>
            <a:ext cx="821549" cy="153888"/>
          </a:xfrm>
          <a:prstGeom prst="rect">
            <a:avLst/>
          </a:prstGeom>
          <a:noFill/>
        </p:spPr>
        <p:txBody>
          <a:bodyPr wrap="square" lIns="0" tIns="0" rIns="0" bIns="0" rtlCol="0">
            <a:spAutoFit/>
          </a:bodyPr>
          <a:lstStyle/>
          <a:p>
            <a:pPr algn="ctr"/>
            <a:r>
              <a:rPr lang="en-US" sz="1000" dirty="0">
                <a:gradFill>
                  <a:gsLst>
                    <a:gs pos="2917">
                      <a:schemeClr val="tx1"/>
                    </a:gs>
                    <a:gs pos="30000">
                      <a:schemeClr val="tx1"/>
                    </a:gs>
                  </a:gsLst>
                  <a:lin ang="5400000" scaled="0"/>
                </a:gradFill>
                <a:latin typeface="+mj-lt"/>
              </a:rPr>
              <a:t>T-SQL</a:t>
            </a:r>
          </a:p>
        </p:txBody>
      </p:sp>
      <p:sp>
        <p:nvSpPr>
          <p:cNvPr id="8" name="TextBox 7">
            <a:extLst>
              <a:ext uri="{FF2B5EF4-FFF2-40B4-BE49-F238E27FC236}">
                <a16:creationId xmlns:a16="http://schemas.microsoft.com/office/drawing/2014/main" id="{E364CB98-E470-4ABE-B0D4-4194397FE588}"/>
              </a:ext>
            </a:extLst>
          </p:cNvPr>
          <p:cNvSpPr txBox="1"/>
          <p:nvPr/>
        </p:nvSpPr>
        <p:spPr>
          <a:xfrm>
            <a:off x="8811773" y="3474048"/>
            <a:ext cx="1120617" cy="461665"/>
          </a:xfrm>
          <a:prstGeom prst="rect">
            <a:avLst/>
          </a:prstGeom>
          <a:noFill/>
        </p:spPr>
        <p:txBody>
          <a:bodyPr wrap="square" lIns="0" tIns="0" rIns="0" bIns="0" rtlCol="0">
            <a:spAutoFit/>
          </a:bodyPr>
          <a:lstStyle/>
          <a:p>
            <a:pPr algn="ctr"/>
            <a:r>
              <a:rPr lang="en-US" sz="1000" dirty="0">
                <a:gradFill>
                  <a:gsLst>
                    <a:gs pos="2917">
                      <a:schemeClr val="tx1"/>
                    </a:gs>
                    <a:gs pos="30000">
                      <a:schemeClr val="tx1"/>
                    </a:gs>
                  </a:gsLst>
                  <a:lin ang="5400000" scaled="0"/>
                </a:gradFill>
                <a:latin typeface="+mj-lt"/>
              </a:rPr>
              <a:t>Direct communications for performance</a:t>
            </a:r>
          </a:p>
        </p:txBody>
      </p:sp>
      <p:sp>
        <p:nvSpPr>
          <p:cNvPr id="9" name="TextBox 8">
            <a:extLst>
              <a:ext uri="{FF2B5EF4-FFF2-40B4-BE49-F238E27FC236}">
                <a16:creationId xmlns:a16="http://schemas.microsoft.com/office/drawing/2014/main" id="{F29B871B-19A6-4426-8131-BCE82AACC940}"/>
              </a:ext>
            </a:extLst>
          </p:cNvPr>
          <p:cNvSpPr txBox="1"/>
          <p:nvPr/>
        </p:nvSpPr>
        <p:spPr>
          <a:xfrm>
            <a:off x="10069156" y="1871993"/>
            <a:ext cx="1260883" cy="153888"/>
          </a:xfrm>
          <a:prstGeom prst="rect">
            <a:avLst/>
          </a:prstGeom>
          <a:noFill/>
        </p:spPr>
        <p:txBody>
          <a:bodyPr wrap="square" lIns="0" tIns="0" rIns="0" bIns="0" rtlCol="0">
            <a:spAutoFit/>
          </a:bodyPr>
          <a:lstStyle/>
          <a:p>
            <a:pPr algn="ctr"/>
            <a:r>
              <a:rPr lang="en-US" sz="1000" dirty="0">
                <a:gradFill>
                  <a:gsLst>
                    <a:gs pos="2917">
                      <a:schemeClr val="tx1"/>
                    </a:gs>
                    <a:gs pos="30000">
                      <a:schemeClr val="tx1"/>
                    </a:gs>
                  </a:gsLst>
                  <a:lin ang="5400000" scaled="0"/>
                </a:gradFill>
                <a:latin typeface="+mj-lt"/>
              </a:rPr>
              <a:t>Satellite</a:t>
            </a:r>
          </a:p>
        </p:txBody>
      </p:sp>
      <p:cxnSp>
        <p:nvCxnSpPr>
          <p:cNvPr id="10" name="Connector: Elbow 9">
            <a:extLst>
              <a:ext uri="{FF2B5EF4-FFF2-40B4-BE49-F238E27FC236}">
                <a16:creationId xmlns:a16="http://schemas.microsoft.com/office/drawing/2014/main" id="{DAFFE7D5-4DB7-4297-8568-DC7F54660B43}"/>
              </a:ext>
            </a:extLst>
          </p:cNvPr>
          <p:cNvCxnSpPr>
            <a:cxnSpLocks/>
          </p:cNvCxnSpPr>
          <p:nvPr/>
        </p:nvCxnSpPr>
        <p:spPr>
          <a:xfrm rot="10800000">
            <a:off x="8097098" y="4135942"/>
            <a:ext cx="560308" cy="866578"/>
          </a:xfrm>
          <a:prstGeom prst="bentConnector2">
            <a:avLst/>
          </a:prstGeom>
          <a:ln w="12700">
            <a:solidFill>
              <a:srgbClr val="0078D7"/>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1" name="Connector: Elbow 10">
            <a:extLst>
              <a:ext uri="{FF2B5EF4-FFF2-40B4-BE49-F238E27FC236}">
                <a16:creationId xmlns:a16="http://schemas.microsoft.com/office/drawing/2014/main" id="{6B3E3B6A-A676-49C9-B440-5C586392E8F6}"/>
              </a:ext>
            </a:extLst>
          </p:cNvPr>
          <p:cNvCxnSpPr>
            <a:cxnSpLocks/>
            <a:endCxn id="36" idx="2"/>
          </p:cNvCxnSpPr>
          <p:nvPr/>
        </p:nvCxnSpPr>
        <p:spPr>
          <a:xfrm flipV="1">
            <a:off x="9381801" y="4670327"/>
            <a:ext cx="1345125" cy="341111"/>
          </a:xfrm>
          <a:prstGeom prst="bentConnector2">
            <a:avLst/>
          </a:prstGeom>
          <a:ln w="12700">
            <a:solidFill>
              <a:srgbClr val="0078D7"/>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FF028D60-39A9-4AF1-885A-78748BA5DCED}"/>
              </a:ext>
            </a:extLst>
          </p:cNvPr>
          <p:cNvSpPr/>
          <p:nvPr/>
        </p:nvSpPr>
        <p:spPr bwMode="auto">
          <a:xfrm>
            <a:off x="6674376" y="713650"/>
            <a:ext cx="3523041" cy="215444"/>
          </a:xfrm>
          <a:prstGeom prst="rect">
            <a:avLst/>
          </a:prstGeom>
          <a:noFill/>
          <a:ln w="3810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4363">
              <a:defRPr/>
            </a:pPr>
            <a:r>
              <a:rPr lang="en-US" sz="1400" b="1" kern="0" dirty="0">
                <a:ln>
                  <a:solidFill>
                    <a:srgbClr val="FFFFFF">
                      <a:alpha val="0"/>
                    </a:srgbClr>
                  </a:solidFill>
                </a:ln>
                <a:solidFill>
                  <a:srgbClr val="0078D7"/>
                </a:solidFill>
                <a:latin typeface="Segoe UI Semibold" charset="0"/>
                <a:ea typeface="Segoe UI Semibold" charset="0"/>
                <a:cs typeface="Segoe UI Semibold" charset="0"/>
              </a:rPr>
              <a:t>Extend T-SQL with R, Python, and Java</a:t>
            </a:r>
          </a:p>
        </p:txBody>
      </p:sp>
      <p:sp>
        <p:nvSpPr>
          <p:cNvPr id="13" name="Freeform: Shape 829">
            <a:extLst>
              <a:ext uri="{FF2B5EF4-FFF2-40B4-BE49-F238E27FC236}">
                <a16:creationId xmlns:a16="http://schemas.microsoft.com/office/drawing/2014/main" id="{562A4A57-1145-49B4-AB27-0AC5DF1C8497}"/>
              </a:ext>
            </a:extLst>
          </p:cNvPr>
          <p:cNvSpPr/>
          <p:nvPr/>
        </p:nvSpPr>
        <p:spPr bwMode="auto">
          <a:xfrm>
            <a:off x="7686854" y="2789318"/>
            <a:ext cx="782406" cy="1008684"/>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solidFill>
            <a:srgbClr val="2F78D0"/>
          </a:solidFill>
          <a:ln w="12700">
            <a:solidFill>
              <a:srgbClr val="02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a:p>
            <a:pPr lvl="0" algn="ctr" defTabSz="932472" fontAlgn="base">
              <a:spcBef>
                <a:spcPct val="0"/>
              </a:spcBef>
              <a:spcAft>
                <a:spcPct val="0"/>
              </a:spcAft>
            </a:pPr>
            <a:r>
              <a:rPr lang="en-US" sz="1000" b="1" dirty="0">
                <a:solidFill>
                  <a:srgbClr val="50E6FF"/>
                </a:solidFill>
              </a:rPr>
              <a:t>SQL Server</a:t>
            </a:r>
          </a:p>
        </p:txBody>
      </p:sp>
      <p:grpSp>
        <p:nvGrpSpPr>
          <p:cNvPr id="14" name="Group 13">
            <a:extLst>
              <a:ext uri="{FF2B5EF4-FFF2-40B4-BE49-F238E27FC236}">
                <a16:creationId xmlns:a16="http://schemas.microsoft.com/office/drawing/2014/main" id="{BDFDCDC4-CE40-4579-9AD9-0F4F7ECD4F86}"/>
              </a:ext>
            </a:extLst>
          </p:cNvPr>
          <p:cNvGrpSpPr/>
          <p:nvPr/>
        </p:nvGrpSpPr>
        <p:grpSpPr>
          <a:xfrm>
            <a:off x="5942460" y="2496065"/>
            <a:ext cx="650980" cy="630708"/>
            <a:chOff x="7157554" y="1735934"/>
            <a:chExt cx="397423" cy="398542"/>
          </a:xfrm>
        </p:grpSpPr>
        <p:grpSp>
          <p:nvGrpSpPr>
            <p:cNvPr id="15" name="Group 14">
              <a:extLst>
                <a:ext uri="{FF2B5EF4-FFF2-40B4-BE49-F238E27FC236}">
                  <a16:creationId xmlns:a16="http://schemas.microsoft.com/office/drawing/2014/main" id="{9F7679FC-BE66-437C-8089-87997D84644A}"/>
                </a:ext>
              </a:extLst>
            </p:cNvPr>
            <p:cNvGrpSpPr/>
            <p:nvPr/>
          </p:nvGrpSpPr>
          <p:grpSpPr>
            <a:xfrm>
              <a:off x="7157554" y="1735934"/>
              <a:ext cx="397423" cy="398542"/>
              <a:chOff x="2107244" y="1575258"/>
              <a:chExt cx="310993" cy="264555"/>
            </a:xfrm>
            <a:solidFill>
              <a:srgbClr val="0078D7"/>
            </a:solidFill>
          </p:grpSpPr>
          <p:sp>
            <p:nvSpPr>
              <p:cNvPr id="20" name="Rectangle 9">
                <a:extLst>
                  <a:ext uri="{FF2B5EF4-FFF2-40B4-BE49-F238E27FC236}">
                    <a16:creationId xmlns:a16="http://schemas.microsoft.com/office/drawing/2014/main" id="{FE195020-D62F-413A-9D3F-129AE6365569}"/>
                  </a:ext>
                </a:extLst>
              </p:cNvPr>
              <p:cNvSpPr>
                <a:spLocks noChangeArrowheads="1"/>
              </p:cNvSpPr>
              <p:nvPr/>
            </p:nvSpPr>
            <p:spPr bwMode="auto">
              <a:xfrm>
                <a:off x="2107244" y="1575258"/>
                <a:ext cx="310993" cy="264555"/>
              </a:xfrm>
              <a:prstGeom prst="rect">
                <a:avLst/>
              </a:prstGeom>
              <a:grp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sp>
            <p:nvSpPr>
              <p:cNvPr id="21" name="Line 10">
                <a:extLst>
                  <a:ext uri="{FF2B5EF4-FFF2-40B4-BE49-F238E27FC236}">
                    <a16:creationId xmlns:a16="http://schemas.microsoft.com/office/drawing/2014/main" id="{163610DF-1A7E-4A5A-AA98-2ECF1B7D643C}"/>
                  </a:ext>
                </a:extLst>
              </p:cNvPr>
              <p:cNvSpPr>
                <a:spLocks noChangeShapeType="1"/>
              </p:cNvSpPr>
              <p:nvPr/>
            </p:nvSpPr>
            <p:spPr bwMode="auto">
              <a:xfrm flipH="1">
                <a:off x="2107244" y="1647026"/>
                <a:ext cx="310993" cy="0"/>
              </a:xfrm>
              <a:prstGeom prst="line">
                <a:avLst/>
              </a:prstGeom>
              <a:grpFill/>
              <a:ln w="1905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grpSp>
        <p:grpSp>
          <p:nvGrpSpPr>
            <p:cNvPr id="16" name="Group 15">
              <a:extLst>
                <a:ext uri="{FF2B5EF4-FFF2-40B4-BE49-F238E27FC236}">
                  <a16:creationId xmlns:a16="http://schemas.microsoft.com/office/drawing/2014/main" id="{0CC9994B-5944-4581-A3A9-91DB4298E257}"/>
                </a:ext>
              </a:extLst>
            </p:cNvPr>
            <p:cNvGrpSpPr/>
            <p:nvPr/>
          </p:nvGrpSpPr>
          <p:grpSpPr>
            <a:xfrm>
              <a:off x="7264761" y="1903738"/>
              <a:ext cx="191394" cy="180132"/>
              <a:chOff x="2202934" y="1701907"/>
              <a:chExt cx="95690" cy="90061"/>
            </a:xfrm>
            <a:solidFill>
              <a:srgbClr val="50E6FF"/>
            </a:solidFill>
          </p:grpSpPr>
          <p:sp>
            <p:nvSpPr>
              <p:cNvPr id="18" name="Freeform 14">
                <a:extLst>
                  <a:ext uri="{FF2B5EF4-FFF2-40B4-BE49-F238E27FC236}">
                    <a16:creationId xmlns:a16="http://schemas.microsoft.com/office/drawing/2014/main" id="{730FDD7F-FB8E-47E4-A484-F1401EEB3F44}"/>
                  </a:ext>
                </a:extLst>
              </p:cNvPr>
              <p:cNvSpPr>
                <a:spLocks/>
              </p:cNvSpPr>
              <p:nvPr/>
            </p:nvSpPr>
            <p:spPr bwMode="auto">
              <a:xfrm>
                <a:off x="2202934"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grpFill/>
              <a:ln w="12700" cap="flat">
                <a:solidFill>
                  <a:srgbClr val="0078D7"/>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19" name="Line 15">
                <a:extLst>
                  <a:ext uri="{FF2B5EF4-FFF2-40B4-BE49-F238E27FC236}">
                    <a16:creationId xmlns:a16="http://schemas.microsoft.com/office/drawing/2014/main" id="{3B5A84BF-F84E-473F-98BF-A45D0E1795D8}"/>
                  </a:ext>
                </a:extLst>
              </p:cNvPr>
              <p:cNvSpPr>
                <a:spLocks noChangeShapeType="1"/>
              </p:cNvSpPr>
              <p:nvPr/>
            </p:nvSpPr>
            <p:spPr bwMode="auto">
              <a:xfrm>
                <a:off x="2253117" y="1755381"/>
                <a:ext cx="0" cy="36587"/>
              </a:xfrm>
              <a:prstGeom prst="line">
                <a:avLst/>
              </a:prstGeom>
              <a:grpFill/>
              <a:ln w="12700" cap="flat">
                <a:solidFill>
                  <a:srgbClr val="0078D7"/>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sp>
          <p:nvSpPr>
            <p:cNvPr id="17" name="Oval 16">
              <a:extLst>
                <a:ext uri="{FF2B5EF4-FFF2-40B4-BE49-F238E27FC236}">
                  <a16:creationId xmlns:a16="http://schemas.microsoft.com/office/drawing/2014/main" id="{766F7E5A-6999-41BD-8C40-4A026D40D222}"/>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cxnSp>
        <p:nvCxnSpPr>
          <p:cNvPr id="22" name="Straight Connector 21">
            <a:extLst>
              <a:ext uri="{FF2B5EF4-FFF2-40B4-BE49-F238E27FC236}">
                <a16:creationId xmlns:a16="http://schemas.microsoft.com/office/drawing/2014/main" id="{AA6F71E1-3B65-4978-861E-BB0791C25714}"/>
              </a:ext>
            </a:extLst>
          </p:cNvPr>
          <p:cNvCxnSpPr/>
          <p:nvPr/>
        </p:nvCxnSpPr>
        <p:spPr>
          <a:xfrm>
            <a:off x="8657406" y="3420166"/>
            <a:ext cx="1372090" cy="0"/>
          </a:xfrm>
          <a:prstGeom prst="line">
            <a:avLst/>
          </a:prstGeom>
          <a:ln w="12700">
            <a:solidFill>
              <a:srgbClr val="0078D7"/>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94845056-D33A-42C8-8B27-611611B13CCD}"/>
              </a:ext>
            </a:extLst>
          </p:cNvPr>
          <p:cNvGrpSpPr/>
          <p:nvPr/>
        </p:nvGrpSpPr>
        <p:grpSpPr>
          <a:xfrm>
            <a:off x="8734730" y="4670327"/>
            <a:ext cx="608721" cy="615212"/>
            <a:chOff x="7632206" y="4181475"/>
            <a:chExt cx="1932899" cy="1953509"/>
          </a:xfrm>
        </p:grpSpPr>
        <p:sp>
          <p:nvSpPr>
            <p:cNvPr id="24" name="Rectangle 23">
              <a:extLst>
                <a:ext uri="{FF2B5EF4-FFF2-40B4-BE49-F238E27FC236}">
                  <a16:creationId xmlns:a16="http://schemas.microsoft.com/office/drawing/2014/main" id="{F032838B-D31F-406D-A350-51F8522B2E5C}"/>
                </a:ext>
              </a:extLst>
            </p:cNvPr>
            <p:cNvSpPr/>
            <p:nvPr/>
          </p:nvSpPr>
          <p:spPr bwMode="auto">
            <a:xfrm>
              <a:off x="7632206" y="5983357"/>
              <a:ext cx="1932899" cy="151627"/>
            </a:xfrm>
            <a:prstGeom prst="rect">
              <a:avLst/>
            </a:prstGeom>
            <a:solidFill>
              <a:srgbClr val="0078D7"/>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25" name="Triangle 35">
              <a:extLst>
                <a:ext uri="{FF2B5EF4-FFF2-40B4-BE49-F238E27FC236}">
                  <a16:creationId xmlns:a16="http://schemas.microsoft.com/office/drawing/2014/main" id="{1B29FAA2-A116-483F-9C7A-50EDA8028639}"/>
                </a:ext>
              </a:extLst>
            </p:cNvPr>
            <p:cNvSpPr/>
            <p:nvPr/>
          </p:nvSpPr>
          <p:spPr bwMode="auto">
            <a:xfrm>
              <a:off x="7752522" y="5217903"/>
              <a:ext cx="1024089" cy="765454"/>
            </a:xfrm>
            <a:prstGeom prst="triangle">
              <a:avLst>
                <a:gd name="adj" fmla="val 49234"/>
              </a:avLst>
            </a:prstGeom>
            <a:solidFill>
              <a:srgbClr val="50E6FF"/>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26" name="Triangle 36">
              <a:extLst>
                <a:ext uri="{FF2B5EF4-FFF2-40B4-BE49-F238E27FC236}">
                  <a16:creationId xmlns:a16="http://schemas.microsoft.com/office/drawing/2014/main" id="{8FE4BA08-BD99-4CC0-A95A-F23A27CD5BCC}"/>
                </a:ext>
              </a:extLst>
            </p:cNvPr>
            <p:cNvSpPr/>
            <p:nvPr/>
          </p:nvSpPr>
          <p:spPr bwMode="auto">
            <a:xfrm>
              <a:off x="7990551" y="4181476"/>
              <a:ext cx="548031" cy="609186"/>
            </a:xfrm>
            <a:prstGeom prst="triangle">
              <a:avLst>
                <a:gd name="adj" fmla="val 49234"/>
              </a:avLst>
            </a:prstGeom>
            <a:solidFill>
              <a:srgbClr val="0078D7"/>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27" name="Rectangle 26">
              <a:extLst>
                <a:ext uri="{FF2B5EF4-FFF2-40B4-BE49-F238E27FC236}">
                  <a16:creationId xmlns:a16="http://schemas.microsoft.com/office/drawing/2014/main" id="{5BA40DDC-9888-4864-9CD2-4151432CF7EB}"/>
                </a:ext>
              </a:extLst>
            </p:cNvPr>
            <p:cNvSpPr/>
            <p:nvPr/>
          </p:nvSpPr>
          <p:spPr bwMode="auto">
            <a:xfrm>
              <a:off x="7990551" y="4790662"/>
              <a:ext cx="548031" cy="1192695"/>
            </a:xfrm>
            <a:prstGeom prst="rect">
              <a:avLst/>
            </a:prstGeom>
            <a:solidFill>
              <a:srgbClr val="0078D7"/>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28" name="Oval 27">
              <a:extLst>
                <a:ext uri="{FF2B5EF4-FFF2-40B4-BE49-F238E27FC236}">
                  <a16:creationId xmlns:a16="http://schemas.microsoft.com/office/drawing/2014/main" id="{21B08159-3B05-408B-A1CF-6DE53199FEF3}"/>
                </a:ext>
              </a:extLst>
            </p:cNvPr>
            <p:cNvSpPr/>
            <p:nvPr/>
          </p:nvSpPr>
          <p:spPr bwMode="auto">
            <a:xfrm>
              <a:off x="8195814" y="4928771"/>
              <a:ext cx="137504" cy="137504"/>
            </a:xfrm>
            <a:prstGeom prst="ellipse">
              <a:avLst/>
            </a:prstGeom>
            <a:solidFill>
              <a:srgbClr val="50E6FF"/>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29" name="Oval 28">
              <a:extLst>
                <a:ext uri="{FF2B5EF4-FFF2-40B4-BE49-F238E27FC236}">
                  <a16:creationId xmlns:a16="http://schemas.microsoft.com/office/drawing/2014/main" id="{6DC480F5-F208-45CC-876B-722AC8034D4C}"/>
                </a:ext>
              </a:extLst>
            </p:cNvPr>
            <p:cNvSpPr/>
            <p:nvPr/>
          </p:nvSpPr>
          <p:spPr bwMode="auto">
            <a:xfrm>
              <a:off x="8206905" y="5149151"/>
              <a:ext cx="137504" cy="137504"/>
            </a:xfrm>
            <a:prstGeom prst="ellipse">
              <a:avLst/>
            </a:prstGeom>
            <a:solidFill>
              <a:srgbClr val="50E6FF"/>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30" name="Rectangle 29">
              <a:extLst>
                <a:ext uri="{FF2B5EF4-FFF2-40B4-BE49-F238E27FC236}">
                  <a16:creationId xmlns:a16="http://schemas.microsoft.com/office/drawing/2014/main" id="{7C533772-86DC-4305-AE88-1F5C8BA26CDA}"/>
                </a:ext>
              </a:extLst>
            </p:cNvPr>
            <p:cNvSpPr/>
            <p:nvPr/>
          </p:nvSpPr>
          <p:spPr bwMode="auto">
            <a:xfrm>
              <a:off x="8249516" y="5600630"/>
              <a:ext cx="45719" cy="382727"/>
            </a:xfrm>
            <a:prstGeom prst="rect">
              <a:avLst/>
            </a:prstGeom>
            <a:solidFill>
              <a:srgbClr val="50E6FF"/>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31" name="Rectangle 30">
              <a:extLst>
                <a:ext uri="{FF2B5EF4-FFF2-40B4-BE49-F238E27FC236}">
                  <a16:creationId xmlns:a16="http://schemas.microsoft.com/office/drawing/2014/main" id="{CAE4A692-37B4-4D25-AEFC-E82646A15B3D}"/>
                </a:ext>
              </a:extLst>
            </p:cNvPr>
            <p:cNvSpPr/>
            <p:nvPr/>
          </p:nvSpPr>
          <p:spPr bwMode="auto">
            <a:xfrm>
              <a:off x="8975558" y="4181475"/>
              <a:ext cx="360947" cy="1801881"/>
            </a:xfrm>
            <a:prstGeom prst="rect">
              <a:avLst/>
            </a:prstGeom>
            <a:solidFill>
              <a:srgbClr val="0078D7"/>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32" name="Rectangle 31">
              <a:extLst>
                <a:ext uri="{FF2B5EF4-FFF2-40B4-BE49-F238E27FC236}">
                  <a16:creationId xmlns:a16="http://schemas.microsoft.com/office/drawing/2014/main" id="{E3EEA81E-FEF9-4FEC-B98F-ADB2549E6E7C}"/>
                </a:ext>
              </a:extLst>
            </p:cNvPr>
            <p:cNvSpPr/>
            <p:nvPr/>
          </p:nvSpPr>
          <p:spPr bwMode="auto">
            <a:xfrm>
              <a:off x="8538581" y="4873539"/>
              <a:ext cx="436977" cy="55232"/>
            </a:xfrm>
            <a:prstGeom prst="rect">
              <a:avLst/>
            </a:prstGeom>
            <a:solidFill>
              <a:srgbClr val="0078D7"/>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sp>
        <p:nvSpPr>
          <p:cNvPr id="33" name="TextBox 32">
            <a:extLst>
              <a:ext uri="{FF2B5EF4-FFF2-40B4-BE49-F238E27FC236}">
                <a16:creationId xmlns:a16="http://schemas.microsoft.com/office/drawing/2014/main" id="{DEB5584F-89DE-4556-A750-6FD24046DA6B}"/>
              </a:ext>
            </a:extLst>
          </p:cNvPr>
          <p:cNvSpPr txBox="1"/>
          <p:nvPr/>
        </p:nvSpPr>
        <p:spPr>
          <a:xfrm>
            <a:off x="8487309" y="5347093"/>
            <a:ext cx="1120617" cy="153888"/>
          </a:xfrm>
          <a:prstGeom prst="rect">
            <a:avLst/>
          </a:prstGeom>
          <a:noFill/>
        </p:spPr>
        <p:txBody>
          <a:bodyPr wrap="square" lIns="0" tIns="0" rIns="0" bIns="0" rtlCol="0">
            <a:spAutoFit/>
          </a:bodyPr>
          <a:lstStyle/>
          <a:p>
            <a:pPr algn="ctr"/>
            <a:r>
              <a:rPr lang="en-US" sz="1000" dirty="0">
                <a:gradFill>
                  <a:gsLst>
                    <a:gs pos="2917">
                      <a:schemeClr val="tx1"/>
                    </a:gs>
                    <a:gs pos="30000">
                      <a:schemeClr val="tx1"/>
                    </a:gs>
                  </a:gsLst>
                  <a:lin ang="5400000" scaled="0"/>
                </a:gradFill>
                <a:latin typeface="+mj-lt"/>
              </a:rPr>
              <a:t>Launch pad</a:t>
            </a:r>
          </a:p>
        </p:txBody>
      </p:sp>
      <p:sp>
        <p:nvSpPr>
          <p:cNvPr id="34" name="Rectangle 33">
            <a:extLst>
              <a:ext uri="{FF2B5EF4-FFF2-40B4-BE49-F238E27FC236}">
                <a16:creationId xmlns:a16="http://schemas.microsoft.com/office/drawing/2014/main" id="{49DF0A29-F1BE-41C2-904C-5DEB71645CFD}"/>
              </a:ext>
            </a:extLst>
          </p:cNvPr>
          <p:cNvSpPr/>
          <p:nvPr/>
        </p:nvSpPr>
        <p:spPr bwMode="auto">
          <a:xfrm>
            <a:off x="7429463" y="1572461"/>
            <a:ext cx="4071010" cy="4073427"/>
          </a:xfrm>
          <a:prstGeom prst="rect">
            <a:avLst/>
          </a:prstGeom>
          <a:noFill/>
          <a:ln>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grpSp>
        <p:nvGrpSpPr>
          <p:cNvPr id="35" name="Group 34">
            <a:extLst>
              <a:ext uri="{FF2B5EF4-FFF2-40B4-BE49-F238E27FC236}">
                <a16:creationId xmlns:a16="http://schemas.microsoft.com/office/drawing/2014/main" id="{5C90FB3D-E997-4D4B-8C31-414243E11907}"/>
              </a:ext>
            </a:extLst>
          </p:cNvPr>
          <p:cNvGrpSpPr/>
          <p:nvPr/>
        </p:nvGrpSpPr>
        <p:grpSpPr>
          <a:xfrm>
            <a:off x="10177356" y="2171181"/>
            <a:ext cx="1099140" cy="2499146"/>
            <a:chOff x="10177356" y="2171181"/>
            <a:chExt cx="1099140" cy="2499146"/>
          </a:xfrm>
        </p:grpSpPr>
        <p:sp>
          <p:nvSpPr>
            <p:cNvPr id="36" name="Rectangle 35">
              <a:extLst>
                <a:ext uri="{FF2B5EF4-FFF2-40B4-BE49-F238E27FC236}">
                  <a16:creationId xmlns:a16="http://schemas.microsoft.com/office/drawing/2014/main" id="{BADCDF5D-08BE-48D7-8F01-D1FA2C7A709C}"/>
                </a:ext>
              </a:extLst>
            </p:cNvPr>
            <p:cNvSpPr/>
            <p:nvPr/>
          </p:nvSpPr>
          <p:spPr bwMode="auto">
            <a:xfrm>
              <a:off x="10177356" y="2171181"/>
              <a:ext cx="1099140" cy="2499146"/>
            </a:xfrm>
            <a:prstGeom prst="rect">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7" name="TextBox 36">
              <a:extLst>
                <a:ext uri="{FF2B5EF4-FFF2-40B4-BE49-F238E27FC236}">
                  <a16:creationId xmlns:a16="http://schemas.microsoft.com/office/drawing/2014/main" id="{F80EA812-DC4A-4FB9-A2C8-575BAAF90E91}"/>
                </a:ext>
              </a:extLst>
            </p:cNvPr>
            <p:cNvSpPr txBox="1"/>
            <p:nvPr/>
          </p:nvSpPr>
          <p:spPr>
            <a:xfrm>
              <a:off x="10381667" y="2171181"/>
              <a:ext cx="625346" cy="615553"/>
            </a:xfrm>
            <a:prstGeom prst="rect">
              <a:avLst/>
            </a:prstGeom>
            <a:noFill/>
          </p:spPr>
          <p:txBody>
            <a:bodyPr wrap="square" lIns="0" tIns="0" rIns="0" bIns="0" rtlCol="0">
              <a:spAutoFit/>
            </a:bodyPr>
            <a:lstStyle/>
            <a:p>
              <a:pPr marL="0" marR="0" lvl="0" indent="0" algn="ctr" defTabSz="1218935" rtl="0" eaLnBrk="1" fontAlgn="auto" latinLnBrk="0" hangingPunct="1">
                <a:lnSpc>
                  <a:spcPct val="100000"/>
                </a:lnSpc>
                <a:spcBef>
                  <a:spcPts val="0"/>
                </a:spcBef>
                <a:spcAft>
                  <a:spcPts val="0"/>
                </a:spcAft>
                <a:buClrTx/>
                <a:buSzTx/>
                <a:buFontTx/>
                <a:buNone/>
                <a:tabLst/>
                <a:defRPr/>
              </a:pPr>
              <a:r>
                <a:rPr kumimoji="0" lang="en-US" sz="40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R</a:t>
              </a:r>
            </a:p>
          </p:txBody>
        </p:sp>
        <p:grpSp>
          <p:nvGrpSpPr>
            <p:cNvPr id="38" name="Group 37">
              <a:extLst>
                <a:ext uri="{FF2B5EF4-FFF2-40B4-BE49-F238E27FC236}">
                  <a16:creationId xmlns:a16="http://schemas.microsoft.com/office/drawing/2014/main" id="{C9D51DF7-F64C-42EB-A84B-033AF87D275B}"/>
                </a:ext>
              </a:extLst>
            </p:cNvPr>
            <p:cNvGrpSpPr>
              <a:grpSpLocks noChangeAspect="1"/>
            </p:cNvGrpSpPr>
            <p:nvPr/>
          </p:nvGrpSpPr>
          <p:grpSpPr bwMode="auto">
            <a:xfrm>
              <a:off x="10529493" y="3021911"/>
              <a:ext cx="418209" cy="420053"/>
              <a:chOff x="522" y="2880"/>
              <a:chExt cx="908" cy="912"/>
            </a:xfrm>
            <a:solidFill>
              <a:schemeClr val="accent1"/>
            </a:solidFill>
          </p:grpSpPr>
          <p:sp>
            <p:nvSpPr>
              <p:cNvPr id="42" name="Freeform 5">
                <a:extLst>
                  <a:ext uri="{FF2B5EF4-FFF2-40B4-BE49-F238E27FC236}">
                    <a16:creationId xmlns:a16="http://schemas.microsoft.com/office/drawing/2014/main" id="{9FF672FD-11A1-400F-B503-2B65FF487734}"/>
                  </a:ext>
                </a:extLst>
              </p:cNvPr>
              <p:cNvSpPr>
                <a:spLocks noEditPoints="1"/>
              </p:cNvSpPr>
              <p:nvPr/>
            </p:nvSpPr>
            <p:spPr bwMode="auto">
              <a:xfrm>
                <a:off x="522" y="2880"/>
                <a:ext cx="668" cy="669"/>
              </a:xfrm>
              <a:custGeom>
                <a:avLst/>
                <a:gdLst>
                  <a:gd name="T0" fmla="*/ 223 w 332"/>
                  <a:gd name="T1" fmla="*/ 0 h 332"/>
                  <a:gd name="T2" fmla="*/ 172 w 332"/>
                  <a:gd name="T3" fmla="*/ 4 h 332"/>
                  <a:gd name="T4" fmla="*/ 118 w 332"/>
                  <a:gd name="T5" fmla="*/ 60 h 332"/>
                  <a:gd name="T6" fmla="*/ 118 w 332"/>
                  <a:gd name="T7" fmla="*/ 101 h 332"/>
                  <a:gd name="T8" fmla="*/ 225 w 332"/>
                  <a:gd name="T9" fmla="*/ 101 h 332"/>
                  <a:gd name="T10" fmla="*/ 225 w 332"/>
                  <a:gd name="T11" fmla="*/ 114 h 332"/>
                  <a:gd name="T12" fmla="*/ 118 w 332"/>
                  <a:gd name="T13" fmla="*/ 114 h 332"/>
                  <a:gd name="T14" fmla="*/ 78 w 332"/>
                  <a:gd name="T15" fmla="*/ 114 h 332"/>
                  <a:gd name="T16" fmla="*/ 11 w 332"/>
                  <a:gd name="T17" fmla="*/ 169 h 332"/>
                  <a:gd name="T18" fmla="*/ 11 w 332"/>
                  <a:gd name="T19" fmla="*/ 278 h 332"/>
                  <a:gd name="T20" fmla="*/ 68 w 332"/>
                  <a:gd name="T21" fmla="*/ 332 h 332"/>
                  <a:gd name="T22" fmla="*/ 105 w 332"/>
                  <a:gd name="T23" fmla="*/ 332 h 332"/>
                  <a:gd name="T24" fmla="*/ 105 w 332"/>
                  <a:gd name="T25" fmla="*/ 283 h 332"/>
                  <a:gd name="T26" fmla="*/ 172 w 332"/>
                  <a:gd name="T27" fmla="*/ 216 h 332"/>
                  <a:gd name="T28" fmla="*/ 279 w 332"/>
                  <a:gd name="T29" fmla="*/ 216 h 332"/>
                  <a:gd name="T30" fmla="*/ 332 w 332"/>
                  <a:gd name="T31" fmla="*/ 162 h 332"/>
                  <a:gd name="T32" fmla="*/ 332 w 332"/>
                  <a:gd name="T33" fmla="*/ 60 h 332"/>
                  <a:gd name="T34" fmla="*/ 279 w 332"/>
                  <a:gd name="T35" fmla="*/ 4 h 332"/>
                  <a:gd name="T36" fmla="*/ 223 w 332"/>
                  <a:gd name="T37" fmla="*/ 0 h 332"/>
                  <a:gd name="T38" fmla="*/ 165 w 332"/>
                  <a:gd name="T39" fmla="*/ 33 h 332"/>
                  <a:gd name="T40" fmla="*/ 185 w 332"/>
                  <a:gd name="T41" fmla="*/ 53 h 332"/>
                  <a:gd name="T42" fmla="*/ 165 w 332"/>
                  <a:gd name="T43" fmla="*/ 73 h 332"/>
                  <a:gd name="T44" fmla="*/ 145 w 332"/>
                  <a:gd name="T45" fmla="*/ 53 h 332"/>
                  <a:gd name="T46" fmla="*/ 165 w 332"/>
                  <a:gd name="T47" fmla="*/ 33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2" h="332">
                    <a:moveTo>
                      <a:pt x="223" y="0"/>
                    </a:moveTo>
                    <a:cubicBezTo>
                      <a:pt x="205" y="0"/>
                      <a:pt x="187" y="1"/>
                      <a:pt x="172" y="4"/>
                    </a:cubicBezTo>
                    <a:cubicBezTo>
                      <a:pt x="126" y="12"/>
                      <a:pt x="118" y="29"/>
                      <a:pt x="118" y="60"/>
                    </a:cubicBezTo>
                    <a:cubicBezTo>
                      <a:pt x="118" y="101"/>
                      <a:pt x="118" y="101"/>
                      <a:pt x="118" y="101"/>
                    </a:cubicBezTo>
                    <a:cubicBezTo>
                      <a:pt x="225" y="101"/>
                      <a:pt x="225" y="101"/>
                      <a:pt x="225" y="101"/>
                    </a:cubicBezTo>
                    <a:cubicBezTo>
                      <a:pt x="225" y="114"/>
                      <a:pt x="225" y="114"/>
                      <a:pt x="225" y="114"/>
                    </a:cubicBezTo>
                    <a:cubicBezTo>
                      <a:pt x="118" y="114"/>
                      <a:pt x="118" y="114"/>
                      <a:pt x="118" y="114"/>
                    </a:cubicBezTo>
                    <a:cubicBezTo>
                      <a:pt x="78" y="114"/>
                      <a:pt x="78" y="114"/>
                      <a:pt x="78" y="114"/>
                    </a:cubicBezTo>
                    <a:cubicBezTo>
                      <a:pt x="47" y="114"/>
                      <a:pt x="19" y="133"/>
                      <a:pt x="11" y="169"/>
                    </a:cubicBezTo>
                    <a:cubicBezTo>
                      <a:pt x="1" y="210"/>
                      <a:pt x="0" y="235"/>
                      <a:pt x="11" y="278"/>
                    </a:cubicBezTo>
                    <a:cubicBezTo>
                      <a:pt x="18" y="309"/>
                      <a:pt x="37" y="332"/>
                      <a:pt x="68" y="332"/>
                    </a:cubicBezTo>
                    <a:cubicBezTo>
                      <a:pt x="105" y="332"/>
                      <a:pt x="105" y="332"/>
                      <a:pt x="105" y="332"/>
                    </a:cubicBezTo>
                    <a:cubicBezTo>
                      <a:pt x="105" y="283"/>
                      <a:pt x="105" y="283"/>
                      <a:pt x="105" y="283"/>
                    </a:cubicBezTo>
                    <a:cubicBezTo>
                      <a:pt x="105" y="248"/>
                      <a:pt x="135" y="216"/>
                      <a:pt x="172" y="216"/>
                    </a:cubicBezTo>
                    <a:cubicBezTo>
                      <a:pt x="279" y="216"/>
                      <a:pt x="279" y="216"/>
                      <a:pt x="279" y="216"/>
                    </a:cubicBezTo>
                    <a:cubicBezTo>
                      <a:pt x="309" y="216"/>
                      <a:pt x="332" y="192"/>
                      <a:pt x="332" y="162"/>
                    </a:cubicBezTo>
                    <a:cubicBezTo>
                      <a:pt x="332" y="60"/>
                      <a:pt x="332" y="60"/>
                      <a:pt x="332" y="60"/>
                    </a:cubicBezTo>
                    <a:cubicBezTo>
                      <a:pt x="332" y="31"/>
                      <a:pt x="308" y="9"/>
                      <a:pt x="279" y="4"/>
                    </a:cubicBezTo>
                    <a:cubicBezTo>
                      <a:pt x="260" y="1"/>
                      <a:pt x="241" y="0"/>
                      <a:pt x="223" y="0"/>
                    </a:cubicBezTo>
                    <a:close/>
                    <a:moveTo>
                      <a:pt x="165" y="33"/>
                    </a:moveTo>
                    <a:cubicBezTo>
                      <a:pt x="176" y="33"/>
                      <a:pt x="185" y="42"/>
                      <a:pt x="185" y="53"/>
                    </a:cubicBezTo>
                    <a:cubicBezTo>
                      <a:pt x="185" y="64"/>
                      <a:pt x="176" y="73"/>
                      <a:pt x="165" y="73"/>
                    </a:cubicBezTo>
                    <a:cubicBezTo>
                      <a:pt x="154" y="73"/>
                      <a:pt x="145" y="64"/>
                      <a:pt x="145" y="53"/>
                    </a:cubicBezTo>
                    <a:cubicBezTo>
                      <a:pt x="145" y="42"/>
                      <a:pt x="154" y="33"/>
                      <a:pt x="165"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sp>
            <p:nvSpPr>
              <p:cNvPr id="43" name="Freeform 6">
                <a:extLst>
                  <a:ext uri="{FF2B5EF4-FFF2-40B4-BE49-F238E27FC236}">
                    <a16:creationId xmlns:a16="http://schemas.microsoft.com/office/drawing/2014/main" id="{A2E95845-F7F2-47B2-8CFA-7F6A2B83DDAD}"/>
                  </a:ext>
                </a:extLst>
              </p:cNvPr>
              <p:cNvSpPr>
                <a:spLocks noEditPoints="1"/>
              </p:cNvSpPr>
              <p:nvPr/>
            </p:nvSpPr>
            <p:spPr bwMode="auto">
              <a:xfrm>
                <a:off x="760" y="3110"/>
                <a:ext cx="670" cy="682"/>
              </a:xfrm>
              <a:custGeom>
                <a:avLst/>
                <a:gdLst>
                  <a:gd name="T0" fmla="*/ 228 w 333"/>
                  <a:gd name="T1" fmla="*/ 0 h 339"/>
                  <a:gd name="T2" fmla="*/ 228 w 333"/>
                  <a:gd name="T3" fmla="*/ 48 h 339"/>
                  <a:gd name="T4" fmla="*/ 161 w 333"/>
                  <a:gd name="T5" fmla="*/ 116 h 339"/>
                  <a:gd name="T6" fmla="*/ 54 w 333"/>
                  <a:gd name="T7" fmla="*/ 116 h 339"/>
                  <a:gd name="T8" fmla="*/ 0 w 333"/>
                  <a:gd name="T9" fmla="*/ 170 h 339"/>
                  <a:gd name="T10" fmla="*/ 0 w 333"/>
                  <a:gd name="T11" fmla="*/ 273 h 339"/>
                  <a:gd name="T12" fmla="*/ 54 w 333"/>
                  <a:gd name="T13" fmla="*/ 327 h 339"/>
                  <a:gd name="T14" fmla="*/ 161 w 333"/>
                  <a:gd name="T15" fmla="*/ 327 h 339"/>
                  <a:gd name="T16" fmla="*/ 214 w 333"/>
                  <a:gd name="T17" fmla="*/ 273 h 339"/>
                  <a:gd name="T18" fmla="*/ 214 w 333"/>
                  <a:gd name="T19" fmla="*/ 232 h 339"/>
                  <a:gd name="T20" fmla="*/ 107 w 333"/>
                  <a:gd name="T21" fmla="*/ 232 h 339"/>
                  <a:gd name="T22" fmla="*/ 107 w 333"/>
                  <a:gd name="T23" fmla="*/ 218 h 339"/>
                  <a:gd name="T24" fmla="*/ 214 w 333"/>
                  <a:gd name="T25" fmla="*/ 218 h 339"/>
                  <a:gd name="T26" fmla="*/ 268 w 333"/>
                  <a:gd name="T27" fmla="*/ 218 h 339"/>
                  <a:gd name="T28" fmla="*/ 322 w 333"/>
                  <a:gd name="T29" fmla="*/ 164 h 339"/>
                  <a:gd name="T30" fmla="*/ 322 w 333"/>
                  <a:gd name="T31" fmla="*/ 55 h 339"/>
                  <a:gd name="T32" fmla="*/ 268 w 333"/>
                  <a:gd name="T33" fmla="*/ 0 h 339"/>
                  <a:gd name="T34" fmla="*/ 228 w 333"/>
                  <a:gd name="T35" fmla="*/ 0 h 339"/>
                  <a:gd name="T36" fmla="*/ 167 w 333"/>
                  <a:gd name="T37" fmla="*/ 259 h 339"/>
                  <a:gd name="T38" fmla="*/ 188 w 333"/>
                  <a:gd name="T39" fmla="*/ 279 h 339"/>
                  <a:gd name="T40" fmla="*/ 167 w 333"/>
                  <a:gd name="T41" fmla="*/ 300 h 339"/>
                  <a:gd name="T42" fmla="*/ 147 w 333"/>
                  <a:gd name="T43" fmla="*/ 279 h 339"/>
                  <a:gd name="T44" fmla="*/ 167 w 333"/>
                  <a:gd name="T45" fmla="*/ 259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3" h="339">
                    <a:moveTo>
                      <a:pt x="228" y="0"/>
                    </a:moveTo>
                    <a:cubicBezTo>
                      <a:pt x="228" y="48"/>
                      <a:pt x="228" y="48"/>
                      <a:pt x="228" y="48"/>
                    </a:cubicBezTo>
                    <a:cubicBezTo>
                      <a:pt x="228" y="85"/>
                      <a:pt x="196" y="116"/>
                      <a:pt x="161" y="116"/>
                    </a:cubicBezTo>
                    <a:cubicBezTo>
                      <a:pt x="54" y="116"/>
                      <a:pt x="54" y="116"/>
                      <a:pt x="54" y="116"/>
                    </a:cubicBezTo>
                    <a:cubicBezTo>
                      <a:pt x="24" y="116"/>
                      <a:pt x="0" y="141"/>
                      <a:pt x="0" y="170"/>
                    </a:cubicBezTo>
                    <a:cubicBezTo>
                      <a:pt x="0" y="273"/>
                      <a:pt x="0" y="273"/>
                      <a:pt x="0" y="273"/>
                    </a:cubicBezTo>
                    <a:cubicBezTo>
                      <a:pt x="0" y="302"/>
                      <a:pt x="25" y="319"/>
                      <a:pt x="54" y="327"/>
                    </a:cubicBezTo>
                    <a:cubicBezTo>
                      <a:pt x="88" y="337"/>
                      <a:pt x="120" y="339"/>
                      <a:pt x="161" y="327"/>
                    </a:cubicBezTo>
                    <a:cubicBezTo>
                      <a:pt x="188" y="319"/>
                      <a:pt x="214" y="304"/>
                      <a:pt x="214" y="273"/>
                    </a:cubicBezTo>
                    <a:cubicBezTo>
                      <a:pt x="214" y="232"/>
                      <a:pt x="214" y="232"/>
                      <a:pt x="214" y="232"/>
                    </a:cubicBezTo>
                    <a:cubicBezTo>
                      <a:pt x="107" y="232"/>
                      <a:pt x="107" y="232"/>
                      <a:pt x="107" y="232"/>
                    </a:cubicBezTo>
                    <a:cubicBezTo>
                      <a:pt x="107" y="218"/>
                      <a:pt x="107" y="218"/>
                      <a:pt x="107" y="218"/>
                    </a:cubicBezTo>
                    <a:cubicBezTo>
                      <a:pt x="214" y="218"/>
                      <a:pt x="214" y="218"/>
                      <a:pt x="214" y="218"/>
                    </a:cubicBezTo>
                    <a:cubicBezTo>
                      <a:pt x="268" y="218"/>
                      <a:pt x="268" y="218"/>
                      <a:pt x="268" y="218"/>
                    </a:cubicBezTo>
                    <a:cubicBezTo>
                      <a:pt x="299" y="218"/>
                      <a:pt x="311" y="196"/>
                      <a:pt x="322" y="164"/>
                    </a:cubicBezTo>
                    <a:cubicBezTo>
                      <a:pt x="333" y="130"/>
                      <a:pt x="332" y="98"/>
                      <a:pt x="322" y="55"/>
                    </a:cubicBezTo>
                    <a:cubicBezTo>
                      <a:pt x="314" y="24"/>
                      <a:pt x="299" y="0"/>
                      <a:pt x="268" y="0"/>
                    </a:cubicBezTo>
                    <a:lnTo>
                      <a:pt x="228" y="0"/>
                    </a:lnTo>
                    <a:close/>
                    <a:moveTo>
                      <a:pt x="167" y="259"/>
                    </a:moveTo>
                    <a:cubicBezTo>
                      <a:pt x="179" y="259"/>
                      <a:pt x="188" y="268"/>
                      <a:pt x="188" y="279"/>
                    </a:cubicBezTo>
                    <a:cubicBezTo>
                      <a:pt x="188" y="291"/>
                      <a:pt x="179" y="300"/>
                      <a:pt x="167" y="300"/>
                    </a:cubicBezTo>
                    <a:cubicBezTo>
                      <a:pt x="156" y="300"/>
                      <a:pt x="147" y="291"/>
                      <a:pt x="147" y="279"/>
                    </a:cubicBezTo>
                    <a:cubicBezTo>
                      <a:pt x="147" y="268"/>
                      <a:pt x="156" y="259"/>
                      <a:pt x="167" y="2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grpSp>
        <p:grpSp>
          <p:nvGrpSpPr>
            <p:cNvPr id="39" name="Group 38">
              <a:extLst>
                <a:ext uri="{FF2B5EF4-FFF2-40B4-BE49-F238E27FC236}">
                  <a16:creationId xmlns:a16="http://schemas.microsoft.com/office/drawing/2014/main" id="{9A0B321C-EC57-45CA-818A-361B7998051C}"/>
                </a:ext>
              </a:extLst>
            </p:cNvPr>
            <p:cNvGrpSpPr/>
            <p:nvPr/>
          </p:nvGrpSpPr>
          <p:grpSpPr>
            <a:xfrm>
              <a:off x="10492326" y="3637189"/>
              <a:ext cx="469199" cy="808027"/>
              <a:chOff x="10695214" y="4270043"/>
              <a:chExt cx="860430" cy="1481780"/>
            </a:xfrm>
          </p:grpSpPr>
          <p:pic>
            <p:nvPicPr>
              <p:cNvPr id="40" name="Picture 39">
                <a:extLst>
                  <a:ext uri="{FF2B5EF4-FFF2-40B4-BE49-F238E27FC236}">
                    <a16:creationId xmlns:a16="http://schemas.microsoft.com/office/drawing/2014/main" id="{DCE0A48D-A924-4081-A180-0594A0949528}"/>
                  </a:ext>
                </a:extLst>
              </p:cNvPr>
              <p:cNvPicPr>
                <a:picLocks noChangeAspect="1"/>
              </p:cNvPicPr>
              <p:nvPr/>
            </p:nvPicPr>
            <p:blipFill rotWithShape="1">
              <a:blip r:embed="rId3"/>
              <a:srcRect r="56128"/>
              <a:stretch/>
            </p:blipFill>
            <p:spPr>
              <a:xfrm>
                <a:off x="10767230" y="4270043"/>
                <a:ext cx="716397" cy="952542"/>
              </a:xfrm>
              <a:prstGeom prst="rect">
                <a:avLst/>
              </a:prstGeom>
            </p:spPr>
          </p:pic>
          <p:pic>
            <p:nvPicPr>
              <p:cNvPr id="41" name="Picture 40">
                <a:extLst>
                  <a:ext uri="{FF2B5EF4-FFF2-40B4-BE49-F238E27FC236}">
                    <a16:creationId xmlns:a16="http://schemas.microsoft.com/office/drawing/2014/main" id="{9196C53B-7F40-4B10-AA71-61ABA7B2F215}"/>
                  </a:ext>
                </a:extLst>
              </p:cNvPr>
              <p:cNvPicPr>
                <a:picLocks noChangeAspect="1"/>
              </p:cNvPicPr>
              <p:nvPr/>
            </p:nvPicPr>
            <p:blipFill rotWithShape="1">
              <a:blip r:embed="rId3"/>
              <a:srcRect l="47307" t="34734" b="16030"/>
              <a:stretch/>
            </p:blipFill>
            <p:spPr>
              <a:xfrm>
                <a:off x="10695214" y="5282823"/>
                <a:ext cx="860430" cy="469000"/>
              </a:xfrm>
              <a:prstGeom prst="rect">
                <a:avLst/>
              </a:prstGeom>
            </p:spPr>
          </p:pic>
        </p:grpSp>
      </p:grpSp>
      <p:grpSp>
        <p:nvGrpSpPr>
          <p:cNvPr id="44" name="Group 43">
            <a:extLst>
              <a:ext uri="{FF2B5EF4-FFF2-40B4-BE49-F238E27FC236}">
                <a16:creationId xmlns:a16="http://schemas.microsoft.com/office/drawing/2014/main" id="{5F7C04BF-3304-4762-8CE9-40E5F02434E4}"/>
              </a:ext>
            </a:extLst>
          </p:cNvPr>
          <p:cNvGrpSpPr/>
          <p:nvPr/>
        </p:nvGrpSpPr>
        <p:grpSpPr>
          <a:xfrm>
            <a:off x="11075449" y="5347093"/>
            <a:ext cx="574377" cy="568183"/>
            <a:chOff x="6712956" y="9045673"/>
            <a:chExt cx="464984" cy="459971"/>
          </a:xfrm>
        </p:grpSpPr>
        <p:sp>
          <p:nvSpPr>
            <p:cNvPr id="45" name="Rectangle 44">
              <a:extLst>
                <a:ext uri="{FF2B5EF4-FFF2-40B4-BE49-F238E27FC236}">
                  <a16:creationId xmlns:a16="http://schemas.microsoft.com/office/drawing/2014/main" id="{338D81F0-713B-451D-BBC4-68E025E9ABBB}"/>
                </a:ext>
              </a:extLst>
            </p:cNvPr>
            <p:cNvSpPr/>
            <p:nvPr/>
          </p:nvSpPr>
          <p:spPr bwMode="auto">
            <a:xfrm>
              <a:off x="6712956" y="9205584"/>
              <a:ext cx="464984" cy="138505"/>
            </a:xfrm>
            <a:prstGeom prst="rect">
              <a:avLst/>
            </a:prstGeom>
            <a:solidFill>
              <a:srgbClr val="0078D7"/>
            </a:solidFill>
            <a:ln w="127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D19BBE0E-2203-471B-8750-92F989E81E7B}"/>
                </a:ext>
              </a:extLst>
            </p:cNvPr>
            <p:cNvSpPr/>
            <p:nvPr/>
          </p:nvSpPr>
          <p:spPr bwMode="auto">
            <a:xfrm>
              <a:off x="6712956" y="9367139"/>
              <a:ext cx="464984" cy="138505"/>
            </a:xfrm>
            <a:prstGeom prst="rect">
              <a:avLst/>
            </a:prstGeom>
            <a:solidFill>
              <a:srgbClr val="0078D7"/>
            </a:solidFill>
            <a:ln w="127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7" name="Group 46">
              <a:extLst>
                <a:ext uri="{FF2B5EF4-FFF2-40B4-BE49-F238E27FC236}">
                  <a16:creationId xmlns:a16="http://schemas.microsoft.com/office/drawing/2014/main" id="{7AA0EDE5-4070-45E2-A56F-D7443638825A}"/>
                </a:ext>
              </a:extLst>
            </p:cNvPr>
            <p:cNvGrpSpPr/>
            <p:nvPr/>
          </p:nvGrpSpPr>
          <p:grpSpPr>
            <a:xfrm>
              <a:off x="6712956" y="9045673"/>
              <a:ext cx="464984" cy="138505"/>
              <a:chOff x="551886" y="4922823"/>
              <a:chExt cx="508602" cy="151498"/>
            </a:xfrm>
          </p:grpSpPr>
          <p:sp>
            <p:nvSpPr>
              <p:cNvPr id="56" name="Rectangle 55">
                <a:extLst>
                  <a:ext uri="{FF2B5EF4-FFF2-40B4-BE49-F238E27FC236}">
                    <a16:creationId xmlns:a16="http://schemas.microsoft.com/office/drawing/2014/main" id="{7B64BE91-A9BA-4667-A002-3D8F5B013EA5}"/>
                  </a:ext>
                </a:extLst>
              </p:cNvPr>
              <p:cNvSpPr/>
              <p:nvPr/>
            </p:nvSpPr>
            <p:spPr bwMode="auto">
              <a:xfrm>
                <a:off x="551886" y="4922823"/>
                <a:ext cx="508602" cy="151498"/>
              </a:xfrm>
              <a:prstGeom prst="rect">
                <a:avLst/>
              </a:prstGeom>
              <a:solidFill>
                <a:srgbClr val="0078D7"/>
              </a:solidFill>
              <a:ln w="127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 name="Oval 56">
                <a:extLst>
                  <a:ext uri="{FF2B5EF4-FFF2-40B4-BE49-F238E27FC236}">
                    <a16:creationId xmlns:a16="http://schemas.microsoft.com/office/drawing/2014/main" id="{A9550C38-2935-4F9F-8820-0F09F8FBBC35}"/>
                  </a:ext>
                </a:extLst>
              </p:cNvPr>
              <p:cNvSpPr/>
              <p:nvPr/>
            </p:nvSpPr>
            <p:spPr bwMode="auto">
              <a:xfrm flipH="1">
                <a:off x="955040" y="4971128"/>
                <a:ext cx="45720" cy="45720"/>
              </a:xfrm>
              <a:prstGeom prst="ellipse">
                <a:avLst/>
              </a:prstGeom>
              <a:solidFill>
                <a:srgbClr val="50E6FF"/>
              </a:solidFill>
              <a:ln w="12700" cap="flat" cmpd="sng" algn="ctr">
                <a:solidFill>
                  <a:srgbClr val="50E6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8" name="Straight Connector 57">
                <a:extLst>
                  <a:ext uri="{FF2B5EF4-FFF2-40B4-BE49-F238E27FC236}">
                    <a16:creationId xmlns:a16="http://schemas.microsoft.com/office/drawing/2014/main" id="{3494EE7D-E77E-497C-BC99-DA118D12A392}"/>
                  </a:ext>
                </a:extLst>
              </p:cNvPr>
              <p:cNvCxnSpPr/>
              <p:nvPr/>
            </p:nvCxnSpPr>
            <p:spPr>
              <a:xfrm>
                <a:off x="625475" y="4997163"/>
                <a:ext cx="238125" cy="0"/>
              </a:xfrm>
              <a:prstGeom prst="line">
                <a:avLst/>
              </a:prstGeom>
              <a:solidFill>
                <a:srgbClr val="50E6FF"/>
              </a:solidFill>
              <a:ln w="19050" cap="flat" cmpd="sng" algn="ctr">
                <a:solidFill>
                  <a:srgbClr val="50E6FF"/>
                </a:solidFill>
                <a:prstDash val="solid"/>
                <a:headEnd type="none"/>
                <a:tailEnd type="none"/>
              </a:ln>
              <a:effectLst/>
            </p:spPr>
          </p:cxnSp>
        </p:grpSp>
        <p:cxnSp>
          <p:nvCxnSpPr>
            <p:cNvPr id="48" name="Straight Connector 47">
              <a:extLst>
                <a:ext uri="{FF2B5EF4-FFF2-40B4-BE49-F238E27FC236}">
                  <a16:creationId xmlns:a16="http://schemas.microsoft.com/office/drawing/2014/main" id="{7E080B8E-3C6C-4505-8C6C-53193E859879}"/>
                </a:ext>
              </a:extLst>
            </p:cNvPr>
            <p:cNvCxnSpPr>
              <a:cxnSpLocks/>
            </p:cNvCxnSpPr>
            <p:nvPr/>
          </p:nvCxnSpPr>
          <p:spPr>
            <a:xfrm>
              <a:off x="6805851" y="9400854"/>
              <a:ext cx="0" cy="67998"/>
            </a:xfrm>
            <a:prstGeom prst="line">
              <a:avLst/>
            </a:prstGeom>
            <a:noFill/>
            <a:ln w="19050" cap="flat" cmpd="sng" algn="ctr">
              <a:solidFill>
                <a:srgbClr val="50E6FF"/>
              </a:solidFill>
              <a:prstDash val="solid"/>
              <a:headEnd type="none"/>
              <a:tailEnd type="none"/>
            </a:ln>
            <a:effectLst/>
          </p:spPr>
        </p:cxnSp>
        <p:cxnSp>
          <p:nvCxnSpPr>
            <p:cNvPr id="49" name="Straight Connector 48">
              <a:extLst>
                <a:ext uri="{FF2B5EF4-FFF2-40B4-BE49-F238E27FC236}">
                  <a16:creationId xmlns:a16="http://schemas.microsoft.com/office/drawing/2014/main" id="{5A5420BA-DF1C-448F-9021-5EDAF744BD76}"/>
                </a:ext>
              </a:extLst>
            </p:cNvPr>
            <p:cNvCxnSpPr>
              <a:cxnSpLocks/>
            </p:cNvCxnSpPr>
            <p:nvPr/>
          </p:nvCxnSpPr>
          <p:spPr>
            <a:xfrm>
              <a:off x="6898824" y="9400854"/>
              <a:ext cx="0" cy="67998"/>
            </a:xfrm>
            <a:prstGeom prst="line">
              <a:avLst/>
            </a:prstGeom>
            <a:noFill/>
            <a:ln w="19050" cap="flat" cmpd="sng" algn="ctr">
              <a:solidFill>
                <a:srgbClr val="50E6FF"/>
              </a:solidFill>
              <a:prstDash val="solid"/>
              <a:headEnd type="none"/>
              <a:tailEnd type="none"/>
            </a:ln>
            <a:effectLst/>
          </p:spPr>
        </p:cxnSp>
        <p:cxnSp>
          <p:nvCxnSpPr>
            <p:cNvPr id="50" name="Straight Connector 49">
              <a:extLst>
                <a:ext uri="{FF2B5EF4-FFF2-40B4-BE49-F238E27FC236}">
                  <a16:creationId xmlns:a16="http://schemas.microsoft.com/office/drawing/2014/main" id="{CCBF718F-B28E-4DB2-96B4-317C3092A085}"/>
                </a:ext>
              </a:extLst>
            </p:cNvPr>
            <p:cNvCxnSpPr>
              <a:cxnSpLocks/>
            </p:cNvCxnSpPr>
            <p:nvPr/>
          </p:nvCxnSpPr>
          <p:spPr>
            <a:xfrm>
              <a:off x="6991796" y="9400854"/>
              <a:ext cx="0" cy="67998"/>
            </a:xfrm>
            <a:prstGeom prst="line">
              <a:avLst/>
            </a:prstGeom>
            <a:noFill/>
            <a:ln w="19050" cap="flat" cmpd="sng" algn="ctr">
              <a:solidFill>
                <a:srgbClr val="50E6FF"/>
              </a:solidFill>
              <a:prstDash val="solid"/>
              <a:headEnd type="none"/>
              <a:tailEnd type="none"/>
            </a:ln>
            <a:effectLst/>
          </p:spPr>
        </p:cxnSp>
        <p:cxnSp>
          <p:nvCxnSpPr>
            <p:cNvPr id="51" name="Straight Connector 50">
              <a:extLst>
                <a:ext uri="{FF2B5EF4-FFF2-40B4-BE49-F238E27FC236}">
                  <a16:creationId xmlns:a16="http://schemas.microsoft.com/office/drawing/2014/main" id="{C44B0E23-81DD-4D34-964E-5F806EFA30F7}"/>
                </a:ext>
              </a:extLst>
            </p:cNvPr>
            <p:cNvCxnSpPr>
              <a:cxnSpLocks/>
            </p:cNvCxnSpPr>
            <p:nvPr/>
          </p:nvCxnSpPr>
          <p:spPr>
            <a:xfrm>
              <a:off x="7084769" y="9400854"/>
              <a:ext cx="0" cy="67998"/>
            </a:xfrm>
            <a:prstGeom prst="line">
              <a:avLst/>
            </a:prstGeom>
            <a:noFill/>
            <a:ln w="19050" cap="flat" cmpd="sng" algn="ctr">
              <a:solidFill>
                <a:srgbClr val="50E6FF"/>
              </a:solidFill>
              <a:prstDash val="solid"/>
              <a:headEnd type="none"/>
              <a:tailEnd type="none"/>
            </a:ln>
            <a:effectLst/>
          </p:spPr>
        </p:cxnSp>
        <p:cxnSp>
          <p:nvCxnSpPr>
            <p:cNvPr id="52" name="Straight Connector 51">
              <a:extLst>
                <a:ext uri="{FF2B5EF4-FFF2-40B4-BE49-F238E27FC236}">
                  <a16:creationId xmlns:a16="http://schemas.microsoft.com/office/drawing/2014/main" id="{DEFD8817-A951-470D-8B99-A80C3C6EA771}"/>
                </a:ext>
              </a:extLst>
            </p:cNvPr>
            <p:cNvCxnSpPr>
              <a:cxnSpLocks/>
            </p:cNvCxnSpPr>
            <p:nvPr/>
          </p:nvCxnSpPr>
          <p:spPr>
            <a:xfrm>
              <a:off x="6805851" y="9242791"/>
              <a:ext cx="0" cy="67998"/>
            </a:xfrm>
            <a:prstGeom prst="line">
              <a:avLst/>
            </a:prstGeom>
            <a:noFill/>
            <a:ln w="19050" cap="flat" cmpd="sng" algn="ctr">
              <a:solidFill>
                <a:srgbClr val="50E6FF"/>
              </a:solidFill>
              <a:prstDash val="solid"/>
              <a:headEnd type="none"/>
              <a:tailEnd type="none"/>
            </a:ln>
            <a:effectLst/>
          </p:spPr>
        </p:cxnSp>
        <p:cxnSp>
          <p:nvCxnSpPr>
            <p:cNvPr id="53" name="Straight Connector 52">
              <a:extLst>
                <a:ext uri="{FF2B5EF4-FFF2-40B4-BE49-F238E27FC236}">
                  <a16:creationId xmlns:a16="http://schemas.microsoft.com/office/drawing/2014/main" id="{E726041D-C0BF-40B6-AD06-BD813681A5D4}"/>
                </a:ext>
              </a:extLst>
            </p:cNvPr>
            <p:cNvCxnSpPr>
              <a:cxnSpLocks/>
            </p:cNvCxnSpPr>
            <p:nvPr/>
          </p:nvCxnSpPr>
          <p:spPr>
            <a:xfrm>
              <a:off x="6898824" y="9242791"/>
              <a:ext cx="0" cy="67998"/>
            </a:xfrm>
            <a:prstGeom prst="line">
              <a:avLst/>
            </a:prstGeom>
            <a:noFill/>
            <a:ln w="19050" cap="flat" cmpd="sng" algn="ctr">
              <a:solidFill>
                <a:srgbClr val="50E6FF"/>
              </a:solidFill>
              <a:prstDash val="solid"/>
              <a:headEnd type="none"/>
              <a:tailEnd type="none"/>
            </a:ln>
            <a:effectLst/>
          </p:spPr>
        </p:cxnSp>
        <p:cxnSp>
          <p:nvCxnSpPr>
            <p:cNvPr id="54" name="Straight Connector 53">
              <a:extLst>
                <a:ext uri="{FF2B5EF4-FFF2-40B4-BE49-F238E27FC236}">
                  <a16:creationId xmlns:a16="http://schemas.microsoft.com/office/drawing/2014/main" id="{23BC0016-2D48-4685-9ECD-035F2E8D2C3C}"/>
                </a:ext>
              </a:extLst>
            </p:cNvPr>
            <p:cNvCxnSpPr>
              <a:cxnSpLocks/>
            </p:cNvCxnSpPr>
            <p:nvPr/>
          </p:nvCxnSpPr>
          <p:spPr>
            <a:xfrm>
              <a:off x="6991796" y="9242791"/>
              <a:ext cx="0" cy="67998"/>
            </a:xfrm>
            <a:prstGeom prst="line">
              <a:avLst/>
            </a:prstGeom>
            <a:noFill/>
            <a:ln w="19050" cap="flat" cmpd="sng" algn="ctr">
              <a:solidFill>
                <a:srgbClr val="50E6FF"/>
              </a:solidFill>
              <a:prstDash val="solid"/>
              <a:headEnd type="none"/>
              <a:tailEnd type="none"/>
            </a:ln>
            <a:effectLst/>
          </p:spPr>
        </p:cxnSp>
        <p:cxnSp>
          <p:nvCxnSpPr>
            <p:cNvPr id="55" name="Straight Connector 54">
              <a:extLst>
                <a:ext uri="{FF2B5EF4-FFF2-40B4-BE49-F238E27FC236}">
                  <a16:creationId xmlns:a16="http://schemas.microsoft.com/office/drawing/2014/main" id="{CE9CF01D-70BA-4B73-A047-A29CF8929213}"/>
                </a:ext>
              </a:extLst>
            </p:cNvPr>
            <p:cNvCxnSpPr>
              <a:cxnSpLocks/>
            </p:cNvCxnSpPr>
            <p:nvPr/>
          </p:nvCxnSpPr>
          <p:spPr>
            <a:xfrm>
              <a:off x="7084769" y="9242791"/>
              <a:ext cx="0" cy="67998"/>
            </a:xfrm>
            <a:prstGeom prst="line">
              <a:avLst/>
            </a:prstGeom>
            <a:noFill/>
            <a:ln w="19050" cap="flat" cmpd="sng" algn="ctr">
              <a:solidFill>
                <a:srgbClr val="50E6FF"/>
              </a:solidFill>
              <a:prstDash val="solid"/>
              <a:headEnd type="none"/>
              <a:tailEnd type="none"/>
            </a:ln>
            <a:effectLst/>
          </p:spPr>
        </p:cxnSp>
      </p:grpSp>
      <p:sp>
        <p:nvSpPr>
          <p:cNvPr id="59" name="Freeform 130">
            <a:extLst>
              <a:ext uri="{FF2B5EF4-FFF2-40B4-BE49-F238E27FC236}">
                <a16:creationId xmlns:a16="http://schemas.microsoft.com/office/drawing/2014/main" id="{F154C7F8-D6CE-4A75-B383-41FCC11C11E0}"/>
              </a:ext>
            </a:extLst>
          </p:cNvPr>
          <p:cNvSpPr>
            <a:spLocks noChangeAspect="1" noEditPoints="1"/>
          </p:cNvSpPr>
          <p:nvPr/>
        </p:nvSpPr>
        <p:spPr bwMode="black">
          <a:xfrm>
            <a:off x="9668647" y="5817113"/>
            <a:ext cx="380894" cy="385748"/>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178D7"/>
          </a:solidFill>
          <a:ln>
            <a:noFill/>
          </a:ln>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pic>
        <p:nvPicPr>
          <p:cNvPr id="60" name="Picture 59">
            <a:extLst>
              <a:ext uri="{FF2B5EF4-FFF2-40B4-BE49-F238E27FC236}">
                <a16:creationId xmlns:a16="http://schemas.microsoft.com/office/drawing/2014/main" id="{B679F714-FA6A-4EDA-99B5-5B3391352C97}"/>
              </a:ext>
            </a:extLst>
          </p:cNvPr>
          <p:cNvPicPr>
            <a:picLocks noChangeAspect="1"/>
          </p:cNvPicPr>
          <p:nvPr/>
        </p:nvPicPr>
        <p:blipFill>
          <a:blip r:embed="rId4" cstate="print">
            <a:duotone>
              <a:srgbClr val="0078D7">
                <a:shade val="45000"/>
                <a:satMod val="135000"/>
              </a:srgbClr>
              <a:prstClr val="white"/>
            </a:duotone>
            <a:lum bright="14000" contrast="20000"/>
            <a:extLst>
              <a:ext uri="{28A0092B-C50C-407E-A947-70E740481C1C}">
                <a14:useLocalDpi xmlns:a14="http://schemas.microsoft.com/office/drawing/2010/main" val="0"/>
              </a:ext>
            </a:extLst>
          </a:blip>
          <a:stretch>
            <a:fillRect/>
          </a:stretch>
        </p:blipFill>
        <p:spPr>
          <a:xfrm>
            <a:off x="8847582" y="5806357"/>
            <a:ext cx="342098" cy="407260"/>
          </a:xfrm>
          <a:prstGeom prst="rect">
            <a:avLst/>
          </a:prstGeom>
        </p:spPr>
      </p:pic>
      <p:graphicFrame>
        <p:nvGraphicFramePr>
          <p:cNvPr id="61" name="Diagram 60">
            <a:extLst>
              <a:ext uri="{FF2B5EF4-FFF2-40B4-BE49-F238E27FC236}">
                <a16:creationId xmlns:a16="http://schemas.microsoft.com/office/drawing/2014/main" id="{A38647AF-5691-4866-846A-A75CB5B4DC9F}"/>
              </a:ext>
            </a:extLst>
          </p:cNvPr>
          <p:cNvGraphicFramePr/>
          <p:nvPr>
            <p:extLst>
              <p:ext uri="{D42A27DB-BD31-4B8C-83A1-F6EECF244321}">
                <p14:modId xmlns:p14="http://schemas.microsoft.com/office/powerpoint/2010/main" val="1103691100"/>
              </p:ext>
            </p:extLst>
          </p:nvPr>
        </p:nvGraphicFramePr>
        <p:xfrm>
          <a:off x="-17218" y="2648888"/>
          <a:ext cx="5361641" cy="3979314"/>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62" name="Text Placeholder 2">
            <a:extLst>
              <a:ext uri="{FF2B5EF4-FFF2-40B4-BE49-F238E27FC236}">
                <a16:creationId xmlns:a16="http://schemas.microsoft.com/office/drawing/2014/main" id="{90BC9079-59B9-48D8-B26B-A0E17FEB8804}"/>
              </a:ext>
            </a:extLst>
          </p:cNvPr>
          <p:cNvSpPr txBox="1">
            <a:spLocks/>
          </p:cNvSpPr>
          <p:nvPr/>
        </p:nvSpPr>
        <p:spPr>
          <a:xfrm>
            <a:off x="127554" y="929094"/>
            <a:ext cx="5307864" cy="1420902"/>
          </a:xfrm>
          <a:prstGeom prst="rect">
            <a:avLst/>
          </a:prstGeom>
          <a:solidFill>
            <a:schemeClr val="bg1">
              <a:lumMod val="85000"/>
            </a:schemeClr>
          </a:solidFill>
        </p:spPr>
        <p:txBody>
          <a:bodyPr vert="horz" wrap="square" lIns="0" tIns="0" rIns="0" bIns="0" rtlCol="0">
            <a:spAutoFit/>
          </a:bodyPr>
          <a:lstStyle>
            <a:lvl1pPr marL="228600" marR="0" indent="-228600" algn="l" defTabSz="932742" rtl="0" eaLnBrk="1" fontAlgn="auto" latinLnBrk="0" hangingPunct="1">
              <a:lnSpc>
                <a:spcPct val="100000"/>
              </a:lnSpc>
              <a:spcBef>
                <a:spcPts val="1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2400" b="1" dirty="0"/>
              <a:t>The problem</a:t>
            </a:r>
          </a:p>
          <a:p>
            <a:pPr marL="0" indent="0">
              <a:buFont typeface="Wingdings" panose="05000000000000000000" pitchFamily="2" charset="2"/>
              <a:buNone/>
            </a:pPr>
            <a:r>
              <a:rPr lang="en-US" dirty="0"/>
              <a:t>I want my machine learning models close to the data and T-SQL doesn’t have all the functions I need.</a:t>
            </a:r>
          </a:p>
        </p:txBody>
      </p:sp>
    </p:spTree>
    <p:extLst>
      <p:ext uri="{BB962C8B-B14F-4D97-AF65-F5344CB8AC3E}">
        <p14:creationId xmlns:p14="http://schemas.microsoft.com/office/powerpoint/2010/main" val="33190978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1"/>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5"/>
                                        </p:tgtEl>
                                        <p:attrNameLst>
                                          <p:attrName>style.visibility</p:attrName>
                                        </p:attrNameLst>
                                      </p:cBhvr>
                                      <p:to>
                                        <p:strVal val="visible"/>
                                      </p:to>
                                    </p:set>
                                  </p:childTnLst>
                                </p:cTn>
                              </p:par>
                            </p:childTnLst>
                          </p:cTn>
                        </p:par>
                        <p:par>
                          <p:cTn id="10" fill="hold">
                            <p:stCondLst>
                              <p:cond delay="0"/>
                            </p:stCondLst>
                            <p:childTnLst>
                              <p:par>
                                <p:cTn id="11" presetID="1" presetClass="entr" presetSubtype="0" fill="hold" nodeType="after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par>
                          <p:cTn id="13" fill="hold">
                            <p:stCondLst>
                              <p:cond delay="0"/>
                            </p:stCondLst>
                            <p:childTnLst>
                              <p:par>
                                <p:cTn id="14" presetID="1" presetClass="entr" presetSubtype="0" fill="hold" grpId="0" nodeType="afterEffect">
                                  <p:stCondLst>
                                    <p:cond delay="0"/>
                                  </p:stCondLst>
                                  <p:childTnLst>
                                    <p:set>
                                      <p:cBhvr>
                                        <p:cTn id="15" dur="1" fill="hold">
                                          <p:stCondLst>
                                            <p:cond delay="0"/>
                                          </p:stCondLst>
                                        </p:cTn>
                                        <p:tgtEl>
                                          <p:spTgt spid="7"/>
                                        </p:tgtEl>
                                        <p:attrNameLst>
                                          <p:attrName>style.visibility</p:attrName>
                                        </p:attrNameLst>
                                      </p:cBhvr>
                                      <p:to>
                                        <p:strVal val="visible"/>
                                      </p:to>
                                    </p:set>
                                  </p:childTnLst>
                                </p:cTn>
                              </p:par>
                            </p:childTnLst>
                          </p:cTn>
                        </p:par>
                        <p:par>
                          <p:cTn id="16" fill="hold">
                            <p:stCondLst>
                              <p:cond delay="0"/>
                            </p:stCondLst>
                            <p:childTnLst>
                              <p:par>
                                <p:cTn id="17" presetID="1"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par>
                          <p:cTn id="19" fill="hold">
                            <p:stCondLst>
                              <p:cond delay="0"/>
                            </p:stCondLst>
                            <p:childTnLst>
                              <p:par>
                                <p:cTn id="20" presetID="1" presetClass="entr" presetSubtype="0" fill="hold" grpId="0" nodeType="afterEffect">
                                  <p:stCondLst>
                                    <p:cond delay="0"/>
                                  </p:stCondLst>
                                  <p:childTnLst>
                                    <p:set>
                                      <p:cBhvr>
                                        <p:cTn id="21" dur="1" fill="hold">
                                          <p:stCondLst>
                                            <p:cond delay="0"/>
                                          </p:stCondLst>
                                        </p:cTn>
                                        <p:tgtEl>
                                          <p:spTgt spid="9"/>
                                        </p:tgtEl>
                                        <p:attrNameLst>
                                          <p:attrName>style.visibility</p:attrName>
                                        </p:attrNameLst>
                                      </p:cBhvr>
                                      <p:to>
                                        <p:strVal val="visible"/>
                                      </p:to>
                                    </p:set>
                                  </p:childTnLst>
                                </p:cTn>
                              </p:par>
                            </p:childTnLst>
                          </p:cTn>
                        </p:par>
                        <p:par>
                          <p:cTn id="22" fill="hold">
                            <p:stCondLst>
                              <p:cond delay="0"/>
                            </p:stCondLst>
                            <p:childTnLst>
                              <p:par>
                                <p:cTn id="23" presetID="1" presetClass="entr" presetSubtype="0" fill="hold" nodeType="afterEffect">
                                  <p:stCondLst>
                                    <p:cond delay="0"/>
                                  </p:stCondLst>
                                  <p:childTnLst>
                                    <p:set>
                                      <p:cBhvr>
                                        <p:cTn id="24" dur="1" fill="hold">
                                          <p:stCondLst>
                                            <p:cond delay="0"/>
                                          </p:stCondLst>
                                        </p:cTn>
                                        <p:tgtEl>
                                          <p:spTgt spid="10"/>
                                        </p:tgtEl>
                                        <p:attrNameLst>
                                          <p:attrName>style.visibility</p:attrName>
                                        </p:attrNameLst>
                                      </p:cBhvr>
                                      <p:to>
                                        <p:strVal val="visible"/>
                                      </p:to>
                                    </p:set>
                                  </p:childTnLst>
                                </p:cTn>
                              </p:par>
                            </p:childTnLst>
                          </p:cTn>
                        </p:par>
                        <p:par>
                          <p:cTn id="25" fill="hold">
                            <p:stCondLst>
                              <p:cond delay="0"/>
                            </p:stCondLst>
                            <p:childTnLst>
                              <p:par>
                                <p:cTn id="26" presetID="1" presetClass="entr" presetSubtype="0" fill="hold" nodeType="afterEffect">
                                  <p:stCondLst>
                                    <p:cond delay="0"/>
                                  </p:stCondLst>
                                  <p:childTnLst>
                                    <p:set>
                                      <p:cBhvr>
                                        <p:cTn id="27" dur="1" fill="hold">
                                          <p:stCondLst>
                                            <p:cond delay="0"/>
                                          </p:stCondLst>
                                        </p:cTn>
                                        <p:tgtEl>
                                          <p:spTgt spid="11"/>
                                        </p:tgtEl>
                                        <p:attrNameLst>
                                          <p:attrName>style.visibility</p:attrName>
                                        </p:attrNameLst>
                                      </p:cBhvr>
                                      <p:to>
                                        <p:strVal val="visible"/>
                                      </p:to>
                                    </p:set>
                                  </p:childTnLst>
                                </p:cTn>
                              </p:par>
                            </p:childTnLst>
                          </p:cTn>
                        </p:par>
                        <p:par>
                          <p:cTn id="28" fill="hold">
                            <p:stCondLst>
                              <p:cond delay="0"/>
                            </p:stCondLst>
                            <p:childTnLst>
                              <p:par>
                                <p:cTn id="29" presetID="1" presetClass="entr" presetSubtype="0" fill="hold" grpId="0" nodeType="afterEffect">
                                  <p:stCondLst>
                                    <p:cond delay="0"/>
                                  </p:stCondLst>
                                  <p:childTnLst>
                                    <p:set>
                                      <p:cBhvr>
                                        <p:cTn id="30" dur="1" fill="hold">
                                          <p:stCondLst>
                                            <p:cond delay="0"/>
                                          </p:stCondLst>
                                        </p:cTn>
                                        <p:tgtEl>
                                          <p:spTgt spid="12"/>
                                        </p:tgtEl>
                                        <p:attrNameLst>
                                          <p:attrName>style.visibility</p:attrName>
                                        </p:attrNameLst>
                                      </p:cBhvr>
                                      <p:to>
                                        <p:strVal val="visible"/>
                                      </p:to>
                                    </p:set>
                                  </p:childTnLst>
                                </p:cTn>
                              </p:par>
                            </p:childTnLst>
                          </p:cTn>
                        </p:par>
                        <p:par>
                          <p:cTn id="31" fill="hold">
                            <p:stCondLst>
                              <p:cond delay="0"/>
                            </p:stCondLst>
                            <p:childTnLst>
                              <p:par>
                                <p:cTn id="32" presetID="1" presetClass="entr" presetSubtype="0" fill="hold" grpId="0" nodeType="afterEffect">
                                  <p:stCondLst>
                                    <p:cond delay="0"/>
                                  </p:stCondLst>
                                  <p:childTnLst>
                                    <p:set>
                                      <p:cBhvr>
                                        <p:cTn id="33" dur="1" fill="hold">
                                          <p:stCondLst>
                                            <p:cond delay="0"/>
                                          </p:stCondLst>
                                        </p:cTn>
                                        <p:tgtEl>
                                          <p:spTgt spid="13"/>
                                        </p:tgtEl>
                                        <p:attrNameLst>
                                          <p:attrName>style.visibility</p:attrName>
                                        </p:attrNameLst>
                                      </p:cBhvr>
                                      <p:to>
                                        <p:strVal val="visible"/>
                                      </p:to>
                                    </p:set>
                                  </p:childTnLst>
                                </p:cTn>
                              </p:par>
                            </p:childTnLst>
                          </p:cTn>
                        </p:par>
                        <p:par>
                          <p:cTn id="34" fill="hold">
                            <p:stCondLst>
                              <p:cond delay="0"/>
                            </p:stCondLst>
                            <p:childTnLst>
                              <p:par>
                                <p:cTn id="35" presetID="1" presetClass="entr" presetSubtype="0" fill="hold" nodeType="afterEffect">
                                  <p:stCondLst>
                                    <p:cond delay="0"/>
                                  </p:stCondLst>
                                  <p:childTnLst>
                                    <p:set>
                                      <p:cBhvr>
                                        <p:cTn id="36" dur="1" fill="hold">
                                          <p:stCondLst>
                                            <p:cond delay="0"/>
                                          </p:stCondLst>
                                        </p:cTn>
                                        <p:tgtEl>
                                          <p:spTgt spid="14"/>
                                        </p:tgtEl>
                                        <p:attrNameLst>
                                          <p:attrName>style.visibility</p:attrName>
                                        </p:attrNameLst>
                                      </p:cBhvr>
                                      <p:to>
                                        <p:strVal val="visible"/>
                                      </p:to>
                                    </p:set>
                                  </p:childTnLst>
                                </p:cTn>
                              </p:par>
                            </p:childTnLst>
                          </p:cTn>
                        </p:par>
                        <p:par>
                          <p:cTn id="37" fill="hold">
                            <p:stCondLst>
                              <p:cond delay="0"/>
                            </p:stCondLst>
                            <p:childTnLst>
                              <p:par>
                                <p:cTn id="38" presetID="1" presetClass="entr" presetSubtype="0" fill="hold" nodeType="afterEffect">
                                  <p:stCondLst>
                                    <p:cond delay="0"/>
                                  </p:stCondLst>
                                  <p:childTnLst>
                                    <p:set>
                                      <p:cBhvr>
                                        <p:cTn id="39" dur="1" fill="hold">
                                          <p:stCondLst>
                                            <p:cond delay="0"/>
                                          </p:stCondLst>
                                        </p:cTn>
                                        <p:tgtEl>
                                          <p:spTgt spid="22"/>
                                        </p:tgtEl>
                                        <p:attrNameLst>
                                          <p:attrName>style.visibility</p:attrName>
                                        </p:attrNameLst>
                                      </p:cBhvr>
                                      <p:to>
                                        <p:strVal val="visible"/>
                                      </p:to>
                                    </p:set>
                                  </p:childTnLst>
                                </p:cTn>
                              </p:par>
                            </p:childTnLst>
                          </p:cTn>
                        </p:par>
                        <p:par>
                          <p:cTn id="40" fill="hold">
                            <p:stCondLst>
                              <p:cond delay="0"/>
                            </p:stCondLst>
                            <p:childTnLst>
                              <p:par>
                                <p:cTn id="41" presetID="1" presetClass="entr" presetSubtype="0" fill="hold" nodeType="afterEffect">
                                  <p:stCondLst>
                                    <p:cond delay="0"/>
                                  </p:stCondLst>
                                  <p:childTnLst>
                                    <p:set>
                                      <p:cBhvr>
                                        <p:cTn id="42" dur="1" fill="hold">
                                          <p:stCondLst>
                                            <p:cond delay="0"/>
                                          </p:stCondLst>
                                        </p:cTn>
                                        <p:tgtEl>
                                          <p:spTgt spid="23"/>
                                        </p:tgtEl>
                                        <p:attrNameLst>
                                          <p:attrName>style.visibility</p:attrName>
                                        </p:attrNameLst>
                                      </p:cBhvr>
                                      <p:to>
                                        <p:strVal val="visible"/>
                                      </p:to>
                                    </p:set>
                                  </p:childTnLst>
                                </p:cTn>
                              </p:par>
                            </p:childTnLst>
                          </p:cTn>
                        </p:par>
                        <p:par>
                          <p:cTn id="43" fill="hold">
                            <p:stCondLst>
                              <p:cond delay="0"/>
                            </p:stCondLst>
                            <p:childTnLst>
                              <p:par>
                                <p:cTn id="44" presetID="1" presetClass="entr" presetSubtype="0" fill="hold" grpId="0" nodeType="afterEffect">
                                  <p:stCondLst>
                                    <p:cond delay="0"/>
                                  </p:stCondLst>
                                  <p:childTnLst>
                                    <p:set>
                                      <p:cBhvr>
                                        <p:cTn id="45" dur="1" fill="hold">
                                          <p:stCondLst>
                                            <p:cond delay="0"/>
                                          </p:stCondLst>
                                        </p:cTn>
                                        <p:tgtEl>
                                          <p:spTgt spid="33"/>
                                        </p:tgtEl>
                                        <p:attrNameLst>
                                          <p:attrName>style.visibility</p:attrName>
                                        </p:attrNameLst>
                                      </p:cBhvr>
                                      <p:to>
                                        <p:strVal val="visible"/>
                                      </p:to>
                                    </p:set>
                                  </p:childTnLst>
                                </p:cTn>
                              </p:par>
                            </p:childTnLst>
                          </p:cTn>
                        </p:par>
                        <p:par>
                          <p:cTn id="46" fill="hold">
                            <p:stCondLst>
                              <p:cond delay="0"/>
                            </p:stCondLst>
                            <p:childTnLst>
                              <p:par>
                                <p:cTn id="47" presetID="1" presetClass="entr" presetSubtype="0" fill="hold" grpId="0" nodeType="afterEffect">
                                  <p:stCondLst>
                                    <p:cond delay="0"/>
                                  </p:stCondLst>
                                  <p:childTnLst>
                                    <p:set>
                                      <p:cBhvr>
                                        <p:cTn id="48" dur="1" fill="hold">
                                          <p:stCondLst>
                                            <p:cond delay="0"/>
                                          </p:stCondLst>
                                        </p:cTn>
                                        <p:tgtEl>
                                          <p:spTgt spid="34"/>
                                        </p:tgtEl>
                                        <p:attrNameLst>
                                          <p:attrName>style.visibility</p:attrName>
                                        </p:attrNameLst>
                                      </p:cBhvr>
                                      <p:to>
                                        <p:strVal val="visible"/>
                                      </p:to>
                                    </p:set>
                                  </p:childTnLst>
                                </p:cTn>
                              </p:par>
                            </p:childTnLst>
                          </p:cTn>
                        </p:par>
                        <p:par>
                          <p:cTn id="49" fill="hold">
                            <p:stCondLst>
                              <p:cond delay="0"/>
                            </p:stCondLst>
                            <p:childTnLst>
                              <p:par>
                                <p:cTn id="50" presetID="1" presetClass="entr" presetSubtype="0" fill="hold" nodeType="afterEffect">
                                  <p:stCondLst>
                                    <p:cond delay="0"/>
                                  </p:stCondLst>
                                  <p:childTnLst>
                                    <p:set>
                                      <p:cBhvr>
                                        <p:cTn id="51" dur="1" fill="hold">
                                          <p:stCondLst>
                                            <p:cond delay="0"/>
                                          </p:stCondLst>
                                        </p:cTn>
                                        <p:tgtEl>
                                          <p:spTgt spid="35"/>
                                        </p:tgtEl>
                                        <p:attrNameLst>
                                          <p:attrName>style.visibility</p:attrName>
                                        </p:attrNameLst>
                                      </p:cBhvr>
                                      <p:to>
                                        <p:strVal val="visible"/>
                                      </p:to>
                                    </p:set>
                                  </p:childTnLst>
                                </p:cTn>
                              </p:par>
                            </p:childTnLst>
                          </p:cTn>
                        </p:par>
                        <p:par>
                          <p:cTn id="52" fill="hold">
                            <p:stCondLst>
                              <p:cond delay="0"/>
                            </p:stCondLst>
                            <p:childTnLst>
                              <p:par>
                                <p:cTn id="53" presetID="1" presetClass="entr" presetSubtype="0" fill="hold" nodeType="afterEffect">
                                  <p:stCondLst>
                                    <p:cond delay="0"/>
                                  </p:stCondLst>
                                  <p:childTnLst>
                                    <p:set>
                                      <p:cBhvr>
                                        <p:cTn id="54" dur="1" fill="hold">
                                          <p:stCondLst>
                                            <p:cond delay="0"/>
                                          </p:stCondLst>
                                        </p:cTn>
                                        <p:tgtEl>
                                          <p:spTgt spid="44"/>
                                        </p:tgtEl>
                                        <p:attrNameLst>
                                          <p:attrName>style.visibility</p:attrName>
                                        </p:attrNameLst>
                                      </p:cBhvr>
                                      <p:to>
                                        <p:strVal val="visible"/>
                                      </p:to>
                                    </p:set>
                                  </p:childTnLst>
                                </p:cTn>
                              </p:par>
                            </p:childTnLst>
                          </p:cTn>
                        </p:par>
                        <p:par>
                          <p:cTn id="55" fill="hold">
                            <p:stCondLst>
                              <p:cond delay="0"/>
                            </p:stCondLst>
                            <p:childTnLst>
                              <p:par>
                                <p:cTn id="56" presetID="1" presetClass="entr" presetSubtype="0" fill="hold" grpId="0" nodeType="afterEffect">
                                  <p:stCondLst>
                                    <p:cond delay="0"/>
                                  </p:stCondLst>
                                  <p:childTnLst>
                                    <p:set>
                                      <p:cBhvr>
                                        <p:cTn id="57" dur="1" fill="hold">
                                          <p:stCondLst>
                                            <p:cond delay="0"/>
                                          </p:stCondLst>
                                        </p:cTn>
                                        <p:tgtEl>
                                          <p:spTgt spid="59"/>
                                        </p:tgtEl>
                                        <p:attrNameLst>
                                          <p:attrName>style.visibility</p:attrName>
                                        </p:attrNameLst>
                                      </p:cBhvr>
                                      <p:to>
                                        <p:strVal val="visible"/>
                                      </p:to>
                                    </p:set>
                                  </p:childTnLst>
                                </p:cTn>
                              </p:par>
                            </p:childTnLst>
                          </p:cTn>
                        </p:par>
                        <p:par>
                          <p:cTn id="58" fill="hold">
                            <p:stCondLst>
                              <p:cond delay="0"/>
                            </p:stCondLst>
                            <p:childTnLst>
                              <p:par>
                                <p:cTn id="59" presetID="1" presetClass="entr" presetSubtype="0" fill="hold" nodeType="afterEffect">
                                  <p:stCondLst>
                                    <p:cond delay="0"/>
                                  </p:stCondLst>
                                  <p:childTnLst>
                                    <p:set>
                                      <p:cBhvr>
                                        <p:cTn id="60" dur="1" fill="hold">
                                          <p:stCondLst>
                                            <p:cond delay="0"/>
                                          </p:stCondLst>
                                        </p:cTn>
                                        <p:tgtEl>
                                          <p:spTgt spid="6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p:bldP spid="8" grpId="0"/>
      <p:bldP spid="9" grpId="0"/>
      <p:bldP spid="12" grpId="0"/>
      <p:bldP spid="13" grpId="0" animBg="1"/>
      <p:bldP spid="33" grpId="0"/>
      <p:bldP spid="34" grpId="0" animBg="1"/>
      <p:bldP spid="59" grpId="0" animBg="1"/>
      <p:bldGraphic spid="61" grpId="0">
        <p:bldAsOne/>
      </p:bldGraphic>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6" y="2534625"/>
            <a:ext cx="6400800" cy="997196"/>
          </a:xfrm>
        </p:spPr>
        <p:txBody>
          <a:bodyPr/>
          <a:lstStyle/>
          <a:p>
            <a:r>
              <a:rPr lang="en-US" dirty="0"/>
              <a:t>Module 5 Activity: The modern development platform</a:t>
            </a:r>
          </a:p>
        </p:txBody>
      </p:sp>
      <p:sp>
        <p:nvSpPr>
          <p:cNvPr id="4" name="Text Placeholder 3"/>
          <p:cNvSpPr>
            <a:spLocks noGrp="1"/>
          </p:cNvSpPr>
          <p:nvPr>
            <p:ph type="body" sz="quarter" idx="12"/>
          </p:nvPr>
        </p:nvSpPr>
        <p:spPr/>
        <p:txBody>
          <a:bodyPr/>
          <a:lstStyle/>
          <a:p>
            <a:r>
              <a:rPr lang="en-US" dirty="0"/>
              <a:t>SQL Server with Python and Java</a:t>
            </a:r>
          </a:p>
        </p:txBody>
      </p:sp>
    </p:spTree>
    <p:extLst>
      <p:ext uri="{BB962C8B-B14F-4D97-AF65-F5344CB8AC3E}">
        <p14:creationId xmlns:p14="http://schemas.microsoft.com/office/powerpoint/2010/main" val="8707612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014ADE61-DB2C-409E-AC7F-4677771D5E65}"/>
              </a:ext>
            </a:extLst>
          </p:cNvPr>
          <p:cNvGraphicFramePr>
            <a:graphicFrameLocks noGrp="1"/>
          </p:cNvGraphicFramePr>
          <p:nvPr>
            <p:extLst/>
          </p:nvPr>
        </p:nvGraphicFramePr>
        <p:xfrm>
          <a:off x="462988" y="1777316"/>
          <a:ext cx="11338560" cy="3763282"/>
        </p:xfrm>
        <a:graphic>
          <a:graphicData uri="http://schemas.openxmlformats.org/drawingml/2006/table">
            <a:tbl>
              <a:tblPr bandRow="1">
                <a:tableStyleId>{69012ECD-51FC-41F1-AA8D-1B2483CD663E}</a:tableStyleId>
              </a:tblPr>
              <a:tblGrid>
                <a:gridCol w="2468880">
                  <a:extLst>
                    <a:ext uri="{9D8B030D-6E8A-4147-A177-3AD203B41FA5}">
                      <a16:colId xmlns:a16="http://schemas.microsoft.com/office/drawing/2014/main" val="20000"/>
                    </a:ext>
                  </a:extLst>
                </a:gridCol>
                <a:gridCol w="3931920">
                  <a:extLst>
                    <a:ext uri="{9D8B030D-6E8A-4147-A177-3AD203B41FA5}">
                      <a16:colId xmlns:a16="http://schemas.microsoft.com/office/drawing/2014/main" val="20001"/>
                    </a:ext>
                  </a:extLst>
                </a:gridCol>
                <a:gridCol w="2468880">
                  <a:extLst>
                    <a:ext uri="{9D8B030D-6E8A-4147-A177-3AD203B41FA5}">
                      <a16:colId xmlns:a16="http://schemas.microsoft.com/office/drawing/2014/main" val="20003"/>
                    </a:ext>
                  </a:extLst>
                </a:gridCol>
                <a:gridCol w="2468880">
                  <a:extLst>
                    <a:ext uri="{9D8B030D-6E8A-4147-A177-3AD203B41FA5}">
                      <a16:colId xmlns:a16="http://schemas.microsoft.com/office/drawing/2014/main" val="20005"/>
                    </a:ext>
                  </a:extLst>
                </a:gridCol>
              </a:tblGrid>
              <a:tr h="566928">
                <a:tc>
                  <a:txBody>
                    <a:bodyPr/>
                    <a:lstStyle/>
                    <a:p>
                      <a:pPr marL="0" marR="0" lvl="0" indent="0" algn="l" defTabSz="914171"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latin typeface="Segoe UI Semilight" panose="020B0402040204020203" pitchFamily="34" charset="0"/>
                        <a:ea typeface="Segoe UI" pitchFamily="34" charset="0"/>
                        <a:cs typeface="Segoe UI Semilight" panose="020B0402040204020203" pitchFamily="34" charset="0"/>
                      </a:endParaRPr>
                    </a:p>
                  </a:txBody>
                  <a:tcPr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rgbClr val="0078D7"/>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1" kern="1200" spc="0" baseline="0" dirty="0">
                          <a:solidFill>
                            <a:schemeClr val="bg1"/>
                          </a:solidFill>
                          <a:latin typeface="Segoe UI Semibold" charset="0"/>
                          <a:ea typeface="+mn-ea"/>
                          <a:cs typeface="Segoe UI Semibold" charset="0"/>
                        </a:rPr>
                        <a:t>Current support level</a:t>
                      </a:r>
                    </a:p>
                  </a:txBody>
                  <a:tcPr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rgbClr val="0078D7"/>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1" kern="1200" spc="0" baseline="0" dirty="0">
                          <a:solidFill>
                            <a:schemeClr val="bg1"/>
                          </a:solidFill>
                          <a:latin typeface="Segoe UI Semibold" charset="0"/>
                          <a:ea typeface="+mn-ea"/>
                          <a:cs typeface="Segoe UI Semibold" charset="0"/>
                        </a:rPr>
                        <a:t>End mainstream</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1" kern="1200" spc="0" baseline="0" dirty="0">
                          <a:solidFill>
                            <a:schemeClr val="bg1"/>
                          </a:solidFill>
                          <a:latin typeface="Segoe UI Semibold" charset="0"/>
                          <a:ea typeface="+mn-ea"/>
                          <a:cs typeface="Segoe UI Semibold" charset="0"/>
                        </a:rPr>
                        <a:t>End extended</a:t>
                      </a:r>
                    </a:p>
                  </a:txBody>
                  <a:tcPr anchor="ctr">
                    <a:lnL w="6350"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165163841"/>
                  </a:ext>
                </a:extLst>
              </a:tr>
              <a:tr h="731520">
                <a:tc>
                  <a:txBody>
                    <a:bodyPr/>
                    <a:lstStyle/>
                    <a:p>
                      <a:pPr marL="0" marR="0" lvl="0" indent="0" algn="l" defTabSz="914171" rtl="0" eaLnBrk="1" fontAlgn="auto" latinLnBrk="0" hangingPunct="1">
                        <a:lnSpc>
                          <a:spcPct val="100000"/>
                        </a:lnSpc>
                        <a:spcBef>
                          <a:spcPts val="0"/>
                        </a:spcBef>
                        <a:spcAft>
                          <a:spcPts val="0"/>
                        </a:spcAft>
                        <a:buClrTx/>
                        <a:buSzTx/>
                        <a:buFontTx/>
                        <a:buNone/>
                        <a:tabLst/>
                        <a:defRPr/>
                      </a:pPr>
                      <a:r>
                        <a:rPr lang="en-US" sz="1200" b="1" i="0" kern="1200" spc="0" baseline="0" noProof="0" dirty="0">
                          <a:solidFill>
                            <a:schemeClr val="tx2"/>
                          </a:solidFill>
                          <a:effectLst/>
                          <a:latin typeface="Segoe UI Semibold" charset="0"/>
                          <a:ea typeface="Segoe UI Semibold" charset="0"/>
                          <a:cs typeface="Segoe UI Semibold" charset="0"/>
                        </a:rPr>
                        <a:t>SQL Server 2014</a:t>
                      </a:r>
                    </a:p>
                  </a:txBody>
                  <a:tcPr anchor="ctr">
                    <a:lnL w="952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chemeClr val="dk1"/>
                          </a:solidFill>
                          <a:effectLst/>
                          <a:latin typeface="+mn-lt"/>
                          <a:ea typeface="+mn-ea"/>
                          <a:cs typeface="+mn-cs"/>
                        </a:rPr>
                        <a:t>Currently supporting all versions</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chemeClr val="dk1"/>
                          </a:solidFill>
                          <a:effectLst/>
                          <a:latin typeface="+mn-lt"/>
                          <a:ea typeface="+mn-ea"/>
                          <a:cs typeface="+mn-cs"/>
                        </a:rPr>
                        <a:t>July 9, 2019</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chemeClr val="dk1"/>
                          </a:solidFill>
                          <a:effectLst/>
                          <a:latin typeface="+mn-lt"/>
                          <a:ea typeface="+mn-ea"/>
                          <a:cs typeface="+mn-cs"/>
                        </a:rPr>
                        <a:t>July 9, 2024</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73152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1" i="0" kern="1200" spc="0" baseline="0" dirty="0">
                          <a:solidFill>
                            <a:schemeClr val="tx2"/>
                          </a:solidFill>
                          <a:effectLst/>
                          <a:latin typeface="Segoe UI Semibold" charset="0"/>
                          <a:ea typeface="Segoe UI Semibold" charset="0"/>
                          <a:cs typeface="Segoe UI Semibold" charset="0"/>
                        </a:rPr>
                        <a:t>SQL Server 2012</a:t>
                      </a:r>
                    </a:p>
                  </a:txBody>
                  <a:tcPr anchor="ctr">
                    <a:lnL w="952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rgbClr val="E8112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chemeClr val="dk1"/>
                          </a:solidFill>
                          <a:effectLst/>
                          <a:latin typeface="+mn-lt"/>
                          <a:ea typeface="+mn-ea"/>
                          <a:cs typeface="+mn-cs"/>
                        </a:rPr>
                        <a:t>SQL Server 2012 SP2+ is in mainstream support until CY 2017</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rgbClr val="E8112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chemeClr val="dk1"/>
                          </a:solidFill>
                          <a:effectLst/>
                          <a:latin typeface="+mn-lt"/>
                          <a:ea typeface="+mn-ea"/>
                          <a:cs typeface="+mn-cs"/>
                        </a:rPr>
                        <a:t>July 11, 2017</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rgbClr val="E8112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chemeClr val="dk1"/>
                          </a:solidFill>
                          <a:effectLst/>
                          <a:latin typeface="+mn-lt"/>
                          <a:ea typeface="+mn-ea"/>
                          <a:cs typeface="+mn-cs"/>
                        </a:rPr>
                        <a:t>July 12, 2022</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rgbClr val="E8112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00584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IN" sz="1200" b="1" i="0" kern="1200" spc="0" baseline="0" dirty="0">
                          <a:solidFill>
                            <a:srgbClr val="E82122"/>
                          </a:solidFill>
                          <a:effectLst/>
                          <a:latin typeface="Segoe UI Semibold" charset="0"/>
                          <a:ea typeface="Segoe UI Semibold" charset="0"/>
                          <a:cs typeface="Segoe UI Semibold" charset="0"/>
                        </a:rPr>
                        <a:t>SQL Server 2008 and </a:t>
                      </a:r>
                      <a:br>
                        <a:rPr lang="en-IN" sz="1200" b="1" i="0" kern="1200" spc="0" baseline="0" dirty="0">
                          <a:solidFill>
                            <a:srgbClr val="E82122"/>
                          </a:solidFill>
                          <a:effectLst/>
                          <a:latin typeface="Segoe UI Semibold" charset="0"/>
                          <a:ea typeface="Segoe UI Semibold" charset="0"/>
                          <a:cs typeface="Segoe UI Semibold" charset="0"/>
                        </a:rPr>
                      </a:br>
                      <a:r>
                        <a:rPr lang="en-IN" sz="1200" b="1" i="0" kern="1200" spc="0" baseline="0" dirty="0">
                          <a:solidFill>
                            <a:srgbClr val="E82122"/>
                          </a:solidFill>
                          <a:effectLst/>
                          <a:latin typeface="Segoe UI Semibold" charset="0"/>
                          <a:ea typeface="Segoe UI Semibold" charset="0"/>
                          <a:cs typeface="Segoe UI Semibold" charset="0"/>
                        </a:rPr>
                        <a:t>SQL Server 2008 R2</a:t>
                      </a:r>
                    </a:p>
                  </a:txBody>
                  <a:tcPr marT="182880" anchor="ctr">
                    <a:lnL w="12700" cap="flat" cmpd="sng" algn="ctr">
                      <a:solidFill>
                        <a:srgbClr val="E81123"/>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E8112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chemeClr val="dk1"/>
                          </a:solidFill>
                          <a:effectLst/>
                          <a:latin typeface="+mn-lt"/>
                          <a:ea typeface="+mn-ea"/>
                          <a:cs typeface="+mn-cs"/>
                        </a:rPr>
                        <a:t>SQL Server 2008 and 2008 R2 are in extended support which includes security updates, paid support, and requires purchasing non-security hotfix support</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E8112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rgbClr val="E81123"/>
                          </a:solidFill>
                          <a:effectLst/>
                          <a:latin typeface="Segoe UI Semibold" panose="020B0702040204020203" pitchFamily="34" charset="0"/>
                          <a:ea typeface="+mn-ea"/>
                          <a:cs typeface="Segoe UI Semibold" panose="020B0702040204020203" pitchFamily="34" charset="0"/>
                        </a:rPr>
                        <a:t>July 8, 2014</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E8112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rgbClr val="FF0000"/>
                          </a:solidFill>
                          <a:effectLst/>
                          <a:latin typeface="Segoe UI Semibold" panose="020B0702040204020203" pitchFamily="34" charset="0"/>
                          <a:ea typeface="+mn-ea"/>
                          <a:cs typeface="Segoe UI Semibold" panose="020B0702040204020203" pitchFamily="34" charset="0"/>
                        </a:rPr>
                        <a:t>July 9, 2019</a:t>
                      </a:r>
                    </a:p>
                  </a:txBody>
                  <a:tcPr anchor="ctr">
                    <a:lnL w="3175" cap="flat" cmpd="sng" algn="ctr">
                      <a:noFill/>
                      <a:prstDash val="solid"/>
                      <a:round/>
                      <a:headEnd type="none" w="med" len="med"/>
                      <a:tailEnd type="none" w="med" len="med"/>
                    </a:lnL>
                    <a:lnR w="12700" cap="flat" cmpd="sng" algn="ctr">
                      <a:solidFill>
                        <a:srgbClr val="E81123"/>
                      </a:solidFill>
                      <a:prstDash val="solid"/>
                      <a:round/>
                      <a:headEnd type="none" w="med" len="med"/>
                      <a:tailEnd type="none" w="med" len="med"/>
                    </a:lnR>
                    <a:lnT w="12700" cap="flat" cmpd="sng" algn="ctr">
                      <a:solidFill>
                        <a:srgbClr val="E8112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727474">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1" i="0" kern="1200" spc="0" baseline="0" dirty="0">
                          <a:solidFill>
                            <a:schemeClr val="bg1"/>
                          </a:solidFill>
                          <a:effectLst/>
                          <a:latin typeface="Segoe UI Semibold" charset="0"/>
                          <a:ea typeface="Segoe UI Semibold" charset="0"/>
                          <a:cs typeface="Segoe UI Semibold" charset="0"/>
                        </a:rPr>
                        <a:t>SQL Server 2005</a:t>
                      </a:r>
                    </a:p>
                  </a:txBody>
                  <a:tcPr marT="182880" anchor="ctr">
                    <a:lnL w="12700" cap="flat" cmpd="sng" algn="ctr">
                      <a:solidFill>
                        <a:srgbClr val="E81123"/>
                      </a:solid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E81123"/>
                      </a:solidFill>
                      <a:prstDash val="solid"/>
                      <a:round/>
                      <a:headEnd type="none" w="med" len="med"/>
                      <a:tailEnd type="none" w="med" len="med"/>
                    </a:lnB>
                    <a:lnTlToBr w="12700" cmpd="sng">
                      <a:noFill/>
                      <a:prstDash val="solid"/>
                    </a:lnTlToBr>
                    <a:lnBlToTr w="12700" cmpd="sng">
                      <a:noFill/>
                      <a:prstDash val="solid"/>
                    </a:lnBlToTr>
                    <a:solidFill>
                      <a:srgbClr val="E81123"/>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chemeClr val="bg1"/>
                          </a:solidFill>
                          <a:effectLst/>
                          <a:latin typeface="+mn-lt"/>
                          <a:ea typeface="+mn-ea"/>
                          <a:cs typeface="+mn-cs"/>
                        </a:rPr>
                        <a:t>SQL Server 2005 support ended on April 12, 2016</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E81123"/>
                      </a:solidFill>
                      <a:prstDash val="solid"/>
                      <a:round/>
                      <a:headEnd type="none" w="med" len="med"/>
                      <a:tailEnd type="none" w="med" len="med"/>
                    </a:lnB>
                    <a:lnTlToBr w="12700" cmpd="sng">
                      <a:noFill/>
                      <a:prstDash val="solid"/>
                    </a:lnTlToBr>
                    <a:lnBlToTr w="12700" cmpd="sng">
                      <a:noFill/>
                      <a:prstDash val="solid"/>
                    </a:lnBlToTr>
                    <a:solidFill>
                      <a:srgbClr val="E81123"/>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chemeClr val="bg1"/>
                          </a:solidFill>
                          <a:effectLst/>
                          <a:latin typeface="Segoe UI Semibold" panose="020B0702040204020203" pitchFamily="34" charset="0"/>
                          <a:ea typeface="+mn-ea"/>
                          <a:cs typeface="Segoe UI Semibold" panose="020B0702040204020203" pitchFamily="34" charset="0"/>
                        </a:rPr>
                        <a:t>April 12, 2011</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E81123"/>
                      </a:solidFill>
                      <a:prstDash val="solid"/>
                      <a:round/>
                      <a:headEnd type="none" w="med" len="med"/>
                      <a:tailEnd type="none" w="med" len="med"/>
                    </a:lnB>
                    <a:lnTlToBr w="12700" cmpd="sng">
                      <a:noFill/>
                      <a:prstDash val="solid"/>
                    </a:lnTlToBr>
                    <a:lnBlToTr w="12700" cmpd="sng">
                      <a:noFill/>
                      <a:prstDash val="solid"/>
                    </a:lnBlToTr>
                    <a:solidFill>
                      <a:srgbClr val="E81123"/>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chemeClr val="bg1"/>
                          </a:solidFill>
                          <a:effectLst/>
                          <a:latin typeface="Segoe UI Semibold" panose="020B0702040204020203" pitchFamily="34" charset="0"/>
                          <a:ea typeface="+mn-ea"/>
                          <a:cs typeface="Segoe UI Semibold" panose="020B0702040204020203" pitchFamily="34" charset="0"/>
                        </a:rPr>
                        <a:t>April 12, 2016</a:t>
                      </a:r>
                    </a:p>
                  </a:txBody>
                  <a:tcPr anchor="ctr">
                    <a:lnL w="3175" cap="flat" cmpd="sng" algn="ctr">
                      <a:noFill/>
                      <a:prstDash val="solid"/>
                      <a:round/>
                      <a:headEnd type="none" w="med" len="med"/>
                      <a:tailEnd type="none" w="med" len="med"/>
                    </a:lnL>
                    <a:lnR w="12700" cap="flat" cmpd="sng" algn="ctr">
                      <a:solidFill>
                        <a:srgbClr val="E8112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E81123"/>
                      </a:solidFill>
                      <a:prstDash val="solid"/>
                      <a:round/>
                      <a:headEnd type="none" w="med" len="med"/>
                      <a:tailEnd type="none" w="med" len="med"/>
                    </a:lnB>
                    <a:lnTlToBr w="12700" cmpd="sng">
                      <a:noFill/>
                      <a:prstDash val="solid"/>
                    </a:lnTlToBr>
                    <a:lnBlToTr w="12700" cmpd="sng">
                      <a:noFill/>
                      <a:prstDash val="solid"/>
                    </a:lnBlToTr>
                    <a:solidFill>
                      <a:srgbClr val="E81123"/>
                    </a:solidFill>
                  </a:tcPr>
                </a:tc>
                <a:extLst>
                  <a:ext uri="{0D108BD9-81ED-4DB2-BD59-A6C34878D82A}">
                    <a16:rowId xmlns:a16="http://schemas.microsoft.com/office/drawing/2014/main" val="10003"/>
                  </a:ext>
                </a:extLst>
              </a:tr>
            </a:tbl>
          </a:graphicData>
        </a:graphic>
      </p:graphicFrame>
      <p:sp>
        <p:nvSpPr>
          <p:cNvPr id="5" name="Rectangle 4">
            <a:extLst>
              <a:ext uri="{FF2B5EF4-FFF2-40B4-BE49-F238E27FC236}">
                <a16:creationId xmlns:a16="http://schemas.microsoft.com/office/drawing/2014/main" id="{CDF02AE9-7789-430C-9EC6-4EE89E32ED23}"/>
              </a:ext>
            </a:extLst>
          </p:cNvPr>
          <p:cNvSpPr/>
          <p:nvPr>
            <p:custDataLst>
              <p:tags r:id="rId1"/>
            </p:custDataLst>
          </p:nvPr>
        </p:nvSpPr>
        <p:spPr>
          <a:xfrm>
            <a:off x="435080" y="6044336"/>
            <a:ext cx="9310803" cy="305961"/>
          </a:xfrm>
          <a:prstGeom prst="rect">
            <a:avLst/>
          </a:prstGeom>
          <a:noFill/>
          <a:ln w="6350" cap="flat" cmpd="sng" algn="ctr">
            <a:noFill/>
            <a:prstDash val="solid"/>
            <a:headEnd type="none" w="med" len="med"/>
            <a:tailEnd type="none" w="med" len="med"/>
          </a:ln>
          <a:effectLst/>
        </p:spPr>
        <p:txBody>
          <a:bodyPr vert="horz" wrap="square" lIns="89642" tIns="44821" rIns="89642" bIns="44821" numCol="1" spcCol="182880" rtlCol="0" anchor="t" anchorCtr="0" compatLnSpc="1">
            <a:prstTxWarp prst="textNoShape">
              <a:avLst/>
            </a:prstTxWarp>
            <a:spAutoFit/>
          </a:bodyPr>
          <a:lstStyle/>
          <a:p>
            <a:pPr marL="0" marR="0" lvl="0" indent="0" algn="l" defTabSz="89635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charset="0"/>
                <a:ea typeface="Segoe UI" charset="0"/>
                <a:cs typeface="Segoe UI" charset="0"/>
              </a:rPr>
              <a:t>Learn more about the SQL Server support lifecycle: </a:t>
            </a:r>
            <a:r>
              <a:rPr kumimoji="0" lang="en-US" sz="1400" b="0" i="0" u="none" strike="noStrike" kern="1200" cap="none" spc="0" normalizeH="0" baseline="0" noProof="0" dirty="0">
                <a:ln>
                  <a:noFill/>
                </a:ln>
                <a:solidFill>
                  <a:srgbClr val="505050"/>
                </a:solidFill>
                <a:effectLst/>
                <a:uLnTx/>
                <a:uFillTx/>
                <a:latin typeface="Segoe UI" charset="0"/>
                <a:ea typeface="Segoe UI" charset="0"/>
                <a:cs typeface="Segoe UI" charset="0"/>
                <a:hlinkClick r:id="rId4"/>
              </a:rPr>
              <a:t>support.microsoft.com/lifecycle/</a:t>
            </a:r>
            <a:r>
              <a:rPr kumimoji="0" lang="en-US" sz="1400" b="0" i="0" u="none" strike="noStrike" kern="1200" cap="none" spc="0" normalizeH="0" baseline="0" noProof="0" dirty="0">
                <a:ln>
                  <a:noFill/>
                </a:ln>
                <a:solidFill>
                  <a:srgbClr val="505050"/>
                </a:solidFill>
                <a:effectLst/>
                <a:uLnTx/>
                <a:uFillTx/>
                <a:latin typeface="Segoe UI" charset="0"/>
                <a:ea typeface="Segoe UI" charset="0"/>
                <a:cs typeface="Segoe UI" charset="0"/>
              </a:rPr>
              <a:t> </a:t>
            </a:r>
          </a:p>
        </p:txBody>
      </p:sp>
      <p:grpSp>
        <p:nvGrpSpPr>
          <p:cNvPr id="25" name="Group 24"/>
          <p:cNvGrpSpPr/>
          <p:nvPr/>
        </p:nvGrpSpPr>
        <p:grpSpPr>
          <a:xfrm>
            <a:off x="547416" y="3901164"/>
            <a:ext cx="186362" cy="169431"/>
            <a:chOff x="1974960" y="3914713"/>
            <a:chExt cx="203964" cy="185434"/>
          </a:xfrm>
        </p:grpSpPr>
        <p:sp>
          <p:nvSpPr>
            <p:cNvPr id="7" name="Freeform 5">
              <a:extLst>
                <a:ext uri="{FF2B5EF4-FFF2-40B4-BE49-F238E27FC236}">
                  <a16:creationId xmlns:a16="http://schemas.microsoft.com/office/drawing/2014/main" id="{AE19F695-D7DA-467D-A332-7E85508EF813}"/>
                </a:ext>
              </a:extLst>
            </p:cNvPr>
            <p:cNvSpPr>
              <a:spLocks noEditPoints="1"/>
            </p:cNvSpPr>
            <p:nvPr/>
          </p:nvSpPr>
          <p:spPr bwMode="auto">
            <a:xfrm>
              <a:off x="1974960" y="3914713"/>
              <a:ext cx="203964" cy="185434"/>
            </a:xfrm>
            <a:prstGeom prst="triangle">
              <a:avLst/>
            </a:prstGeom>
            <a:noFill/>
            <a:ln w="12700">
              <a:solidFill>
                <a:srgbClr val="E8112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CC72141F-D352-4496-A040-46C400EB8CCD}"/>
                </a:ext>
              </a:extLst>
            </p:cNvPr>
            <p:cNvGrpSpPr/>
            <p:nvPr/>
          </p:nvGrpSpPr>
          <p:grpSpPr>
            <a:xfrm>
              <a:off x="2076942" y="3969548"/>
              <a:ext cx="0" cy="107812"/>
              <a:chOff x="4791447" y="2616042"/>
              <a:chExt cx="0" cy="1427764"/>
            </a:xfrm>
            <a:noFill/>
          </p:grpSpPr>
          <p:cxnSp>
            <p:nvCxnSpPr>
              <p:cNvPr id="10" name="Straight Connector 9">
                <a:extLst>
                  <a:ext uri="{FF2B5EF4-FFF2-40B4-BE49-F238E27FC236}">
                    <a16:creationId xmlns:a16="http://schemas.microsoft.com/office/drawing/2014/main" id="{2135B667-7944-46C5-8CFC-33A1D7D15EF5}"/>
                  </a:ext>
                </a:extLst>
              </p:cNvPr>
              <p:cNvCxnSpPr>
                <a:cxnSpLocks/>
              </p:cNvCxnSpPr>
              <p:nvPr/>
            </p:nvCxnSpPr>
            <p:spPr>
              <a:xfrm>
                <a:off x="4791447" y="2616042"/>
                <a:ext cx="0" cy="1030199"/>
              </a:xfrm>
              <a:prstGeom prst="line">
                <a:avLst/>
              </a:prstGeom>
              <a:grpFill/>
              <a:ln w="12700">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CF686A4D-23C8-4335-A343-AFC53A5086B9}"/>
                  </a:ext>
                </a:extLst>
              </p:cNvPr>
              <p:cNvCxnSpPr>
                <a:cxnSpLocks/>
              </p:cNvCxnSpPr>
              <p:nvPr/>
            </p:nvCxnSpPr>
            <p:spPr>
              <a:xfrm>
                <a:off x="4791447" y="3793908"/>
                <a:ext cx="0" cy="249898"/>
              </a:xfrm>
              <a:prstGeom prst="line">
                <a:avLst/>
              </a:prstGeom>
              <a:grpFill/>
              <a:ln w="12700">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4" name="Group 3"/>
          <p:cNvGrpSpPr/>
          <p:nvPr/>
        </p:nvGrpSpPr>
        <p:grpSpPr>
          <a:xfrm>
            <a:off x="547416" y="4901802"/>
            <a:ext cx="186362" cy="169431"/>
            <a:chOff x="1974960" y="5171650"/>
            <a:chExt cx="203964" cy="185434"/>
          </a:xfrm>
        </p:grpSpPr>
        <p:sp>
          <p:nvSpPr>
            <p:cNvPr id="13" name="Freeform 5">
              <a:extLst>
                <a:ext uri="{FF2B5EF4-FFF2-40B4-BE49-F238E27FC236}">
                  <a16:creationId xmlns:a16="http://schemas.microsoft.com/office/drawing/2014/main" id="{4D8D879E-04AE-447B-BC1B-4D1847A510C1}"/>
                </a:ext>
              </a:extLst>
            </p:cNvPr>
            <p:cNvSpPr>
              <a:spLocks noEditPoints="1"/>
            </p:cNvSpPr>
            <p:nvPr/>
          </p:nvSpPr>
          <p:spPr bwMode="auto">
            <a:xfrm>
              <a:off x="1974960" y="5171650"/>
              <a:ext cx="203964" cy="185434"/>
            </a:xfrm>
            <a:prstGeom prst="triangle">
              <a:avLst/>
            </a:prstGeom>
            <a:noFill/>
            <a:ln w="12700">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4" name="Group 13">
              <a:extLst>
                <a:ext uri="{FF2B5EF4-FFF2-40B4-BE49-F238E27FC236}">
                  <a16:creationId xmlns:a16="http://schemas.microsoft.com/office/drawing/2014/main" id="{706E49C1-3A2D-40FE-B6BB-233EFD71E052}"/>
                </a:ext>
              </a:extLst>
            </p:cNvPr>
            <p:cNvGrpSpPr/>
            <p:nvPr/>
          </p:nvGrpSpPr>
          <p:grpSpPr>
            <a:xfrm>
              <a:off x="2076942" y="5226485"/>
              <a:ext cx="0" cy="107812"/>
              <a:chOff x="4791447" y="2616042"/>
              <a:chExt cx="0" cy="1427764"/>
            </a:xfrm>
            <a:noFill/>
          </p:grpSpPr>
          <p:cxnSp>
            <p:nvCxnSpPr>
              <p:cNvPr id="15" name="Straight Connector 14">
                <a:extLst>
                  <a:ext uri="{FF2B5EF4-FFF2-40B4-BE49-F238E27FC236}">
                    <a16:creationId xmlns:a16="http://schemas.microsoft.com/office/drawing/2014/main" id="{1040745B-94E1-407B-AE56-E0D79FE16754}"/>
                  </a:ext>
                </a:extLst>
              </p:cNvPr>
              <p:cNvCxnSpPr>
                <a:cxnSpLocks/>
              </p:cNvCxnSpPr>
              <p:nvPr/>
            </p:nvCxnSpPr>
            <p:spPr>
              <a:xfrm>
                <a:off x="4791447" y="2616042"/>
                <a:ext cx="0" cy="1030199"/>
              </a:xfrm>
              <a:prstGeom prst="line">
                <a:avLst/>
              </a:prstGeom>
              <a:grpFill/>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C6E59D07-FCE0-4D70-BB5C-F33CBAF0519E}"/>
                  </a:ext>
                </a:extLst>
              </p:cNvPr>
              <p:cNvCxnSpPr>
                <a:cxnSpLocks/>
              </p:cNvCxnSpPr>
              <p:nvPr/>
            </p:nvCxnSpPr>
            <p:spPr>
              <a:xfrm>
                <a:off x="4791447" y="3793908"/>
                <a:ext cx="0" cy="249898"/>
              </a:xfrm>
              <a:prstGeom prst="line">
                <a:avLst/>
              </a:prstGeom>
              <a:grpFill/>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Text Placeholder 2">
            <a:extLst>
              <a:ext uri="{FF2B5EF4-FFF2-40B4-BE49-F238E27FC236}">
                <a16:creationId xmlns:a16="http://schemas.microsoft.com/office/drawing/2014/main" id="{76A4A459-0D39-4E58-A084-AEC7B4257855}"/>
              </a:ext>
            </a:extLst>
          </p:cNvPr>
          <p:cNvSpPr txBox="1">
            <a:spLocks/>
          </p:cNvSpPr>
          <p:nvPr/>
        </p:nvSpPr>
        <p:spPr>
          <a:xfrm>
            <a:off x="269241" y="799318"/>
            <a:ext cx="8770587" cy="40011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100000"/>
              </a:lnSpc>
              <a:spcBef>
                <a:spcPts val="1400"/>
              </a:spcBef>
              <a:spcAft>
                <a:spcPts val="0"/>
              </a:spcAft>
              <a:buClrTx/>
              <a:buSzPct val="90000"/>
              <a:buFont typeface="Arial" panose="020B0604020202020204" pitchFamily="34" charset="0"/>
              <a:buNone/>
              <a:tabLst/>
              <a:defRPr lang="en-US" sz="1400" kern="1200" spc="100" baseline="0" dirty="0" smtClean="0">
                <a:solidFill>
                  <a:schemeClr val="bg1"/>
                </a:solidFill>
                <a:latin typeface="Segoe UI Semilight" charset="0"/>
                <a:ea typeface="Segoe UI Semilight" charset="0"/>
                <a:cs typeface="Segoe UI Semilight" charset="0"/>
              </a:defRPr>
            </a:lvl1pPr>
            <a:lvl2pPr marL="336145"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400" kern="1200" spc="0" baseline="0">
                <a:solidFill>
                  <a:schemeClr val="bg1"/>
                </a:solidFill>
                <a:latin typeface="+mn-lt"/>
                <a:ea typeface="+mn-ea"/>
                <a:cs typeface="+mn-cs"/>
              </a:defRPr>
            </a:lvl2pPr>
            <a:lvl3pPr marL="560241"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200" kern="1200" spc="0" baseline="0">
                <a:solidFill>
                  <a:schemeClr val="bg1"/>
                </a:solidFill>
                <a:latin typeface="+mn-lt"/>
                <a:ea typeface="+mn-ea"/>
                <a:cs typeface="+mn-cs"/>
              </a:defRPr>
            </a:lvl3pPr>
            <a:lvl4pPr marL="784338"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100" kern="1200" spc="0" baseline="0">
                <a:solidFill>
                  <a:schemeClr val="bg1"/>
                </a:solidFill>
                <a:latin typeface="+mn-lt"/>
                <a:ea typeface="+mn-ea"/>
                <a:cs typeface="+mn-cs"/>
              </a:defRPr>
            </a:lvl4pPr>
            <a:lvl5pPr marL="1008434"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100" kern="1200" spc="0" baseline="0">
                <a:solidFill>
                  <a:schemeClr val="bg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1400"/>
              </a:spcBef>
              <a:spcAft>
                <a:spcPts val="0"/>
              </a:spcAft>
              <a:buClrTx/>
              <a:buSzPct val="90000"/>
              <a:buFont typeface="Arial" panose="020B0604020202020204" pitchFamily="34" charset="0"/>
              <a:buNone/>
              <a:tabLst/>
              <a:defRPr/>
            </a:pPr>
            <a:r>
              <a:rPr kumimoji="0" lang="en-US" sz="1400" b="0" i="0" u="none" strike="noStrike" kern="1200" cap="none" spc="50" normalizeH="0" noProof="0" dirty="0">
                <a:ln>
                  <a:noFill/>
                </a:ln>
                <a:solidFill>
                  <a:srgbClr val="0078D7"/>
                </a:solidFill>
                <a:effectLst/>
                <a:uLnTx/>
                <a:uFillTx/>
                <a:latin typeface="Segoe UI Semilight" charset="0"/>
                <a:ea typeface="Segoe UI Semilight" charset="0"/>
                <a:cs typeface="Segoe UI Semilight" charset="0"/>
              </a:rPr>
              <a:t>SQL Server 2008 and 2008 R2 will no longer be supported starting on </a:t>
            </a:r>
            <a:r>
              <a:rPr kumimoji="0" lang="en-US" sz="1400" b="1" i="0" u="none" strike="noStrike" kern="1200" cap="none" spc="50" normalizeH="0" noProof="0" dirty="0">
                <a:ln>
                  <a:noFill/>
                </a:ln>
                <a:solidFill>
                  <a:srgbClr val="0078D7"/>
                </a:solidFill>
                <a:effectLst/>
                <a:uLnTx/>
                <a:uFillTx/>
                <a:latin typeface="Segoe UI Semibold" charset="0"/>
                <a:ea typeface="Segoe UI Semibold" charset="0"/>
                <a:cs typeface="Segoe UI Semibold" charset="0"/>
              </a:rPr>
              <a:t>July 9, 2019</a:t>
            </a:r>
            <a:r>
              <a:rPr kumimoji="0" lang="en-US" sz="1400" b="0" i="0" u="none" strike="noStrike" kern="1200" cap="none" spc="50" normalizeH="0" noProof="0" dirty="0">
                <a:ln>
                  <a:noFill/>
                </a:ln>
                <a:solidFill>
                  <a:srgbClr val="0078D7"/>
                </a:solidFill>
                <a:effectLst/>
                <a:uLnTx/>
                <a:uFillTx/>
                <a:latin typeface="Segoe UI Semilight" charset="0"/>
                <a:ea typeface="Segoe UI Semilight" charset="0"/>
                <a:cs typeface="Segoe UI Semilight" charset="0"/>
              </a:rPr>
              <a:t>.</a:t>
            </a:r>
          </a:p>
        </p:txBody>
      </p:sp>
      <p:sp>
        <p:nvSpPr>
          <p:cNvPr id="2" name="Title 1">
            <a:extLst>
              <a:ext uri="{FF2B5EF4-FFF2-40B4-BE49-F238E27FC236}">
                <a16:creationId xmlns:a16="http://schemas.microsoft.com/office/drawing/2014/main" id="{42B97E2E-08C1-42AC-8D36-7423F7CD4EBE}"/>
              </a:ext>
            </a:extLst>
          </p:cNvPr>
          <p:cNvSpPr>
            <a:spLocks noGrp="1"/>
          </p:cNvSpPr>
          <p:nvPr>
            <p:ph type="title"/>
          </p:nvPr>
        </p:nvSpPr>
        <p:spPr>
          <a:xfrm>
            <a:off x="269240" y="289511"/>
            <a:ext cx="11655840" cy="430887"/>
          </a:xfrm>
        </p:spPr>
        <p:txBody>
          <a:bodyPr/>
          <a:lstStyle/>
          <a:p>
            <a:pPr algn="l"/>
            <a:r>
              <a:rPr lang="en-US" dirty="0"/>
              <a:t>SQL Server end of support</a:t>
            </a:r>
          </a:p>
        </p:txBody>
      </p:sp>
    </p:spTree>
    <p:extLst>
      <p:ext uri="{BB962C8B-B14F-4D97-AF65-F5344CB8AC3E}">
        <p14:creationId xmlns:p14="http://schemas.microsoft.com/office/powerpoint/2010/main" val="500996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DE104-D85B-43D4-AC99-58903696A798}"/>
              </a:ext>
            </a:extLst>
          </p:cNvPr>
          <p:cNvSpPr>
            <a:spLocks noGrp="1"/>
          </p:cNvSpPr>
          <p:nvPr>
            <p:ph type="title"/>
          </p:nvPr>
        </p:nvSpPr>
        <p:spPr>
          <a:xfrm>
            <a:off x="585216" y="3035808"/>
            <a:ext cx="6400800" cy="498598"/>
          </a:xfrm>
        </p:spPr>
        <p:txBody>
          <a:bodyPr/>
          <a:lstStyle/>
          <a:p>
            <a:r>
              <a:rPr lang="en-US" dirty="0"/>
              <a:t>Module 6: SQL Server on Linux</a:t>
            </a:r>
          </a:p>
        </p:txBody>
      </p:sp>
    </p:spTree>
    <p:extLst>
      <p:ext uri="{BB962C8B-B14F-4D97-AF65-F5344CB8AC3E}">
        <p14:creationId xmlns:p14="http://schemas.microsoft.com/office/powerpoint/2010/main" val="2957100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bwMode="auto">
          <a:xfrm flipH="1">
            <a:off x="5286375" y="-133177"/>
            <a:ext cx="6905625" cy="6858000"/>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5" name="Title 1"/>
          <p:cNvSpPr txBox="1">
            <a:spLocks/>
          </p:cNvSpPr>
          <p:nvPr/>
        </p:nvSpPr>
        <p:spPr>
          <a:xfrm>
            <a:off x="269390" y="146076"/>
            <a:ext cx="4770846" cy="1046440"/>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2800" b="0" kern="1200" cap="all" spc="500" baseline="0">
                <a:ln w="3175">
                  <a:noFill/>
                </a:ln>
                <a:solidFill>
                  <a:schemeClr val="bg1"/>
                </a:solidFill>
                <a:effectLst/>
                <a:latin typeface="Segoe UI Semilight" charset="0"/>
                <a:ea typeface="+mn-ea"/>
                <a:cs typeface="Segoe UI Semilight" charset="0"/>
              </a:defRPr>
            </a:lvl1pPr>
          </a:lstStyle>
          <a:p>
            <a:pPr marL="0" marR="0" lvl="0" indent="0" algn="l" defTabSz="914225" rtl="0" eaLnBrk="1" fontAlgn="auto" latinLnBrk="0" hangingPunct="1">
              <a:lnSpc>
                <a:spcPct val="100000"/>
              </a:lnSpc>
              <a:spcBef>
                <a:spcPts val="0"/>
              </a:spcBef>
              <a:spcAft>
                <a:spcPts val="0"/>
              </a:spcAft>
              <a:buClrTx/>
              <a:buSzTx/>
              <a:buFontTx/>
              <a:buNone/>
              <a:tabLst/>
              <a:defRPr/>
            </a:pPr>
            <a:r>
              <a:rPr lang="en-US" cap="none" spc="-50" dirty="0">
                <a:solidFill>
                  <a:schemeClr val="tx1"/>
                </a:solidFill>
                <a:latin typeface="+mj-lt"/>
                <a:cs typeface="Segoe UI" pitchFamily="34" charset="0"/>
              </a:rPr>
              <a:t>SQL Server on the platform of your choice</a:t>
            </a:r>
            <a:endParaRPr kumimoji="0" lang="en-US" sz="1800" b="0" i="0" u="none" strike="noStrike" kern="1200" cap="all" spc="500" normalizeH="0" baseline="0" noProof="0" dirty="0">
              <a:ln w="3175">
                <a:noFill/>
              </a:ln>
              <a:solidFill>
                <a:schemeClr val="accent1"/>
              </a:solidFill>
              <a:effectLst/>
              <a:uLnTx/>
              <a:uFillTx/>
              <a:ea typeface=""/>
            </a:endParaRPr>
          </a:p>
        </p:txBody>
      </p:sp>
      <p:sp>
        <p:nvSpPr>
          <p:cNvPr id="16" name="Text Placeholder 14"/>
          <p:cNvSpPr txBox="1">
            <a:spLocks/>
          </p:cNvSpPr>
          <p:nvPr/>
        </p:nvSpPr>
        <p:spPr>
          <a:xfrm>
            <a:off x="270068" y="1881407"/>
            <a:ext cx="4770168" cy="2410916"/>
          </a:xfrm>
          <a:prstGeom prst="rect">
            <a:avLst/>
          </a:prstGeom>
        </p:spPr>
        <p:txBody>
          <a:bodyPr vert="horz" wrap="square" lIns="146304" tIns="91440" rIns="146304" bIns="91440" rtlCol="0">
            <a:spAutoFit/>
          </a:bodyPr>
          <a:lstStyle>
            <a:lvl1pPr marL="0" marR="0" indent="0" algn="l" defTabSz="914192" rtl="0" eaLnBrk="1" fontAlgn="auto" latinLnBrk="0" hangingPunct="1">
              <a:lnSpc>
                <a:spcPct val="100000"/>
              </a:lnSpc>
              <a:spcBef>
                <a:spcPts val="1400"/>
              </a:spcBef>
              <a:spcAft>
                <a:spcPts val="0"/>
              </a:spcAft>
              <a:buClr>
                <a:srgbClr val="0078D7"/>
              </a:buClr>
              <a:buSzPct val="90000"/>
              <a:buFont typeface="Arial" panose="020B0604020202020204" pitchFamily="34" charset="0"/>
              <a:buNone/>
              <a:tabLst/>
              <a:defRPr lang="en-US" sz="1400" kern="1200" spc="100" baseline="0" dirty="0" smtClean="0">
                <a:solidFill>
                  <a:schemeClr val="bg1"/>
                </a:solidFill>
                <a:latin typeface="Segoe UI Semilight" charset="0"/>
                <a:ea typeface="Segoe UI Semilight" charset="0"/>
                <a:cs typeface="Segoe UI Semilight" charset="0"/>
              </a:defRPr>
            </a:lvl1pPr>
            <a:lvl2pPr marL="336080" marR="0" indent="0" algn="l" defTabSz="914192" rtl="0" eaLnBrk="1" fontAlgn="auto" latinLnBrk="0" hangingPunct="1">
              <a:lnSpc>
                <a:spcPct val="90000"/>
              </a:lnSpc>
              <a:spcBef>
                <a:spcPct val="20000"/>
              </a:spcBef>
              <a:spcAft>
                <a:spcPts val="0"/>
              </a:spcAft>
              <a:buClr>
                <a:srgbClr val="0078D7"/>
              </a:buClr>
              <a:buSzPct val="90000"/>
              <a:buFont typeface="Arial" pitchFamily="34" charset="0"/>
              <a:buNone/>
              <a:tabLst/>
              <a:defRPr sz="1400" kern="1200" spc="0" baseline="0">
                <a:solidFill>
                  <a:schemeClr val="bg1"/>
                </a:solidFill>
                <a:latin typeface="+mn-lt"/>
                <a:ea typeface="+mn-ea"/>
                <a:cs typeface="+mn-cs"/>
              </a:defRPr>
            </a:lvl2pPr>
            <a:lvl3pPr marL="560134" marR="0" indent="0" algn="l" defTabSz="914192" rtl="0" eaLnBrk="1" fontAlgn="auto" latinLnBrk="0" hangingPunct="1">
              <a:lnSpc>
                <a:spcPct val="90000"/>
              </a:lnSpc>
              <a:spcBef>
                <a:spcPct val="20000"/>
              </a:spcBef>
              <a:spcAft>
                <a:spcPts val="0"/>
              </a:spcAft>
              <a:buClr>
                <a:srgbClr val="0078D7"/>
              </a:buClr>
              <a:buSzPct val="90000"/>
              <a:buFont typeface="Arial" pitchFamily="34" charset="0"/>
              <a:buNone/>
              <a:tabLst/>
              <a:defRPr sz="1200" kern="1200" spc="0" baseline="0">
                <a:solidFill>
                  <a:schemeClr val="bg1"/>
                </a:solidFill>
                <a:latin typeface="+mn-lt"/>
                <a:ea typeface="+mn-ea"/>
                <a:cs typeface="+mn-cs"/>
              </a:defRPr>
            </a:lvl3pPr>
            <a:lvl4pPr marL="784187" marR="0" indent="0" algn="l" defTabSz="914192" rtl="0" eaLnBrk="1" fontAlgn="auto" latinLnBrk="0" hangingPunct="1">
              <a:lnSpc>
                <a:spcPct val="90000"/>
              </a:lnSpc>
              <a:spcBef>
                <a:spcPct val="20000"/>
              </a:spcBef>
              <a:spcAft>
                <a:spcPts val="0"/>
              </a:spcAft>
              <a:buClr>
                <a:srgbClr val="0078D7"/>
              </a:buClr>
              <a:buSzPct val="90000"/>
              <a:buFont typeface="Arial" pitchFamily="34" charset="0"/>
              <a:buNone/>
              <a:tabLst/>
              <a:defRPr sz="1100" kern="1200" spc="0" baseline="0">
                <a:solidFill>
                  <a:schemeClr val="bg1"/>
                </a:solidFill>
                <a:latin typeface="+mn-lt"/>
                <a:ea typeface="+mn-ea"/>
                <a:cs typeface="+mn-cs"/>
              </a:defRPr>
            </a:lvl4pPr>
            <a:lvl5pPr marL="1008241" marR="0" indent="0" algn="l" defTabSz="914192" rtl="0" eaLnBrk="1" fontAlgn="auto" latinLnBrk="0" hangingPunct="1">
              <a:lnSpc>
                <a:spcPct val="90000"/>
              </a:lnSpc>
              <a:spcBef>
                <a:spcPct val="20000"/>
              </a:spcBef>
              <a:spcAft>
                <a:spcPts val="0"/>
              </a:spcAft>
              <a:buClr>
                <a:srgbClr val="0078D7"/>
              </a:buClr>
              <a:buSzPct val="90000"/>
              <a:buFont typeface="Arial" pitchFamily="34" charset="0"/>
              <a:buNone/>
              <a:tabLst/>
              <a:defRPr sz="1100" kern="1200" spc="0" baseline="0">
                <a:solidFill>
                  <a:schemeClr val="bg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1400"/>
              </a:spcBef>
              <a:spcAft>
                <a:spcPts val="0"/>
              </a:spcAft>
              <a:buClr>
                <a:srgbClr val="0078D7"/>
              </a:buClr>
              <a:buSzPct val="90000"/>
              <a:buFont typeface="Arial" panose="020B0604020202020204" pitchFamily="34" charset="0"/>
              <a:buNone/>
              <a:tabLst/>
              <a:defRPr/>
            </a:pPr>
            <a:r>
              <a:rPr kumimoji="0" lang="en-US" sz="1400" b="0" i="0" u="none" strike="noStrike" kern="1200" cap="none" spc="100" normalizeH="0" baseline="0" noProof="0" dirty="0">
                <a:ln>
                  <a:noFill/>
                </a:ln>
                <a:solidFill>
                  <a:schemeClr val="tx1"/>
                </a:solidFill>
                <a:effectLst/>
                <a:uLnTx/>
                <a:uFillTx/>
                <a:latin typeface="Segoe UI Semilight" charset="0"/>
                <a:ea typeface="Segoe UI Semilight" charset="0"/>
                <a:cs typeface="Segoe UI Semilight" charset="0"/>
              </a:rPr>
              <a:t>Support for RedHat Enterprise Linux (RHEL), Ubuntu, and SUSE Enterprise Linux (SLES) </a:t>
            </a:r>
          </a:p>
          <a:p>
            <a:pPr marL="0" marR="0" lvl="0" indent="0" algn="l" defTabSz="914192" rtl="0" eaLnBrk="1" fontAlgn="auto" latinLnBrk="0" hangingPunct="1">
              <a:lnSpc>
                <a:spcPct val="100000"/>
              </a:lnSpc>
              <a:spcBef>
                <a:spcPts val="1400"/>
              </a:spcBef>
              <a:spcAft>
                <a:spcPts val="0"/>
              </a:spcAft>
              <a:buClr>
                <a:srgbClr val="0078D7"/>
              </a:buClr>
              <a:buSzPct val="90000"/>
              <a:buFont typeface="Arial" panose="020B0604020202020204" pitchFamily="34" charset="0"/>
              <a:buNone/>
              <a:tabLst/>
              <a:defRPr/>
            </a:pPr>
            <a:r>
              <a:rPr kumimoji="0" lang="en-US" sz="1400" b="0" i="0" u="none" strike="noStrike" kern="1200" cap="none" spc="100" normalizeH="0" baseline="0" noProof="0" dirty="0">
                <a:ln>
                  <a:noFill/>
                </a:ln>
                <a:solidFill>
                  <a:schemeClr val="tx1"/>
                </a:solidFill>
                <a:effectLst/>
                <a:uLnTx/>
                <a:uFillTx/>
                <a:latin typeface="Segoe UI Semilight" charset="0"/>
                <a:ea typeface="Segoe UI Semilight" charset="0"/>
                <a:cs typeface="Segoe UI Semilight" charset="0"/>
              </a:rPr>
              <a:t>Linux and Windows Docker containers</a:t>
            </a:r>
          </a:p>
          <a:p>
            <a:pPr marL="0" marR="0" lvl="0" indent="0" algn="l" defTabSz="914192" rtl="0" eaLnBrk="1" fontAlgn="auto" latinLnBrk="0" hangingPunct="1">
              <a:lnSpc>
                <a:spcPct val="100000"/>
              </a:lnSpc>
              <a:spcBef>
                <a:spcPts val="1400"/>
              </a:spcBef>
              <a:spcAft>
                <a:spcPts val="0"/>
              </a:spcAft>
              <a:buClr>
                <a:srgbClr val="0078D7"/>
              </a:buClr>
              <a:buSzPct val="90000"/>
              <a:buFont typeface="Arial" panose="020B0604020202020204" pitchFamily="34" charset="0"/>
              <a:buNone/>
              <a:tabLst/>
              <a:defRPr/>
            </a:pPr>
            <a:r>
              <a:rPr kumimoji="0" lang="en-US" sz="1400" b="0" i="0" u="none" strike="noStrike" kern="1200" cap="none" spc="100" normalizeH="0" baseline="0" noProof="0" dirty="0">
                <a:ln>
                  <a:noFill/>
                </a:ln>
                <a:solidFill>
                  <a:schemeClr val="tx1"/>
                </a:solidFill>
                <a:effectLst/>
                <a:uLnTx/>
                <a:uFillTx/>
                <a:latin typeface="Segoe UI Semilight" charset="0"/>
                <a:ea typeface="Segoe UI Semilight" charset="0"/>
                <a:cs typeface="Segoe UI Semilight" charset="0"/>
              </a:rPr>
              <a:t>Windows Server / Windows 10</a:t>
            </a:r>
          </a:p>
          <a:p>
            <a:pPr marL="0" marR="0" lvl="0" indent="0" algn="l" defTabSz="914192" rtl="0" eaLnBrk="1" fontAlgn="auto" latinLnBrk="0" hangingPunct="1">
              <a:lnSpc>
                <a:spcPct val="100000"/>
              </a:lnSpc>
              <a:spcBef>
                <a:spcPts val="1400"/>
              </a:spcBef>
              <a:spcAft>
                <a:spcPts val="0"/>
              </a:spcAft>
              <a:buClr>
                <a:srgbClr val="0078D7"/>
              </a:buClr>
              <a:buSzPct val="90000"/>
              <a:buFont typeface="Arial" panose="020B0604020202020204" pitchFamily="34" charset="0"/>
              <a:buNone/>
              <a:tabLst/>
              <a:defRPr/>
            </a:pPr>
            <a:r>
              <a:rPr kumimoji="0" lang="en-US" sz="1400" b="0" i="0" u="none" strike="noStrike" kern="1200" cap="none" spc="100" normalizeH="0" baseline="0" noProof="0" dirty="0">
                <a:ln>
                  <a:noFill/>
                </a:ln>
                <a:solidFill>
                  <a:schemeClr val="tx1"/>
                </a:solidFill>
                <a:effectLst/>
                <a:uLnTx/>
                <a:uFillTx/>
                <a:latin typeface="Segoe UI Semilight" charset="0"/>
                <a:ea typeface="Segoe UI Semilight" charset="0"/>
                <a:cs typeface="Segoe UI Semilight" charset="0"/>
              </a:rPr>
              <a:t>Package-based installation: Yum Install, Apt-Get, and Zypper</a:t>
            </a:r>
          </a:p>
          <a:p>
            <a:pPr marL="0" marR="0" lvl="0" indent="0" algn="l" defTabSz="914192" rtl="0" eaLnBrk="1" fontAlgn="auto" latinLnBrk="0" hangingPunct="1">
              <a:lnSpc>
                <a:spcPct val="100000"/>
              </a:lnSpc>
              <a:spcBef>
                <a:spcPts val="1400"/>
              </a:spcBef>
              <a:spcAft>
                <a:spcPts val="0"/>
              </a:spcAft>
              <a:buClr>
                <a:srgbClr val="0078D7"/>
              </a:buClr>
              <a:buSzPct val="90000"/>
              <a:buFont typeface="Arial" panose="020B0604020202020204" pitchFamily="34" charset="0"/>
              <a:buNone/>
              <a:tabLst/>
              <a:defRPr/>
            </a:pPr>
            <a:r>
              <a:rPr kumimoji="0" lang="en-US" sz="1400" b="1" i="0" u="none" strike="noStrike" kern="1200" cap="none" spc="100" normalizeH="0" baseline="0" noProof="0" dirty="0">
                <a:ln>
                  <a:noFill/>
                </a:ln>
                <a:solidFill>
                  <a:schemeClr val="tx1"/>
                </a:solidFill>
                <a:effectLst/>
                <a:uLnTx/>
                <a:uFillTx/>
                <a:latin typeface="Segoe UI" panose="020B0502040204020203" pitchFamily="34" charset="0"/>
                <a:ea typeface="Segoe UI Semilight" charset="0"/>
                <a:cs typeface="Segoe UI" panose="020B0502040204020203" pitchFamily="34" charset="0"/>
              </a:rPr>
              <a:t>Database Compatibility on all Platforms</a:t>
            </a:r>
          </a:p>
        </p:txBody>
      </p:sp>
      <p:sp>
        <p:nvSpPr>
          <p:cNvPr id="88" name="Rectangle 87"/>
          <p:cNvSpPr/>
          <p:nvPr/>
        </p:nvSpPr>
        <p:spPr bwMode="auto">
          <a:xfrm>
            <a:off x="9094712" y="1315841"/>
            <a:ext cx="2589535" cy="4598180"/>
          </a:xfrm>
          <a:prstGeom prst="rect">
            <a:avLst/>
          </a:prstGeom>
          <a:noFill/>
          <a:ln w="12700" cap="flat" cmpd="sng" algn="ctr">
            <a:solidFill>
              <a:srgbClr val="000000"/>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342834" marR="0" lvl="0" indent="-342834" algn="ctr" defTabSz="932293"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2000" b="1" i="0" u="none" strike="noStrike" kern="0" cap="none" spc="0" normalizeH="0" baseline="0" noProof="0" dirty="0">
              <a:ln>
                <a:noFill/>
              </a:ln>
              <a:solidFill>
                <a:srgbClr val="FFFFFF"/>
              </a:solidFill>
              <a:effectLst/>
              <a:uLnTx/>
              <a:uFillTx/>
              <a:latin typeface="Segoe UI Light"/>
              <a:ea typeface=""/>
              <a:cs typeface="Segoe UI" pitchFamily="34" charset="0"/>
            </a:endParaRPr>
          </a:p>
        </p:txBody>
      </p:sp>
      <p:sp>
        <p:nvSpPr>
          <p:cNvPr id="89" name="Rectangle 88"/>
          <p:cNvSpPr/>
          <p:nvPr/>
        </p:nvSpPr>
        <p:spPr bwMode="auto">
          <a:xfrm>
            <a:off x="5877630" y="1315841"/>
            <a:ext cx="2589535" cy="2062994"/>
          </a:xfrm>
          <a:prstGeom prst="rect">
            <a:avLst/>
          </a:prstGeom>
          <a:noFill/>
          <a:ln w="12700" cap="flat" cmpd="sng" algn="ctr">
            <a:solidFill>
              <a:srgbClr val="000000"/>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342834" marR="0" lvl="0" indent="-342834" algn="ctr" defTabSz="932293"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2000" b="1" i="0" u="none" strike="noStrike" kern="0" cap="none" spc="0" normalizeH="0" baseline="0" noProof="0" dirty="0">
              <a:ln>
                <a:noFill/>
              </a:ln>
              <a:solidFill>
                <a:srgbClr val="FFFFFF"/>
              </a:solidFill>
              <a:effectLst/>
              <a:uLnTx/>
              <a:uFillTx/>
              <a:latin typeface="Segoe UI Light"/>
              <a:ea typeface=""/>
              <a:cs typeface="Segoe UI" pitchFamily="34" charset="0"/>
            </a:endParaRPr>
          </a:p>
        </p:txBody>
      </p:sp>
      <p:sp>
        <p:nvSpPr>
          <p:cNvPr id="90" name="Freeform 130"/>
          <p:cNvSpPr>
            <a:spLocks noChangeAspect="1" noEditPoints="1"/>
          </p:cNvSpPr>
          <p:nvPr/>
        </p:nvSpPr>
        <p:spPr bwMode="black">
          <a:xfrm>
            <a:off x="6515944" y="1667761"/>
            <a:ext cx="1312907" cy="1307575"/>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078D7"/>
          </a:solidFill>
          <a:ln>
            <a:noFill/>
          </a:ln>
          <a:extLst/>
        </p:spPr>
        <p:txBody>
          <a:bodyPr vert="horz" wrap="square" lIns="87867" tIns="43934" rIns="87867" bIns="43934" numCol="1" anchor="t" anchorCtr="0" compatLnSpc="1">
            <a:prstTxWarp prst="textNoShape">
              <a:avLst/>
            </a:prstTxWarp>
          </a:bodyPr>
          <a:lstStyle/>
          <a:p>
            <a:pPr marL="0" marR="0" lvl="0" indent="0" defTabSz="896181"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dirty="0">
              <a:ln>
                <a:noFill/>
              </a:ln>
              <a:solidFill>
                <a:srgbClr val="FFFFFF"/>
              </a:solidFill>
              <a:effectLst/>
              <a:uLnTx/>
              <a:uFillTx/>
              <a:latin typeface="Segoe UI Semilight"/>
            </a:endParaRPr>
          </a:p>
        </p:txBody>
      </p:sp>
      <p:sp>
        <p:nvSpPr>
          <p:cNvPr id="91" name="Rectangle 90"/>
          <p:cNvSpPr/>
          <p:nvPr/>
        </p:nvSpPr>
        <p:spPr bwMode="auto">
          <a:xfrm>
            <a:off x="5874832" y="3851027"/>
            <a:ext cx="2595130" cy="2062994"/>
          </a:xfrm>
          <a:prstGeom prst="rect">
            <a:avLst/>
          </a:prstGeom>
          <a:noFill/>
          <a:ln w="12700" cap="flat" cmpd="sng" algn="ctr">
            <a:solidFill>
              <a:srgbClr val="000000"/>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342834" marR="0" lvl="0" indent="-342834" algn="ctr" defTabSz="932293"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2000" b="1" i="0" u="none" strike="noStrike" kern="0" cap="none" spc="0" normalizeH="0" baseline="0" noProof="0" dirty="0">
              <a:ln>
                <a:noFill/>
              </a:ln>
              <a:solidFill>
                <a:srgbClr val="FFFFFF"/>
              </a:solidFill>
              <a:effectLst/>
              <a:uLnTx/>
              <a:uFillTx/>
              <a:latin typeface="Segoe UI Light"/>
              <a:ea typeface=""/>
              <a:cs typeface="Segoe UI" pitchFamily="34" charset="0"/>
            </a:endParaRPr>
          </a:p>
        </p:txBody>
      </p:sp>
      <p:grpSp>
        <p:nvGrpSpPr>
          <p:cNvPr id="92" name="Group 91"/>
          <p:cNvGrpSpPr/>
          <p:nvPr/>
        </p:nvGrpSpPr>
        <p:grpSpPr>
          <a:xfrm>
            <a:off x="6239840" y="4058903"/>
            <a:ext cx="1879968" cy="1189591"/>
            <a:chOff x="8505290" y="2547131"/>
            <a:chExt cx="2822872" cy="1786236"/>
          </a:xfrm>
          <a:solidFill>
            <a:srgbClr val="0078D7"/>
          </a:solidFill>
        </p:grpSpPr>
        <p:sp>
          <p:nvSpPr>
            <p:cNvPr id="93" name="Freeform: Shape 83"/>
            <p:cNvSpPr/>
            <p:nvPr/>
          </p:nvSpPr>
          <p:spPr bwMode="auto">
            <a:xfrm>
              <a:off x="9668506" y="2547131"/>
              <a:ext cx="262396" cy="262397"/>
            </a:xfrm>
            <a:custGeom>
              <a:avLst/>
              <a:gdLst>
                <a:gd name="connsiteX0" fmla="*/ 0 w 262396"/>
                <a:gd name="connsiteY0" fmla="*/ 0 h 262397"/>
                <a:gd name="connsiteX1" fmla="*/ 262396 w 262396"/>
                <a:gd name="connsiteY1" fmla="*/ 0 h 262397"/>
                <a:gd name="connsiteX2" fmla="*/ 262396 w 262396"/>
                <a:gd name="connsiteY2" fmla="*/ 262397 h 262397"/>
                <a:gd name="connsiteX3" fmla="*/ 0 w 262396"/>
                <a:gd name="connsiteY3" fmla="*/ 262397 h 262397"/>
                <a:gd name="connsiteX4" fmla="*/ 0 w 262396"/>
                <a:gd name="connsiteY4" fmla="*/ 0 h 262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7">
                  <a:moveTo>
                    <a:pt x="0" y="0"/>
                  </a:moveTo>
                  <a:lnTo>
                    <a:pt x="262396" y="0"/>
                  </a:lnTo>
                  <a:lnTo>
                    <a:pt x="262396" y="262397"/>
                  </a:lnTo>
                  <a:lnTo>
                    <a:pt x="0" y="262397"/>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4" name="Freeform: Shape 84"/>
            <p:cNvSpPr/>
            <p:nvPr/>
          </p:nvSpPr>
          <p:spPr bwMode="auto">
            <a:xfrm>
              <a:off x="9071552" y="2844267"/>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5" name="Freeform: Shape 85"/>
            <p:cNvSpPr/>
            <p:nvPr/>
          </p:nvSpPr>
          <p:spPr bwMode="auto">
            <a:xfrm>
              <a:off x="9373308" y="2844269"/>
              <a:ext cx="262395" cy="262395"/>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6" name="Freeform: Shape 86"/>
            <p:cNvSpPr/>
            <p:nvPr/>
          </p:nvSpPr>
          <p:spPr bwMode="auto">
            <a:xfrm>
              <a:off x="9668506" y="2844267"/>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7" name="Freeform: Shape 87"/>
            <p:cNvSpPr/>
            <p:nvPr/>
          </p:nvSpPr>
          <p:spPr bwMode="auto">
            <a:xfrm>
              <a:off x="8505290" y="2870508"/>
              <a:ext cx="2822872" cy="1462859"/>
            </a:xfrm>
            <a:custGeom>
              <a:avLst/>
              <a:gdLst>
                <a:gd name="connsiteX0" fmla="*/ 2280270 w 2822872"/>
                <a:gd name="connsiteY0" fmla="*/ 0 h 1462859"/>
                <a:gd name="connsiteX1" fmla="*/ 2450221 w 2822872"/>
                <a:gd name="connsiteY1" fmla="*/ 334263 h 1462859"/>
                <a:gd name="connsiteX2" fmla="*/ 2822872 w 2822872"/>
                <a:gd name="connsiteY2" fmla="*/ 337189 h 1462859"/>
                <a:gd name="connsiteX3" fmla="*/ 2397429 w 2822872"/>
                <a:gd name="connsiteY3" fmla="*/ 515950 h 1462859"/>
                <a:gd name="connsiteX4" fmla="*/ 918965 w 2822872"/>
                <a:gd name="connsiteY4" fmla="*/ 1462859 h 1462859"/>
                <a:gd name="connsiteX5" fmla="*/ 194554 w 2822872"/>
                <a:gd name="connsiteY5" fmla="*/ 1178479 h 1462859"/>
                <a:gd name="connsiteX6" fmla="*/ 194554 w 2822872"/>
                <a:gd name="connsiteY6" fmla="*/ 1175554 h 1462859"/>
                <a:gd name="connsiteX7" fmla="*/ 150231 w 2822872"/>
                <a:gd name="connsiteY7" fmla="*/ 1128596 h 1462859"/>
                <a:gd name="connsiteX8" fmla="*/ 106191 w 2822872"/>
                <a:gd name="connsiteY8" fmla="*/ 1061304 h 1462859"/>
                <a:gd name="connsiteX9" fmla="*/ 82759 w 2822872"/>
                <a:gd name="connsiteY9" fmla="*/ 1020198 h 1462859"/>
                <a:gd name="connsiteX10" fmla="*/ 3712 w 2822872"/>
                <a:gd name="connsiteY10" fmla="*/ 577537 h 1462859"/>
                <a:gd name="connsiteX11" fmla="*/ 1928227 w 2822872"/>
                <a:gd name="connsiteY11" fmla="*/ 577537 h 1462859"/>
                <a:gd name="connsiteX12" fmla="*/ 2315276 w 2822872"/>
                <a:gd name="connsiteY12" fmla="*/ 454364 h 1462859"/>
                <a:gd name="connsiteX13" fmla="*/ 2280270 w 2822872"/>
                <a:gd name="connsiteY13" fmla="*/ 0 h 1462859"/>
                <a:gd name="connsiteX14" fmla="*/ 808980 w 2822872"/>
                <a:gd name="connsiteY14" fmla="*/ 951187 h 1462859"/>
                <a:gd name="connsiteX15" fmla="*/ 736821 w 2822872"/>
                <a:gd name="connsiteY15" fmla="*/ 1020067 h 1462859"/>
                <a:gd name="connsiteX16" fmla="*/ 808980 w 2822872"/>
                <a:gd name="connsiteY16" fmla="*/ 1088947 h 1462859"/>
                <a:gd name="connsiteX17" fmla="*/ 881139 w 2822872"/>
                <a:gd name="connsiteY17" fmla="*/ 1020067 h 1462859"/>
                <a:gd name="connsiteX18" fmla="*/ 808980 w 2822872"/>
                <a:gd name="connsiteY18" fmla="*/ 951187 h 1462859"/>
                <a:gd name="connsiteX19" fmla="*/ 693397 w 2822872"/>
                <a:gd name="connsiteY19" fmla="*/ 1140062 h 1462859"/>
                <a:gd name="connsiteX20" fmla="*/ 477460 w 2822872"/>
                <a:gd name="connsiteY20" fmla="*/ 1171734 h 1462859"/>
                <a:gd name="connsiteX21" fmla="*/ 380025 w 2822872"/>
                <a:gd name="connsiteY21" fmla="*/ 1174374 h 1462859"/>
                <a:gd name="connsiteX22" fmla="*/ 253624 w 2822872"/>
                <a:gd name="connsiteY22" fmla="*/ 1171734 h 1462859"/>
                <a:gd name="connsiteX23" fmla="*/ 914600 w 2822872"/>
                <a:gd name="connsiteY23" fmla="*/ 1430392 h 1462859"/>
                <a:gd name="connsiteX24" fmla="*/ 988334 w 2822872"/>
                <a:gd name="connsiteY24" fmla="*/ 1430392 h 1462859"/>
                <a:gd name="connsiteX25" fmla="*/ 693397 w 2822872"/>
                <a:gd name="connsiteY25" fmla="*/ 1140062 h 1462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822872" h="1462859">
                  <a:moveTo>
                    <a:pt x="2280270" y="0"/>
                  </a:moveTo>
                  <a:cubicBezTo>
                    <a:pt x="2353671" y="58660"/>
                    <a:pt x="2470830" y="181687"/>
                    <a:pt x="2450221" y="334263"/>
                  </a:cubicBezTo>
                  <a:cubicBezTo>
                    <a:pt x="2541125" y="290231"/>
                    <a:pt x="2699502" y="266825"/>
                    <a:pt x="2822872" y="337189"/>
                  </a:cubicBezTo>
                  <a:cubicBezTo>
                    <a:pt x="2746648" y="489619"/>
                    <a:pt x="2576414" y="533504"/>
                    <a:pt x="2397429" y="515950"/>
                  </a:cubicBezTo>
                  <a:cubicBezTo>
                    <a:pt x="2148148" y="1169702"/>
                    <a:pt x="1584655" y="1462859"/>
                    <a:pt x="918965" y="1462859"/>
                  </a:cubicBezTo>
                  <a:cubicBezTo>
                    <a:pt x="605035" y="1462859"/>
                    <a:pt x="352931" y="1357387"/>
                    <a:pt x="194554" y="1178479"/>
                  </a:cubicBezTo>
                  <a:lnTo>
                    <a:pt x="194554" y="1175554"/>
                  </a:lnTo>
                  <a:cubicBezTo>
                    <a:pt x="187214" y="1167215"/>
                    <a:pt x="157571" y="1136495"/>
                    <a:pt x="150231" y="1128596"/>
                  </a:cubicBezTo>
                  <a:cubicBezTo>
                    <a:pt x="135834" y="1105190"/>
                    <a:pt x="121153" y="1081784"/>
                    <a:pt x="106191" y="1061304"/>
                  </a:cubicBezTo>
                  <a:cubicBezTo>
                    <a:pt x="98286" y="1047553"/>
                    <a:pt x="90664" y="1033949"/>
                    <a:pt x="82759" y="1020198"/>
                  </a:cubicBezTo>
                  <a:cubicBezTo>
                    <a:pt x="18392" y="891174"/>
                    <a:pt x="-10968" y="741670"/>
                    <a:pt x="3712" y="577537"/>
                  </a:cubicBezTo>
                  <a:lnTo>
                    <a:pt x="1928227" y="577537"/>
                  </a:lnTo>
                  <a:cubicBezTo>
                    <a:pt x="2086604" y="577537"/>
                    <a:pt x="2241875" y="518876"/>
                    <a:pt x="2315276" y="454364"/>
                  </a:cubicBezTo>
                  <a:cubicBezTo>
                    <a:pt x="2183155" y="348892"/>
                    <a:pt x="2198117" y="96694"/>
                    <a:pt x="2280270" y="0"/>
                  </a:cubicBezTo>
                  <a:close/>
                  <a:moveTo>
                    <a:pt x="808980" y="951187"/>
                  </a:moveTo>
                  <a:cubicBezTo>
                    <a:pt x="769127" y="951187"/>
                    <a:pt x="736821" y="982025"/>
                    <a:pt x="736821" y="1020067"/>
                  </a:cubicBezTo>
                  <a:cubicBezTo>
                    <a:pt x="736821" y="1058108"/>
                    <a:pt x="769127" y="1088947"/>
                    <a:pt x="808980" y="1088947"/>
                  </a:cubicBezTo>
                  <a:cubicBezTo>
                    <a:pt x="848832" y="1088947"/>
                    <a:pt x="881139" y="1058108"/>
                    <a:pt x="881139" y="1020067"/>
                  </a:cubicBezTo>
                  <a:cubicBezTo>
                    <a:pt x="881139" y="982025"/>
                    <a:pt x="848832" y="951187"/>
                    <a:pt x="808980" y="951187"/>
                  </a:cubicBezTo>
                  <a:close/>
                  <a:moveTo>
                    <a:pt x="693397" y="1140062"/>
                  </a:moveTo>
                  <a:cubicBezTo>
                    <a:pt x="632829" y="1155898"/>
                    <a:pt x="561728" y="1166455"/>
                    <a:pt x="477460" y="1171734"/>
                  </a:cubicBezTo>
                  <a:cubicBezTo>
                    <a:pt x="448493" y="1174374"/>
                    <a:pt x="414260" y="1174374"/>
                    <a:pt x="380025" y="1174374"/>
                  </a:cubicBezTo>
                  <a:cubicBezTo>
                    <a:pt x="340525" y="1174374"/>
                    <a:pt x="298391" y="1174374"/>
                    <a:pt x="253624" y="1171734"/>
                  </a:cubicBezTo>
                  <a:cubicBezTo>
                    <a:pt x="401093" y="1316899"/>
                    <a:pt x="580162" y="1427752"/>
                    <a:pt x="914600" y="1430392"/>
                  </a:cubicBezTo>
                  <a:cubicBezTo>
                    <a:pt x="938300" y="1430392"/>
                    <a:pt x="964634" y="1430392"/>
                    <a:pt x="988334" y="1430392"/>
                  </a:cubicBezTo>
                  <a:cubicBezTo>
                    <a:pt x="827699" y="1353850"/>
                    <a:pt x="740797" y="1250915"/>
                    <a:pt x="693397" y="1140062"/>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8" name="Freeform: Shape 88"/>
            <p:cNvSpPr/>
            <p:nvPr/>
          </p:nvSpPr>
          <p:spPr bwMode="auto">
            <a:xfrm>
              <a:off x="8769796"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9" name="Freeform: Shape 89"/>
            <p:cNvSpPr/>
            <p:nvPr/>
          </p:nvSpPr>
          <p:spPr bwMode="auto">
            <a:xfrm>
              <a:off x="9071552"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0" name="Freeform: Shape 90"/>
            <p:cNvSpPr/>
            <p:nvPr/>
          </p:nvSpPr>
          <p:spPr bwMode="auto">
            <a:xfrm>
              <a:off x="9373308"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1" name="Freeform: Shape 91"/>
            <p:cNvSpPr/>
            <p:nvPr/>
          </p:nvSpPr>
          <p:spPr bwMode="auto">
            <a:xfrm>
              <a:off x="9668506"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2" name="Freeform: Shape 92"/>
            <p:cNvSpPr/>
            <p:nvPr/>
          </p:nvSpPr>
          <p:spPr bwMode="auto">
            <a:xfrm>
              <a:off x="9970262"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3" name="Freeform: Shape 93"/>
            <p:cNvSpPr/>
            <p:nvPr/>
          </p:nvSpPr>
          <p:spPr bwMode="auto">
            <a:xfrm>
              <a:off x="9261792" y="3841372"/>
              <a:ext cx="104959" cy="98401"/>
            </a:xfrm>
            <a:custGeom>
              <a:avLst/>
              <a:gdLst>
                <a:gd name="connsiteX0" fmla="*/ 53979 w 104959"/>
                <a:gd name="connsiteY0" fmla="*/ 0 h 98401"/>
                <a:gd name="connsiteX1" fmla="*/ 71972 w 104959"/>
                <a:gd name="connsiteY1" fmla="*/ 2895 h 98401"/>
                <a:gd name="connsiteX2" fmla="*/ 62976 w 104959"/>
                <a:gd name="connsiteY2" fmla="*/ 20260 h 98401"/>
                <a:gd name="connsiteX3" fmla="*/ 83967 w 104959"/>
                <a:gd name="connsiteY3" fmla="*/ 40519 h 98401"/>
                <a:gd name="connsiteX4" fmla="*/ 101960 w 104959"/>
                <a:gd name="connsiteY4" fmla="*/ 28942 h 98401"/>
                <a:gd name="connsiteX5" fmla="*/ 104959 w 104959"/>
                <a:gd name="connsiteY5" fmla="*/ 49201 h 98401"/>
                <a:gd name="connsiteX6" fmla="*/ 53979 w 104959"/>
                <a:gd name="connsiteY6" fmla="*/ 98401 h 98401"/>
                <a:gd name="connsiteX7" fmla="*/ 0 w 104959"/>
                <a:gd name="connsiteY7" fmla="*/ 49201 h 98401"/>
                <a:gd name="connsiteX8" fmla="*/ 53979 w 104959"/>
                <a:gd name="connsiteY8" fmla="*/ 0 h 98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959" h="98401">
                  <a:moveTo>
                    <a:pt x="53979" y="0"/>
                  </a:moveTo>
                  <a:cubicBezTo>
                    <a:pt x="59977" y="0"/>
                    <a:pt x="65975" y="0"/>
                    <a:pt x="71972" y="2895"/>
                  </a:cubicBezTo>
                  <a:cubicBezTo>
                    <a:pt x="65975" y="5789"/>
                    <a:pt x="62976" y="11577"/>
                    <a:pt x="62976" y="20260"/>
                  </a:cubicBezTo>
                  <a:cubicBezTo>
                    <a:pt x="62976" y="31836"/>
                    <a:pt x="71972" y="40519"/>
                    <a:pt x="83967" y="40519"/>
                  </a:cubicBezTo>
                  <a:cubicBezTo>
                    <a:pt x="89965" y="40519"/>
                    <a:pt x="98961" y="37624"/>
                    <a:pt x="101960" y="28942"/>
                  </a:cubicBezTo>
                  <a:cubicBezTo>
                    <a:pt x="104959" y="34730"/>
                    <a:pt x="104959" y="43412"/>
                    <a:pt x="104959" y="49201"/>
                  </a:cubicBezTo>
                  <a:cubicBezTo>
                    <a:pt x="104959" y="78142"/>
                    <a:pt x="83967" y="98401"/>
                    <a:pt x="53979" y="98401"/>
                  </a:cubicBezTo>
                  <a:cubicBezTo>
                    <a:pt x="23991" y="98401"/>
                    <a:pt x="0" y="78142"/>
                    <a:pt x="0" y="49201"/>
                  </a:cubicBezTo>
                  <a:cubicBezTo>
                    <a:pt x="0" y="20260"/>
                    <a:pt x="23991" y="0"/>
                    <a:pt x="53979"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104" name="Group 103"/>
          <p:cNvGrpSpPr/>
          <p:nvPr/>
        </p:nvGrpSpPr>
        <p:grpSpPr>
          <a:xfrm>
            <a:off x="9705167" y="3851869"/>
            <a:ext cx="1536483" cy="715861"/>
            <a:chOff x="4986337" y="5373688"/>
            <a:chExt cx="1536701" cy="715962"/>
          </a:xfrm>
          <a:solidFill>
            <a:srgbClr val="0078D7"/>
          </a:solidFill>
        </p:grpSpPr>
        <p:grpSp>
          <p:nvGrpSpPr>
            <p:cNvPr id="105" name="Group 104"/>
            <p:cNvGrpSpPr/>
            <p:nvPr/>
          </p:nvGrpSpPr>
          <p:grpSpPr>
            <a:xfrm>
              <a:off x="5251450" y="5762625"/>
              <a:ext cx="1271588" cy="327025"/>
              <a:chOff x="5251450" y="5762625"/>
              <a:chExt cx="1271588" cy="327025"/>
            </a:xfrm>
            <a:grpFill/>
          </p:grpSpPr>
          <p:sp>
            <p:nvSpPr>
              <p:cNvPr id="109" name="Freeform 28"/>
              <p:cNvSpPr>
                <a:spLocks noEditPoints="1"/>
              </p:cNvSpPr>
              <p:nvPr/>
            </p:nvSpPr>
            <p:spPr bwMode="auto">
              <a:xfrm>
                <a:off x="6475413" y="6034088"/>
                <a:ext cx="47625" cy="47625"/>
              </a:xfrm>
              <a:custGeom>
                <a:avLst/>
                <a:gdLst>
                  <a:gd name="T0" fmla="*/ 38 w 75"/>
                  <a:gd name="T1" fmla="*/ 0 h 75"/>
                  <a:gd name="T2" fmla="*/ 0 w 75"/>
                  <a:gd name="T3" fmla="*/ 38 h 75"/>
                  <a:gd name="T4" fmla="*/ 38 w 75"/>
                  <a:gd name="T5" fmla="*/ 75 h 75"/>
                  <a:gd name="T6" fmla="*/ 75 w 75"/>
                  <a:gd name="T7" fmla="*/ 37 h 75"/>
                  <a:gd name="T8" fmla="*/ 38 w 75"/>
                  <a:gd name="T9" fmla="*/ 0 h 75"/>
                  <a:gd name="T10" fmla="*/ 38 w 75"/>
                  <a:gd name="T11" fmla="*/ 67 h 75"/>
                  <a:gd name="T12" fmla="*/ 8 w 75"/>
                  <a:gd name="T13" fmla="*/ 38 h 75"/>
                  <a:gd name="T14" fmla="*/ 38 w 75"/>
                  <a:gd name="T15" fmla="*/ 8 h 75"/>
                  <a:gd name="T16" fmla="*/ 68 w 75"/>
                  <a:gd name="T17" fmla="*/ 37 h 75"/>
                  <a:gd name="T18" fmla="*/ 38 w 75"/>
                  <a:gd name="T19" fmla="*/ 6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75">
                    <a:moveTo>
                      <a:pt x="38" y="0"/>
                    </a:moveTo>
                    <a:cubicBezTo>
                      <a:pt x="17" y="0"/>
                      <a:pt x="0" y="17"/>
                      <a:pt x="0" y="38"/>
                    </a:cubicBezTo>
                    <a:cubicBezTo>
                      <a:pt x="0" y="58"/>
                      <a:pt x="17" y="75"/>
                      <a:pt x="38" y="75"/>
                    </a:cubicBezTo>
                    <a:cubicBezTo>
                      <a:pt x="59" y="75"/>
                      <a:pt x="75" y="58"/>
                      <a:pt x="75" y="37"/>
                    </a:cubicBezTo>
                    <a:cubicBezTo>
                      <a:pt x="75" y="17"/>
                      <a:pt x="59" y="0"/>
                      <a:pt x="38" y="0"/>
                    </a:cubicBezTo>
                    <a:close/>
                    <a:moveTo>
                      <a:pt x="38" y="67"/>
                    </a:moveTo>
                    <a:cubicBezTo>
                      <a:pt x="21" y="67"/>
                      <a:pt x="8" y="54"/>
                      <a:pt x="8" y="38"/>
                    </a:cubicBezTo>
                    <a:cubicBezTo>
                      <a:pt x="8" y="21"/>
                      <a:pt x="21" y="8"/>
                      <a:pt x="38" y="8"/>
                    </a:cubicBezTo>
                    <a:cubicBezTo>
                      <a:pt x="55" y="8"/>
                      <a:pt x="68" y="21"/>
                      <a:pt x="68" y="37"/>
                    </a:cubicBezTo>
                    <a:cubicBezTo>
                      <a:pt x="68" y="54"/>
                      <a:pt x="55" y="67"/>
                      <a:pt x="38"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0" name="Freeform 29"/>
              <p:cNvSpPr>
                <a:spLocks/>
              </p:cNvSpPr>
              <p:nvPr/>
            </p:nvSpPr>
            <p:spPr bwMode="auto">
              <a:xfrm>
                <a:off x="5251450" y="5762625"/>
                <a:ext cx="290513" cy="319088"/>
              </a:xfrm>
              <a:custGeom>
                <a:avLst/>
                <a:gdLst>
                  <a:gd name="T0" fmla="*/ 324 w 452"/>
                  <a:gd name="T1" fmla="*/ 208 h 495"/>
                  <a:gd name="T2" fmla="*/ 154 w 452"/>
                  <a:gd name="T3" fmla="*/ 183 h 495"/>
                  <a:gd name="T4" fmla="*/ 110 w 452"/>
                  <a:gd name="T5" fmla="*/ 141 h 495"/>
                  <a:gd name="T6" fmla="*/ 147 w 452"/>
                  <a:gd name="T7" fmla="*/ 103 h 495"/>
                  <a:gd name="T8" fmla="*/ 424 w 452"/>
                  <a:gd name="T9" fmla="*/ 103 h 495"/>
                  <a:gd name="T10" fmla="*/ 424 w 452"/>
                  <a:gd name="T11" fmla="*/ 0 h 495"/>
                  <a:gd name="T12" fmla="*/ 148 w 452"/>
                  <a:gd name="T13" fmla="*/ 0 h 495"/>
                  <a:gd name="T14" fmla="*/ 0 w 452"/>
                  <a:gd name="T15" fmla="*/ 141 h 495"/>
                  <a:gd name="T16" fmla="*/ 128 w 452"/>
                  <a:gd name="T17" fmla="*/ 286 h 495"/>
                  <a:gd name="T18" fmla="*/ 298 w 452"/>
                  <a:gd name="T19" fmla="*/ 311 h 495"/>
                  <a:gd name="T20" fmla="*/ 343 w 452"/>
                  <a:gd name="T21" fmla="*/ 354 h 495"/>
                  <a:gd name="T22" fmla="*/ 305 w 452"/>
                  <a:gd name="T23" fmla="*/ 391 h 495"/>
                  <a:gd name="T24" fmla="*/ 103 w 452"/>
                  <a:gd name="T25" fmla="*/ 391 h 495"/>
                  <a:gd name="T26" fmla="*/ 103 w 452"/>
                  <a:gd name="T27" fmla="*/ 391 h 495"/>
                  <a:gd name="T28" fmla="*/ 19 w 452"/>
                  <a:gd name="T29" fmla="*/ 485 h 495"/>
                  <a:gd name="T30" fmla="*/ 19 w 452"/>
                  <a:gd name="T31" fmla="*/ 495 h 495"/>
                  <a:gd name="T32" fmla="*/ 305 w 452"/>
                  <a:gd name="T33" fmla="*/ 495 h 495"/>
                  <a:gd name="T34" fmla="*/ 452 w 452"/>
                  <a:gd name="T35" fmla="*/ 354 h 495"/>
                  <a:gd name="T36" fmla="*/ 324 w 452"/>
                  <a:gd name="T37" fmla="*/ 208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2" h="495">
                    <a:moveTo>
                      <a:pt x="324" y="208"/>
                    </a:moveTo>
                    <a:cubicBezTo>
                      <a:pt x="323" y="208"/>
                      <a:pt x="156" y="184"/>
                      <a:pt x="154" y="183"/>
                    </a:cubicBezTo>
                    <a:cubicBezTo>
                      <a:pt x="125" y="179"/>
                      <a:pt x="110" y="164"/>
                      <a:pt x="110" y="141"/>
                    </a:cubicBezTo>
                    <a:cubicBezTo>
                      <a:pt x="110" y="117"/>
                      <a:pt x="130" y="103"/>
                      <a:pt x="147" y="103"/>
                    </a:cubicBezTo>
                    <a:cubicBezTo>
                      <a:pt x="424" y="103"/>
                      <a:pt x="424" y="103"/>
                      <a:pt x="424" y="103"/>
                    </a:cubicBezTo>
                    <a:cubicBezTo>
                      <a:pt x="424" y="0"/>
                      <a:pt x="424" y="0"/>
                      <a:pt x="424" y="0"/>
                    </a:cubicBezTo>
                    <a:cubicBezTo>
                      <a:pt x="424" y="0"/>
                      <a:pt x="151" y="0"/>
                      <a:pt x="148" y="0"/>
                    </a:cubicBezTo>
                    <a:cubicBezTo>
                      <a:pt x="60" y="0"/>
                      <a:pt x="0" y="66"/>
                      <a:pt x="0" y="141"/>
                    </a:cubicBezTo>
                    <a:cubicBezTo>
                      <a:pt x="0" y="205"/>
                      <a:pt x="39" y="272"/>
                      <a:pt x="128" y="286"/>
                    </a:cubicBezTo>
                    <a:cubicBezTo>
                      <a:pt x="129" y="286"/>
                      <a:pt x="297" y="311"/>
                      <a:pt x="298" y="311"/>
                    </a:cubicBezTo>
                    <a:cubicBezTo>
                      <a:pt x="328" y="316"/>
                      <a:pt x="343" y="330"/>
                      <a:pt x="343" y="354"/>
                    </a:cubicBezTo>
                    <a:cubicBezTo>
                      <a:pt x="343" y="378"/>
                      <a:pt x="322" y="391"/>
                      <a:pt x="305" y="391"/>
                    </a:cubicBezTo>
                    <a:cubicBezTo>
                      <a:pt x="103" y="391"/>
                      <a:pt x="103" y="391"/>
                      <a:pt x="103" y="391"/>
                    </a:cubicBezTo>
                    <a:cubicBezTo>
                      <a:pt x="103" y="391"/>
                      <a:pt x="103" y="391"/>
                      <a:pt x="103" y="391"/>
                    </a:cubicBezTo>
                    <a:cubicBezTo>
                      <a:pt x="62" y="393"/>
                      <a:pt x="19" y="424"/>
                      <a:pt x="19" y="485"/>
                    </a:cubicBezTo>
                    <a:cubicBezTo>
                      <a:pt x="19" y="488"/>
                      <a:pt x="19" y="491"/>
                      <a:pt x="19" y="495"/>
                    </a:cubicBezTo>
                    <a:cubicBezTo>
                      <a:pt x="19" y="495"/>
                      <a:pt x="303" y="495"/>
                      <a:pt x="305" y="495"/>
                    </a:cubicBezTo>
                    <a:cubicBezTo>
                      <a:pt x="392" y="495"/>
                      <a:pt x="452" y="428"/>
                      <a:pt x="452" y="354"/>
                    </a:cubicBezTo>
                    <a:cubicBezTo>
                      <a:pt x="452" y="289"/>
                      <a:pt x="413" y="222"/>
                      <a:pt x="324"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1" name="Freeform 30"/>
              <p:cNvSpPr>
                <a:spLocks/>
              </p:cNvSpPr>
              <p:nvPr/>
            </p:nvSpPr>
            <p:spPr bwMode="auto">
              <a:xfrm>
                <a:off x="6170613" y="5762625"/>
                <a:ext cx="287338" cy="319088"/>
              </a:xfrm>
              <a:custGeom>
                <a:avLst/>
                <a:gdLst>
                  <a:gd name="T0" fmla="*/ 0 w 447"/>
                  <a:gd name="T1" fmla="*/ 141 h 495"/>
                  <a:gd name="T2" fmla="*/ 0 w 447"/>
                  <a:gd name="T3" fmla="*/ 354 h 495"/>
                  <a:gd name="T4" fmla="*/ 148 w 447"/>
                  <a:gd name="T5" fmla="*/ 495 h 495"/>
                  <a:gd name="T6" fmla="*/ 447 w 447"/>
                  <a:gd name="T7" fmla="*/ 495 h 495"/>
                  <a:gd name="T8" fmla="*/ 447 w 447"/>
                  <a:gd name="T9" fmla="*/ 485 h 495"/>
                  <a:gd name="T10" fmla="*/ 363 w 447"/>
                  <a:gd name="T11" fmla="*/ 391 h 495"/>
                  <a:gd name="T12" fmla="*/ 363 w 447"/>
                  <a:gd name="T13" fmla="*/ 391 h 495"/>
                  <a:gd name="T14" fmla="*/ 147 w 447"/>
                  <a:gd name="T15" fmla="*/ 391 h 495"/>
                  <a:gd name="T16" fmla="*/ 110 w 447"/>
                  <a:gd name="T17" fmla="*/ 354 h 495"/>
                  <a:gd name="T18" fmla="*/ 154 w 447"/>
                  <a:gd name="T19" fmla="*/ 311 h 495"/>
                  <a:gd name="T20" fmla="*/ 247 w 447"/>
                  <a:gd name="T21" fmla="*/ 311 h 495"/>
                  <a:gd name="T22" fmla="*/ 392 w 447"/>
                  <a:gd name="T23" fmla="*/ 203 h 495"/>
                  <a:gd name="T24" fmla="*/ 167 w 447"/>
                  <a:gd name="T25" fmla="*/ 203 h 495"/>
                  <a:gd name="T26" fmla="*/ 110 w 447"/>
                  <a:gd name="T27" fmla="*/ 235 h 495"/>
                  <a:gd name="T28" fmla="*/ 110 w 447"/>
                  <a:gd name="T29" fmla="*/ 141 h 495"/>
                  <a:gd name="T30" fmla="*/ 147 w 447"/>
                  <a:gd name="T31" fmla="*/ 103 h 495"/>
                  <a:gd name="T32" fmla="*/ 363 w 447"/>
                  <a:gd name="T33" fmla="*/ 103 h 495"/>
                  <a:gd name="T34" fmla="*/ 447 w 447"/>
                  <a:gd name="T35" fmla="*/ 9 h 495"/>
                  <a:gd name="T36" fmla="*/ 447 w 447"/>
                  <a:gd name="T37" fmla="*/ 0 h 495"/>
                  <a:gd name="T38" fmla="*/ 148 w 447"/>
                  <a:gd name="T39" fmla="*/ 0 h 495"/>
                  <a:gd name="T40" fmla="*/ 0 w 447"/>
                  <a:gd name="T41" fmla="*/ 141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7" h="495">
                    <a:moveTo>
                      <a:pt x="0" y="141"/>
                    </a:moveTo>
                    <a:cubicBezTo>
                      <a:pt x="0" y="141"/>
                      <a:pt x="0" y="353"/>
                      <a:pt x="0" y="354"/>
                    </a:cubicBezTo>
                    <a:cubicBezTo>
                      <a:pt x="0" y="428"/>
                      <a:pt x="60" y="495"/>
                      <a:pt x="148" y="495"/>
                    </a:cubicBezTo>
                    <a:cubicBezTo>
                      <a:pt x="150" y="495"/>
                      <a:pt x="447" y="495"/>
                      <a:pt x="447" y="495"/>
                    </a:cubicBezTo>
                    <a:cubicBezTo>
                      <a:pt x="447" y="491"/>
                      <a:pt x="447" y="488"/>
                      <a:pt x="447" y="485"/>
                    </a:cubicBezTo>
                    <a:cubicBezTo>
                      <a:pt x="447" y="424"/>
                      <a:pt x="404" y="393"/>
                      <a:pt x="363" y="391"/>
                    </a:cubicBezTo>
                    <a:cubicBezTo>
                      <a:pt x="363" y="391"/>
                      <a:pt x="363" y="391"/>
                      <a:pt x="363" y="391"/>
                    </a:cubicBezTo>
                    <a:cubicBezTo>
                      <a:pt x="147" y="391"/>
                      <a:pt x="147" y="391"/>
                      <a:pt x="147" y="391"/>
                    </a:cubicBezTo>
                    <a:cubicBezTo>
                      <a:pt x="130" y="391"/>
                      <a:pt x="110" y="378"/>
                      <a:pt x="110" y="354"/>
                    </a:cubicBezTo>
                    <a:cubicBezTo>
                      <a:pt x="110" y="330"/>
                      <a:pt x="125" y="311"/>
                      <a:pt x="154" y="311"/>
                    </a:cubicBezTo>
                    <a:cubicBezTo>
                      <a:pt x="182" y="311"/>
                      <a:pt x="246" y="311"/>
                      <a:pt x="247" y="311"/>
                    </a:cubicBezTo>
                    <a:cubicBezTo>
                      <a:pt x="329" y="310"/>
                      <a:pt x="377" y="260"/>
                      <a:pt x="392" y="203"/>
                    </a:cubicBezTo>
                    <a:cubicBezTo>
                      <a:pt x="167" y="203"/>
                      <a:pt x="167" y="203"/>
                      <a:pt x="167" y="203"/>
                    </a:cubicBezTo>
                    <a:cubicBezTo>
                      <a:pt x="127" y="203"/>
                      <a:pt x="110" y="235"/>
                      <a:pt x="110" y="235"/>
                    </a:cubicBezTo>
                    <a:cubicBezTo>
                      <a:pt x="110" y="141"/>
                      <a:pt x="110" y="141"/>
                      <a:pt x="110" y="141"/>
                    </a:cubicBezTo>
                    <a:cubicBezTo>
                      <a:pt x="110" y="117"/>
                      <a:pt x="130" y="103"/>
                      <a:pt x="147" y="103"/>
                    </a:cubicBezTo>
                    <a:cubicBezTo>
                      <a:pt x="363" y="103"/>
                      <a:pt x="363" y="103"/>
                      <a:pt x="363" y="103"/>
                    </a:cubicBezTo>
                    <a:cubicBezTo>
                      <a:pt x="404" y="102"/>
                      <a:pt x="447" y="71"/>
                      <a:pt x="447" y="9"/>
                    </a:cubicBezTo>
                    <a:cubicBezTo>
                      <a:pt x="447" y="6"/>
                      <a:pt x="447" y="3"/>
                      <a:pt x="447" y="0"/>
                    </a:cubicBezTo>
                    <a:cubicBezTo>
                      <a:pt x="148" y="0"/>
                      <a:pt x="148" y="0"/>
                      <a:pt x="148" y="0"/>
                    </a:cubicBezTo>
                    <a:cubicBezTo>
                      <a:pt x="60" y="0"/>
                      <a:pt x="0" y="66"/>
                      <a:pt x="0" y="1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2" name="Freeform 31"/>
              <p:cNvSpPr>
                <a:spLocks noEditPoints="1"/>
              </p:cNvSpPr>
              <p:nvPr/>
            </p:nvSpPr>
            <p:spPr bwMode="auto">
              <a:xfrm>
                <a:off x="6491288" y="6045200"/>
                <a:ext cx="19050" cy="23813"/>
              </a:xfrm>
              <a:custGeom>
                <a:avLst/>
                <a:gdLst>
                  <a:gd name="T0" fmla="*/ 30 w 31"/>
                  <a:gd name="T1" fmla="*/ 12 h 35"/>
                  <a:gd name="T2" fmla="*/ 16 w 31"/>
                  <a:gd name="T3" fmla="*/ 0 h 35"/>
                  <a:gd name="T4" fmla="*/ 0 w 31"/>
                  <a:gd name="T5" fmla="*/ 0 h 35"/>
                  <a:gd name="T6" fmla="*/ 0 w 31"/>
                  <a:gd name="T7" fmla="*/ 35 h 35"/>
                  <a:gd name="T8" fmla="*/ 8 w 31"/>
                  <a:gd name="T9" fmla="*/ 35 h 35"/>
                  <a:gd name="T10" fmla="*/ 8 w 31"/>
                  <a:gd name="T11" fmla="*/ 24 h 35"/>
                  <a:gd name="T12" fmla="*/ 14 w 31"/>
                  <a:gd name="T13" fmla="*/ 24 h 35"/>
                  <a:gd name="T14" fmla="*/ 22 w 31"/>
                  <a:gd name="T15" fmla="*/ 35 h 35"/>
                  <a:gd name="T16" fmla="*/ 31 w 31"/>
                  <a:gd name="T17" fmla="*/ 35 h 35"/>
                  <a:gd name="T18" fmla="*/ 22 w 31"/>
                  <a:gd name="T19" fmla="*/ 23 h 35"/>
                  <a:gd name="T20" fmla="*/ 30 w 31"/>
                  <a:gd name="T21" fmla="*/ 12 h 35"/>
                  <a:gd name="T22" fmla="*/ 16 w 31"/>
                  <a:gd name="T23" fmla="*/ 17 h 35"/>
                  <a:gd name="T24" fmla="*/ 8 w 31"/>
                  <a:gd name="T25" fmla="*/ 17 h 35"/>
                  <a:gd name="T26" fmla="*/ 8 w 31"/>
                  <a:gd name="T27" fmla="*/ 7 h 35"/>
                  <a:gd name="T28" fmla="*/ 16 w 31"/>
                  <a:gd name="T29" fmla="*/ 7 h 35"/>
                  <a:gd name="T30" fmla="*/ 22 w 31"/>
                  <a:gd name="T31" fmla="*/ 12 h 35"/>
                  <a:gd name="T32" fmla="*/ 16 w 31"/>
                  <a:gd name="T33"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35">
                    <a:moveTo>
                      <a:pt x="30" y="12"/>
                    </a:moveTo>
                    <a:cubicBezTo>
                      <a:pt x="30" y="4"/>
                      <a:pt x="24" y="0"/>
                      <a:pt x="16" y="0"/>
                    </a:cubicBezTo>
                    <a:cubicBezTo>
                      <a:pt x="0" y="0"/>
                      <a:pt x="0" y="0"/>
                      <a:pt x="0" y="0"/>
                    </a:cubicBezTo>
                    <a:cubicBezTo>
                      <a:pt x="0" y="35"/>
                      <a:pt x="0" y="35"/>
                      <a:pt x="0" y="35"/>
                    </a:cubicBezTo>
                    <a:cubicBezTo>
                      <a:pt x="8" y="35"/>
                      <a:pt x="8" y="35"/>
                      <a:pt x="8" y="35"/>
                    </a:cubicBezTo>
                    <a:cubicBezTo>
                      <a:pt x="8" y="24"/>
                      <a:pt x="8" y="24"/>
                      <a:pt x="8" y="24"/>
                    </a:cubicBezTo>
                    <a:cubicBezTo>
                      <a:pt x="14" y="24"/>
                      <a:pt x="14" y="24"/>
                      <a:pt x="14" y="24"/>
                    </a:cubicBezTo>
                    <a:cubicBezTo>
                      <a:pt x="22" y="35"/>
                      <a:pt x="22" y="35"/>
                      <a:pt x="22" y="35"/>
                    </a:cubicBezTo>
                    <a:cubicBezTo>
                      <a:pt x="31" y="35"/>
                      <a:pt x="31" y="35"/>
                      <a:pt x="31" y="35"/>
                    </a:cubicBezTo>
                    <a:cubicBezTo>
                      <a:pt x="22" y="23"/>
                      <a:pt x="22" y="23"/>
                      <a:pt x="22" y="23"/>
                    </a:cubicBezTo>
                    <a:cubicBezTo>
                      <a:pt x="27" y="21"/>
                      <a:pt x="30" y="17"/>
                      <a:pt x="30" y="12"/>
                    </a:cubicBezTo>
                    <a:close/>
                    <a:moveTo>
                      <a:pt x="16" y="17"/>
                    </a:moveTo>
                    <a:cubicBezTo>
                      <a:pt x="8" y="17"/>
                      <a:pt x="8" y="17"/>
                      <a:pt x="8" y="17"/>
                    </a:cubicBezTo>
                    <a:cubicBezTo>
                      <a:pt x="8" y="7"/>
                      <a:pt x="8" y="7"/>
                      <a:pt x="8" y="7"/>
                    </a:cubicBezTo>
                    <a:cubicBezTo>
                      <a:pt x="16" y="7"/>
                      <a:pt x="16" y="7"/>
                      <a:pt x="16" y="7"/>
                    </a:cubicBezTo>
                    <a:cubicBezTo>
                      <a:pt x="19" y="7"/>
                      <a:pt x="22" y="9"/>
                      <a:pt x="22" y="12"/>
                    </a:cubicBezTo>
                    <a:cubicBezTo>
                      <a:pt x="22" y="15"/>
                      <a:pt x="20" y="17"/>
                      <a:pt x="16"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3" name="Freeform 32"/>
              <p:cNvSpPr>
                <a:spLocks/>
              </p:cNvSpPr>
              <p:nvPr/>
            </p:nvSpPr>
            <p:spPr bwMode="auto">
              <a:xfrm>
                <a:off x="5861050" y="5762625"/>
                <a:ext cx="290513" cy="319088"/>
              </a:xfrm>
              <a:custGeom>
                <a:avLst/>
                <a:gdLst>
                  <a:gd name="T0" fmla="*/ 325 w 453"/>
                  <a:gd name="T1" fmla="*/ 208 h 495"/>
                  <a:gd name="T2" fmla="*/ 154 w 453"/>
                  <a:gd name="T3" fmla="*/ 183 h 495"/>
                  <a:gd name="T4" fmla="*/ 110 w 453"/>
                  <a:gd name="T5" fmla="*/ 141 h 495"/>
                  <a:gd name="T6" fmla="*/ 148 w 453"/>
                  <a:gd name="T7" fmla="*/ 103 h 495"/>
                  <a:gd name="T8" fmla="*/ 424 w 453"/>
                  <a:gd name="T9" fmla="*/ 103 h 495"/>
                  <a:gd name="T10" fmla="*/ 424 w 453"/>
                  <a:gd name="T11" fmla="*/ 0 h 495"/>
                  <a:gd name="T12" fmla="*/ 148 w 453"/>
                  <a:gd name="T13" fmla="*/ 0 h 495"/>
                  <a:gd name="T14" fmla="*/ 0 w 453"/>
                  <a:gd name="T15" fmla="*/ 141 h 495"/>
                  <a:gd name="T16" fmla="*/ 128 w 453"/>
                  <a:gd name="T17" fmla="*/ 286 h 495"/>
                  <a:gd name="T18" fmla="*/ 299 w 453"/>
                  <a:gd name="T19" fmla="*/ 311 h 495"/>
                  <a:gd name="T20" fmla="*/ 343 w 453"/>
                  <a:gd name="T21" fmla="*/ 354 h 495"/>
                  <a:gd name="T22" fmla="*/ 305 w 453"/>
                  <a:gd name="T23" fmla="*/ 391 h 495"/>
                  <a:gd name="T24" fmla="*/ 29 w 453"/>
                  <a:gd name="T25" fmla="*/ 391 h 495"/>
                  <a:gd name="T26" fmla="*/ 29 w 453"/>
                  <a:gd name="T27" fmla="*/ 495 h 495"/>
                  <a:gd name="T28" fmla="*/ 305 w 453"/>
                  <a:gd name="T29" fmla="*/ 495 h 495"/>
                  <a:gd name="T30" fmla="*/ 453 w 453"/>
                  <a:gd name="T31" fmla="*/ 354 h 495"/>
                  <a:gd name="T32" fmla="*/ 325 w 453"/>
                  <a:gd name="T33" fmla="*/ 208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3" h="495">
                    <a:moveTo>
                      <a:pt x="325" y="208"/>
                    </a:moveTo>
                    <a:cubicBezTo>
                      <a:pt x="323" y="208"/>
                      <a:pt x="156" y="184"/>
                      <a:pt x="154" y="183"/>
                    </a:cubicBezTo>
                    <a:cubicBezTo>
                      <a:pt x="125" y="179"/>
                      <a:pt x="110" y="164"/>
                      <a:pt x="110" y="141"/>
                    </a:cubicBezTo>
                    <a:cubicBezTo>
                      <a:pt x="110" y="117"/>
                      <a:pt x="131" y="103"/>
                      <a:pt x="148" y="103"/>
                    </a:cubicBezTo>
                    <a:cubicBezTo>
                      <a:pt x="424" y="103"/>
                      <a:pt x="424" y="103"/>
                      <a:pt x="424" y="103"/>
                    </a:cubicBezTo>
                    <a:cubicBezTo>
                      <a:pt x="424" y="0"/>
                      <a:pt x="424" y="0"/>
                      <a:pt x="424" y="0"/>
                    </a:cubicBezTo>
                    <a:cubicBezTo>
                      <a:pt x="424" y="0"/>
                      <a:pt x="151" y="0"/>
                      <a:pt x="148" y="0"/>
                    </a:cubicBezTo>
                    <a:cubicBezTo>
                      <a:pt x="61" y="0"/>
                      <a:pt x="0" y="66"/>
                      <a:pt x="0" y="141"/>
                    </a:cubicBezTo>
                    <a:cubicBezTo>
                      <a:pt x="0" y="205"/>
                      <a:pt x="39" y="272"/>
                      <a:pt x="128" y="286"/>
                    </a:cubicBezTo>
                    <a:cubicBezTo>
                      <a:pt x="130" y="286"/>
                      <a:pt x="297" y="311"/>
                      <a:pt x="299" y="311"/>
                    </a:cubicBezTo>
                    <a:cubicBezTo>
                      <a:pt x="328" y="316"/>
                      <a:pt x="343" y="330"/>
                      <a:pt x="343" y="354"/>
                    </a:cubicBezTo>
                    <a:cubicBezTo>
                      <a:pt x="343" y="378"/>
                      <a:pt x="322" y="391"/>
                      <a:pt x="305" y="391"/>
                    </a:cubicBezTo>
                    <a:cubicBezTo>
                      <a:pt x="29" y="391"/>
                      <a:pt x="29" y="391"/>
                      <a:pt x="29" y="391"/>
                    </a:cubicBezTo>
                    <a:cubicBezTo>
                      <a:pt x="29" y="495"/>
                      <a:pt x="29" y="495"/>
                      <a:pt x="29" y="495"/>
                    </a:cubicBezTo>
                    <a:cubicBezTo>
                      <a:pt x="29" y="495"/>
                      <a:pt x="302" y="495"/>
                      <a:pt x="305" y="495"/>
                    </a:cubicBezTo>
                    <a:cubicBezTo>
                      <a:pt x="392" y="495"/>
                      <a:pt x="453" y="428"/>
                      <a:pt x="453" y="354"/>
                    </a:cubicBezTo>
                    <a:cubicBezTo>
                      <a:pt x="453" y="289"/>
                      <a:pt x="414" y="222"/>
                      <a:pt x="325"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4" name="Freeform 33"/>
              <p:cNvSpPr>
                <a:spLocks/>
              </p:cNvSpPr>
              <p:nvPr/>
            </p:nvSpPr>
            <p:spPr bwMode="auto">
              <a:xfrm>
                <a:off x="5559425" y="5762625"/>
                <a:ext cx="280988" cy="327025"/>
              </a:xfrm>
              <a:custGeom>
                <a:avLst/>
                <a:gdLst>
                  <a:gd name="T0" fmla="*/ 330 w 437"/>
                  <a:gd name="T1" fmla="*/ 294 h 506"/>
                  <a:gd name="T2" fmla="*/ 219 w 437"/>
                  <a:gd name="T3" fmla="*/ 405 h 506"/>
                  <a:gd name="T4" fmla="*/ 107 w 437"/>
                  <a:gd name="T5" fmla="*/ 294 h 506"/>
                  <a:gd name="T6" fmla="*/ 107 w 437"/>
                  <a:gd name="T7" fmla="*/ 0 h 506"/>
                  <a:gd name="T8" fmla="*/ 0 w 437"/>
                  <a:gd name="T9" fmla="*/ 0 h 506"/>
                  <a:gd name="T10" fmla="*/ 0 w 437"/>
                  <a:gd name="T11" fmla="*/ 288 h 506"/>
                  <a:gd name="T12" fmla="*/ 219 w 437"/>
                  <a:gd name="T13" fmla="*/ 506 h 506"/>
                  <a:gd name="T14" fmla="*/ 437 w 437"/>
                  <a:gd name="T15" fmla="*/ 288 h 506"/>
                  <a:gd name="T16" fmla="*/ 437 w 437"/>
                  <a:gd name="T17" fmla="*/ 0 h 506"/>
                  <a:gd name="T18" fmla="*/ 330 w 437"/>
                  <a:gd name="T19" fmla="*/ 0 h 506"/>
                  <a:gd name="T20" fmla="*/ 330 w 437"/>
                  <a:gd name="T21" fmla="*/ 294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7" h="506">
                    <a:moveTo>
                      <a:pt x="330" y="294"/>
                    </a:moveTo>
                    <a:cubicBezTo>
                      <a:pt x="330" y="355"/>
                      <a:pt x="280" y="405"/>
                      <a:pt x="219" y="405"/>
                    </a:cubicBezTo>
                    <a:cubicBezTo>
                      <a:pt x="157" y="405"/>
                      <a:pt x="107" y="355"/>
                      <a:pt x="107" y="294"/>
                    </a:cubicBezTo>
                    <a:cubicBezTo>
                      <a:pt x="107" y="0"/>
                      <a:pt x="107" y="0"/>
                      <a:pt x="107" y="0"/>
                    </a:cubicBezTo>
                    <a:cubicBezTo>
                      <a:pt x="0" y="0"/>
                      <a:pt x="0" y="0"/>
                      <a:pt x="0" y="0"/>
                    </a:cubicBezTo>
                    <a:cubicBezTo>
                      <a:pt x="0" y="288"/>
                      <a:pt x="0" y="288"/>
                      <a:pt x="0" y="288"/>
                    </a:cubicBezTo>
                    <a:cubicBezTo>
                      <a:pt x="0" y="408"/>
                      <a:pt x="98" y="506"/>
                      <a:pt x="219" y="506"/>
                    </a:cubicBezTo>
                    <a:cubicBezTo>
                      <a:pt x="339" y="506"/>
                      <a:pt x="437" y="408"/>
                      <a:pt x="437" y="288"/>
                    </a:cubicBezTo>
                    <a:cubicBezTo>
                      <a:pt x="437" y="0"/>
                      <a:pt x="437" y="0"/>
                      <a:pt x="437" y="0"/>
                    </a:cubicBezTo>
                    <a:cubicBezTo>
                      <a:pt x="330" y="0"/>
                      <a:pt x="330" y="0"/>
                      <a:pt x="330" y="0"/>
                    </a:cubicBezTo>
                    <a:lnTo>
                      <a:pt x="330" y="2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grpSp>
        <p:grpSp>
          <p:nvGrpSpPr>
            <p:cNvPr id="106" name="Group 105"/>
            <p:cNvGrpSpPr/>
            <p:nvPr/>
          </p:nvGrpSpPr>
          <p:grpSpPr>
            <a:xfrm>
              <a:off x="4986337" y="5373688"/>
              <a:ext cx="881063" cy="452438"/>
              <a:chOff x="4986337" y="5373688"/>
              <a:chExt cx="881063" cy="452438"/>
            </a:xfrm>
            <a:grpFill/>
          </p:grpSpPr>
          <p:sp>
            <p:nvSpPr>
              <p:cNvPr id="107" name="Freeform 34"/>
              <p:cNvSpPr>
                <a:spLocks noEditPoints="1"/>
              </p:cNvSpPr>
              <p:nvPr/>
            </p:nvSpPr>
            <p:spPr bwMode="auto">
              <a:xfrm>
                <a:off x="5737225" y="5453063"/>
                <a:ext cx="73025" cy="73025"/>
              </a:xfrm>
              <a:custGeom>
                <a:avLst/>
                <a:gdLst>
                  <a:gd name="T0" fmla="*/ 55 w 114"/>
                  <a:gd name="T1" fmla="*/ 114 h 114"/>
                  <a:gd name="T2" fmla="*/ 96 w 114"/>
                  <a:gd name="T3" fmla="*/ 99 h 114"/>
                  <a:gd name="T4" fmla="*/ 114 w 114"/>
                  <a:gd name="T5" fmla="*/ 59 h 114"/>
                  <a:gd name="T6" fmla="*/ 59 w 114"/>
                  <a:gd name="T7" fmla="*/ 1 h 114"/>
                  <a:gd name="T8" fmla="*/ 19 w 114"/>
                  <a:gd name="T9" fmla="*/ 16 h 114"/>
                  <a:gd name="T10" fmla="*/ 1 w 114"/>
                  <a:gd name="T11" fmla="*/ 55 h 114"/>
                  <a:gd name="T12" fmla="*/ 55 w 114"/>
                  <a:gd name="T13" fmla="*/ 114 h 114"/>
                  <a:gd name="T14" fmla="*/ 68 w 114"/>
                  <a:gd name="T15" fmla="*/ 29 h 114"/>
                  <a:gd name="T16" fmla="*/ 93 w 114"/>
                  <a:gd name="T17" fmla="*/ 46 h 114"/>
                  <a:gd name="T18" fmla="*/ 68 w 114"/>
                  <a:gd name="T19" fmla="*/ 63 h 114"/>
                  <a:gd name="T20" fmla="*/ 43 w 114"/>
                  <a:gd name="T21" fmla="*/ 46 h 114"/>
                  <a:gd name="T22" fmla="*/ 68 w 114"/>
                  <a:gd name="T23" fmla="*/ 2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4" h="114">
                    <a:moveTo>
                      <a:pt x="55" y="114"/>
                    </a:moveTo>
                    <a:cubicBezTo>
                      <a:pt x="70" y="114"/>
                      <a:pt x="85" y="109"/>
                      <a:pt x="96" y="99"/>
                    </a:cubicBezTo>
                    <a:cubicBezTo>
                      <a:pt x="107" y="88"/>
                      <a:pt x="113" y="74"/>
                      <a:pt x="114" y="59"/>
                    </a:cubicBezTo>
                    <a:cubicBezTo>
                      <a:pt x="114" y="28"/>
                      <a:pt x="90" y="2"/>
                      <a:pt x="59" y="1"/>
                    </a:cubicBezTo>
                    <a:cubicBezTo>
                      <a:pt x="44" y="0"/>
                      <a:pt x="30" y="6"/>
                      <a:pt x="19" y="16"/>
                    </a:cubicBezTo>
                    <a:cubicBezTo>
                      <a:pt x="8" y="26"/>
                      <a:pt x="1" y="40"/>
                      <a:pt x="1" y="55"/>
                    </a:cubicBezTo>
                    <a:cubicBezTo>
                      <a:pt x="0" y="86"/>
                      <a:pt x="24" y="113"/>
                      <a:pt x="55" y="114"/>
                    </a:cubicBezTo>
                    <a:close/>
                    <a:moveTo>
                      <a:pt x="68" y="29"/>
                    </a:moveTo>
                    <a:cubicBezTo>
                      <a:pt x="82" y="29"/>
                      <a:pt x="93" y="37"/>
                      <a:pt x="93" y="46"/>
                    </a:cubicBezTo>
                    <a:cubicBezTo>
                      <a:pt x="93" y="55"/>
                      <a:pt x="82" y="63"/>
                      <a:pt x="68" y="63"/>
                    </a:cubicBezTo>
                    <a:cubicBezTo>
                      <a:pt x="54" y="63"/>
                      <a:pt x="43" y="55"/>
                      <a:pt x="43" y="46"/>
                    </a:cubicBezTo>
                    <a:cubicBezTo>
                      <a:pt x="43" y="37"/>
                      <a:pt x="54" y="29"/>
                      <a:pt x="68"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08" name="Freeform 35"/>
              <p:cNvSpPr>
                <a:spLocks noEditPoints="1"/>
              </p:cNvSpPr>
              <p:nvPr/>
            </p:nvSpPr>
            <p:spPr bwMode="auto">
              <a:xfrm>
                <a:off x="4986337" y="5373688"/>
                <a:ext cx="881063" cy="452438"/>
              </a:xfrm>
              <a:custGeom>
                <a:avLst/>
                <a:gdLst>
                  <a:gd name="T0" fmla="*/ 1367 w 1369"/>
                  <a:gd name="T1" fmla="*/ 246 h 702"/>
                  <a:gd name="T2" fmla="*/ 1293 w 1369"/>
                  <a:gd name="T3" fmla="*/ 96 h 702"/>
                  <a:gd name="T4" fmla="*/ 1013 w 1369"/>
                  <a:gd name="T5" fmla="*/ 22 h 702"/>
                  <a:gd name="T6" fmla="*/ 721 w 1369"/>
                  <a:gd name="T7" fmla="*/ 9 h 702"/>
                  <a:gd name="T8" fmla="*/ 235 w 1369"/>
                  <a:gd name="T9" fmla="*/ 136 h 702"/>
                  <a:gd name="T10" fmla="*/ 15 w 1369"/>
                  <a:gd name="T11" fmla="*/ 521 h 702"/>
                  <a:gd name="T12" fmla="*/ 218 w 1369"/>
                  <a:gd name="T13" fmla="*/ 694 h 702"/>
                  <a:gd name="T14" fmla="*/ 344 w 1369"/>
                  <a:gd name="T15" fmla="*/ 401 h 702"/>
                  <a:gd name="T16" fmla="*/ 149 w 1369"/>
                  <a:gd name="T17" fmla="*/ 482 h 702"/>
                  <a:gd name="T18" fmla="*/ 272 w 1369"/>
                  <a:gd name="T19" fmla="*/ 568 h 702"/>
                  <a:gd name="T20" fmla="*/ 287 w 1369"/>
                  <a:gd name="T21" fmla="*/ 561 h 702"/>
                  <a:gd name="T22" fmla="*/ 287 w 1369"/>
                  <a:gd name="T23" fmla="*/ 561 h 702"/>
                  <a:gd name="T24" fmla="*/ 299 w 1369"/>
                  <a:gd name="T25" fmla="*/ 527 h 702"/>
                  <a:gd name="T26" fmla="*/ 263 w 1369"/>
                  <a:gd name="T27" fmla="*/ 506 h 702"/>
                  <a:gd name="T28" fmla="*/ 256 w 1369"/>
                  <a:gd name="T29" fmla="*/ 508 h 702"/>
                  <a:gd name="T30" fmla="*/ 213 w 1369"/>
                  <a:gd name="T31" fmla="*/ 481 h 702"/>
                  <a:gd name="T32" fmla="*/ 219 w 1369"/>
                  <a:gd name="T33" fmla="*/ 462 h 702"/>
                  <a:gd name="T34" fmla="*/ 339 w 1369"/>
                  <a:gd name="T35" fmla="*/ 494 h 702"/>
                  <a:gd name="T36" fmla="*/ 226 w 1369"/>
                  <a:gd name="T37" fmla="*/ 617 h 702"/>
                  <a:gd name="T38" fmla="*/ 112 w 1369"/>
                  <a:gd name="T39" fmla="*/ 411 h 702"/>
                  <a:gd name="T40" fmla="*/ 522 w 1369"/>
                  <a:gd name="T41" fmla="*/ 554 h 702"/>
                  <a:gd name="T42" fmla="*/ 713 w 1369"/>
                  <a:gd name="T43" fmla="*/ 407 h 702"/>
                  <a:gd name="T44" fmla="*/ 989 w 1369"/>
                  <a:gd name="T45" fmla="*/ 554 h 702"/>
                  <a:gd name="T46" fmla="*/ 1061 w 1369"/>
                  <a:gd name="T47" fmla="*/ 391 h 702"/>
                  <a:gd name="T48" fmla="*/ 1291 w 1369"/>
                  <a:gd name="T49" fmla="*/ 366 h 702"/>
                  <a:gd name="T50" fmla="*/ 1356 w 1369"/>
                  <a:gd name="T51" fmla="*/ 322 h 702"/>
                  <a:gd name="T52" fmla="*/ 1363 w 1369"/>
                  <a:gd name="T53" fmla="*/ 298 h 702"/>
                  <a:gd name="T54" fmla="*/ 1246 w 1369"/>
                  <a:gd name="T55" fmla="*/ 327 h 702"/>
                  <a:gd name="T56" fmla="*/ 1070 w 1369"/>
                  <a:gd name="T57" fmla="*/ 265 h 702"/>
                  <a:gd name="T58" fmla="*/ 1241 w 1369"/>
                  <a:gd name="T59" fmla="*/ 296 h 702"/>
                  <a:gd name="T60" fmla="*/ 1143 w 1369"/>
                  <a:gd name="T61" fmla="*/ 178 h 702"/>
                  <a:gd name="T62" fmla="*/ 1227 w 1369"/>
                  <a:gd name="T63" fmla="*/ 100 h 702"/>
                  <a:gd name="T64" fmla="*/ 1279 w 1369"/>
                  <a:gd name="T65" fmla="*/ 240 h 702"/>
                  <a:gd name="T66" fmla="*/ 1143 w 1369"/>
                  <a:gd name="T67" fmla="*/ 178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9" h="702">
                    <a:moveTo>
                      <a:pt x="1359" y="258"/>
                    </a:moveTo>
                    <a:cubicBezTo>
                      <a:pt x="1361" y="256"/>
                      <a:pt x="1369" y="251"/>
                      <a:pt x="1367" y="246"/>
                    </a:cubicBezTo>
                    <a:cubicBezTo>
                      <a:pt x="1360" y="220"/>
                      <a:pt x="1335" y="135"/>
                      <a:pt x="1314" y="114"/>
                    </a:cubicBezTo>
                    <a:cubicBezTo>
                      <a:pt x="1308" y="108"/>
                      <a:pt x="1303" y="101"/>
                      <a:pt x="1293" y="96"/>
                    </a:cubicBezTo>
                    <a:cubicBezTo>
                      <a:pt x="1213" y="49"/>
                      <a:pt x="1024" y="21"/>
                      <a:pt x="1015" y="20"/>
                    </a:cubicBezTo>
                    <a:cubicBezTo>
                      <a:pt x="1015" y="20"/>
                      <a:pt x="1013" y="19"/>
                      <a:pt x="1013" y="22"/>
                    </a:cubicBezTo>
                    <a:cubicBezTo>
                      <a:pt x="1013" y="22"/>
                      <a:pt x="1012" y="61"/>
                      <a:pt x="1012" y="65"/>
                    </a:cubicBezTo>
                    <a:cubicBezTo>
                      <a:pt x="993" y="59"/>
                      <a:pt x="852" y="13"/>
                      <a:pt x="721" y="9"/>
                    </a:cubicBezTo>
                    <a:cubicBezTo>
                      <a:pt x="609" y="5"/>
                      <a:pt x="457" y="0"/>
                      <a:pt x="241" y="132"/>
                    </a:cubicBezTo>
                    <a:cubicBezTo>
                      <a:pt x="235" y="136"/>
                      <a:pt x="235" y="136"/>
                      <a:pt x="235" y="136"/>
                    </a:cubicBezTo>
                    <a:cubicBezTo>
                      <a:pt x="133" y="199"/>
                      <a:pt x="63" y="277"/>
                      <a:pt x="27" y="368"/>
                    </a:cubicBezTo>
                    <a:cubicBezTo>
                      <a:pt x="15" y="396"/>
                      <a:pt x="0" y="461"/>
                      <a:pt x="15" y="521"/>
                    </a:cubicBezTo>
                    <a:cubicBezTo>
                      <a:pt x="22" y="548"/>
                      <a:pt x="34" y="574"/>
                      <a:pt x="51" y="598"/>
                    </a:cubicBezTo>
                    <a:cubicBezTo>
                      <a:pt x="88" y="652"/>
                      <a:pt x="151" y="687"/>
                      <a:pt x="218" y="694"/>
                    </a:cubicBezTo>
                    <a:cubicBezTo>
                      <a:pt x="314" y="702"/>
                      <a:pt x="386" y="659"/>
                      <a:pt x="412" y="579"/>
                    </a:cubicBezTo>
                    <a:cubicBezTo>
                      <a:pt x="430" y="523"/>
                      <a:pt x="412" y="442"/>
                      <a:pt x="344" y="401"/>
                    </a:cubicBezTo>
                    <a:cubicBezTo>
                      <a:pt x="289" y="367"/>
                      <a:pt x="230" y="375"/>
                      <a:pt x="195" y="397"/>
                    </a:cubicBezTo>
                    <a:cubicBezTo>
                      <a:pt x="166" y="417"/>
                      <a:pt x="149" y="448"/>
                      <a:pt x="149" y="482"/>
                    </a:cubicBezTo>
                    <a:cubicBezTo>
                      <a:pt x="150" y="541"/>
                      <a:pt x="201" y="573"/>
                      <a:pt x="238" y="573"/>
                    </a:cubicBezTo>
                    <a:cubicBezTo>
                      <a:pt x="249" y="573"/>
                      <a:pt x="260" y="572"/>
                      <a:pt x="272" y="568"/>
                    </a:cubicBezTo>
                    <a:cubicBezTo>
                      <a:pt x="277" y="566"/>
                      <a:pt x="281" y="565"/>
                      <a:pt x="285" y="562"/>
                    </a:cubicBezTo>
                    <a:cubicBezTo>
                      <a:pt x="287" y="561"/>
                      <a:pt x="287" y="561"/>
                      <a:pt x="287" y="561"/>
                    </a:cubicBezTo>
                    <a:cubicBezTo>
                      <a:pt x="287" y="560"/>
                      <a:pt x="287" y="560"/>
                      <a:pt x="287" y="560"/>
                    </a:cubicBezTo>
                    <a:cubicBezTo>
                      <a:pt x="287" y="561"/>
                      <a:pt x="287" y="561"/>
                      <a:pt x="287" y="561"/>
                    </a:cubicBezTo>
                    <a:cubicBezTo>
                      <a:pt x="296" y="555"/>
                      <a:pt x="301" y="546"/>
                      <a:pt x="301" y="535"/>
                    </a:cubicBezTo>
                    <a:cubicBezTo>
                      <a:pt x="301" y="533"/>
                      <a:pt x="300" y="530"/>
                      <a:pt x="299" y="527"/>
                    </a:cubicBezTo>
                    <a:cubicBezTo>
                      <a:pt x="295" y="512"/>
                      <a:pt x="280" y="503"/>
                      <a:pt x="265" y="506"/>
                    </a:cubicBezTo>
                    <a:cubicBezTo>
                      <a:pt x="263" y="506"/>
                      <a:pt x="263" y="506"/>
                      <a:pt x="263" y="506"/>
                    </a:cubicBezTo>
                    <a:cubicBezTo>
                      <a:pt x="260" y="507"/>
                      <a:pt x="260" y="507"/>
                      <a:pt x="260" y="507"/>
                    </a:cubicBezTo>
                    <a:cubicBezTo>
                      <a:pt x="256" y="508"/>
                      <a:pt x="256" y="508"/>
                      <a:pt x="256" y="508"/>
                    </a:cubicBezTo>
                    <a:cubicBezTo>
                      <a:pt x="247" y="511"/>
                      <a:pt x="241" y="511"/>
                      <a:pt x="239" y="511"/>
                    </a:cubicBezTo>
                    <a:cubicBezTo>
                      <a:pt x="235" y="510"/>
                      <a:pt x="213" y="504"/>
                      <a:pt x="213" y="481"/>
                    </a:cubicBezTo>
                    <a:cubicBezTo>
                      <a:pt x="213" y="480"/>
                      <a:pt x="213" y="480"/>
                      <a:pt x="213" y="480"/>
                    </a:cubicBezTo>
                    <a:cubicBezTo>
                      <a:pt x="214" y="472"/>
                      <a:pt x="217" y="466"/>
                      <a:pt x="219" y="462"/>
                    </a:cubicBezTo>
                    <a:cubicBezTo>
                      <a:pt x="225" y="452"/>
                      <a:pt x="244" y="442"/>
                      <a:pt x="268" y="444"/>
                    </a:cubicBezTo>
                    <a:cubicBezTo>
                      <a:pt x="301" y="447"/>
                      <a:pt x="324" y="463"/>
                      <a:pt x="339" y="494"/>
                    </a:cubicBezTo>
                    <a:cubicBezTo>
                      <a:pt x="353" y="523"/>
                      <a:pt x="350" y="559"/>
                      <a:pt x="330" y="585"/>
                    </a:cubicBezTo>
                    <a:cubicBezTo>
                      <a:pt x="309" y="611"/>
                      <a:pt x="274" y="622"/>
                      <a:pt x="226" y="617"/>
                    </a:cubicBezTo>
                    <a:cubicBezTo>
                      <a:pt x="178" y="612"/>
                      <a:pt x="138" y="584"/>
                      <a:pt x="115" y="541"/>
                    </a:cubicBezTo>
                    <a:cubicBezTo>
                      <a:pt x="93" y="499"/>
                      <a:pt x="92" y="450"/>
                      <a:pt x="112" y="411"/>
                    </a:cubicBezTo>
                    <a:cubicBezTo>
                      <a:pt x="161" y="320"/>
                      <a:pt x="252" y="321"/>
                      <a:pt x="302" y="330"/>
                    </a:cubicBezTo>
                    <a:cubicBezTo>
                      <a:pt x="374" y="342"/>
                      <a:pt x="482" y="406"/>
                      <a:pt x="522" y="554"/>
                    </a:cubicBezTo>
                    <a:cubicBezTo>
                      <a:pt x="621" y="554"/>
                      <a:pt x="621" y="554"/>
                      <a:pt x="621" y="554"/>
                    </a:cubicBezTo>
                    <a:cubicBezTo>
                      <a:pt x="609" y="516"/>
                      <a:pt x="602" y="407"/>
                      <a:pt x="713" y="407"/>
                    </a:cubicBezTo>
                    <a:cubicBezTo>
                      <a:pt x="835" y="407"/>
                      <a:pt x="850" y="493"/>
                      <a:pt x="885" y="554"/>
                    </a:cubicBezTo>
                    <a:cubicBezTo>
                      <a:pt x="989" y="554"/>
                      <a:pt x="989" y="554"/>
                      <a:pt x="989" y="554"/>
                    </a:cubicBezTo>
                    <a:cubicBezTo>
                      <a:pt x="962" y="515"/>
                      <a:pt x="942" y="471"/>
                      <a:pt x="949" y="434"/>
                    </a:cubicBezTo>
                    <a:cubicBezTo>
                      <a:pt x="958" y="379"/>
                      <a:pt x="1001" y="384"/>
                      <a:pt x="1061" y="391"/>
                    </a:cubicBezTo>
                    <a:cubicBezTo>
                      <a:pt x="1080" y="393"/>
                      <a:pt x="1103" y="396"/>
                      <a:pt x="1126" y="396"/>
                    </a:cubicBezTo>
                    <a:cubicBezTo>
                      <a:pt x="1190" y="397"/>
                      <a:pt x="1248" y="385"/>
                      <a:pt x="1291" y="366"/>
                    </a:cubicBezTo>
                    <a:cubicBezTo>
                      <a:pt x="1319" y="354"/>
                      <a:pt x="1336" y="346"/>
                      <a:pt x="1347" y="336"/>
                    </a:cubicBezTo>
                    <a:cubicBezTo>
                      <a:pt x="1351" y="333"/>
                      <a:pt x="1353" y="328"/>
                      <a:pt x="1356" y="322"/>
                    </a:cubicBezTo>
                    <a:cubicBezTo>
                      <a:pt x="1357" y="318"/>
                      <a:pt x="1357" y="318"/>
                      <a:pt x="1357" y="318"/>
                    </a:cubicBezTo>
                    <a:cubicBezTo>
                      <a:pt x="1359" y="313"/>
                      <a:pt x="1361" y="304"/>
                      <a:pt x="1363" y="298"/>
                    </a:cubicBezTo>
                    <a:cubicBezTo>
                      <a:pt x="1365" y="287"/>
                      <a:pt x="1356" y="293"/>
                      <a:pt x="1356" y="293"/>
                    </a:cubicBezTo>
                    <a:cubicBezTo>
                      <a:pt x="1337" y="304"/>
                      <a:pt x="1290" y="326"/>
                      <a:pt x="1246" y="327"/>
                    </a:cubicBezTo>
                    <a:cubicBezTo>
                      <a:pt x="1192" y="328"/>
                      <a:pt x="1082" y="272"/>
                      <a:pt x="1071" y="266"/>
                    </a:cubicBezTo>
                    <a:cubicBezTo>
                      <a:pt x="1070" y="265"/>
                      <a:pt x="1070" y="265"/>
                      <a:pt x="1070" y="265"/>
                    </a:cubicBezTo>
                    <a:cubicBezTo>
                      <a:pt x="1067" y="258"/>
                      <a:pt x="1051" y="219"/>
                      <a:pt x="1047" y="211"/>
                    </a:cubicBezTo>
                    <a:cubicBezTo>
                      <a:pt x="1126" y="263"/>
                      <a:pt x="1191" y="292"/>
                      <a:pt x="1241" y="296"/>
                    </a:cubicBezTo>
                    <a:cubicBezTo>
                      <a:pt x="1297" y="301"/>
                      <a:pt x="1341" y="271"/>
                      <a:pt x="1359" y="258"/>
                    </a:cubicBezTo>
                    <a:close/>
                    <a:moveTo>
                      <a:pt x="1143" y="178"/>
                    </a:moveTo>
                    <a:cubicBezTo>
                      <a:pt x="1144" y="156"/>
                      <a:pt x="1153" y="136"/>
                      <a:pt x="1169" y="122"/>
                    </a:cubicBezTo>
                    <a:cubicBezTo>
                      <a:pt x="1184" y="107"/>
                      <a:pt x="1205" y="99"/>
                      <a:pt x="1227" y="100"/>
                    </a:cubicBezTo>
                    <a:cubicBezTo>
                      <a:pt x="1271" y="102"/>
                      <a:pt x="1306" y="139"/>
                      <a:pt x="1305" y="184"/>
                    </a:cubicBezTo>
                    <a:cubicBezTo>
                      <a:pt x="1304" y="205"/>
                      <a:pt x="1295" y="225"/>
                      <a:pt x="1279" y="240"/>
                    </a:cubicBezTo>
                    <a:cubicBezTo>
                      <a:pt x="1263" y="255"/>
                      <a:pt x="1243" y="263"/>
                      <a:pt x="1221" y="262"/>
                    </a:cubicBezTo>
                    <a:cubicBezTo>
                      <a:pt x="1176" y="260"/>
                      <a:pt x="1141" y="223"/>
                      <a:pt x="1143" y="178"/>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grpSp>
      </p:grpSp>
      <p:grpSp>
        <p:nvGrpSpPr>
          <p:cNvPr id="115" name="Group 114"/>
          <p:cNvGrpSpPr/>
          <p:nvPr/>
        </p:nvGrpSpPr>
        <p:grpSpPr>
          <a:xfrm>
            <a:off x="9548027" y="4977864"/>
            <a:ext cx="1850762" cy="417453"/>
            <a:chOff x="2643188" y="6081713"/>
            <a:chExt cx="1851025" cy="417512"/>
          </a:xfrm>
          <a:solidFill>
            <a:srgbClr val="0078D7"/>
          </a:solidFill>
        </p:grpSpPr>
        <p:sp>
          <p:nvSpPr>
            <p:cNvPr id="116" name="Oval 39"/>
            <p:cNvSpPr>
              <a:spLocks noChangeArrowheads="1"/>
            </p:cNvSpPr>
            <p:nvPr/>
          </p:nvSpPr>
          <p:spPr bwMode="auto">
            <a:xfrm>
              <a:off x="4271963" y="6081713"/>
              <a:ext cx="222250" cy="222250"/>
            </a:xfrm>
            <a:prstGeom prst="ellipse">
              <a:avLst/>
            </a:pr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7" name="Freeform 40"/>
            <p:cNvSpPr>
              <a:spLocks noEditPoints="1"/>
            </p:cNvSpPr>
            <p:nvPr/>
          </p:nvSpPr>
          <p:spPr bwMode="auto">
            <a:xfrm>
              <a:off x="4292601" y="6110288"/>
              <a:ext cx="155575" cy="165100"/>
            </a:xfrm>
            <a:custGeom>
              <a:avLst/>
              <a:gdLst>
                <a:gd name="T0" fmla="*/ 25 w 253"/>
                <a:gd name="T1" fmla="*/ 110 h 269"/>
                <a:gd name="T2" fmla="*/ 0 w 253"/>
                <a:gd name="T3" fmla="*/ 134 h 269"/>
                <a:gd name="T4" fmla="*/ 25 w 253"/>
                <a:gd name="T5" fmla="*/ 159 h 269"/>
                <a:gd name="T6" fmla="*/ 49 w 253"/>
                <a:gd name="T7" fmla="*/ 134 h 269"/>
                <a:gd name="T8" fmla="*/ 25 w 253"/>
                <a:gd name="T9" fmla="*/ 110 h 269"/>
                <a:gd name="T10" fmla="*/ 197 w 253"/>
                <a:gd name="T11" fmla="*/ 220 h 269"/>
                <a:gd name="T12" fmla="*/ 188 w 253"/>
                <a:gd name="T13" fmla="*/ 253 h 269"/>
                <a:gd name="T14" fmla="*/ 222 w 253"/>
                <a:gd name="T15" fmla="*/ 262 h 269"/>
                <a:gd name="T16" fmla="*/ 230 w 253"/>
                <a:gd name="T17" fmla="*/ 229 h 269"/>
                <a:gd name="T18" fmla="*/ 197 w 253"/>
                <a:gd name="T19" fmla="*/ 220 h 269"/>
                <a:gd name="T20" fmla="*/ 77 w 253"/>
                <a:gd name="T21" fmla="*/ 134 h 269"/>
                <a:gd name="T22" fmla="*/ 107 w 253"/>
                <a:gd name="T23" fmla="*/ 77 h 269"/>
                <a:gd name="T24" fmla="*/ 89 w 253"/>
                <a:gd name="T25" fmla="*/ 47 h 269"/>
                <a:gd name="T26" fmla="*/ 46 w 253"/>
                <a:gd name="T27" fmla="*/ 108 h 269"/>
                <a:gd name="T28" fmla="*/ 59 w 253"/>
                <a:gd name="T29" fmla="*/ 134 h 269"/>
                <a:gd name="T30" fmla="*/ 46 w 253"/>
                <a:gd name="T31" fmla="*/ 161 h 269"/>
                <a:gd name="T32" fmla="*/ 89 w 253"/>
                <a:gd name="T33" fmla="*/ 222 h 269"/>
                <a:gd name="T34" fmla="*/ 107 w 253"/>
                <a:gd name="T35" fmla="*/ 192 h 269"/>
                <a:gd name="T36" fmla="*/ 77 w 253"/>
                <a:gd name="T37" fmla="*/ 134 h 269"/>
                <a:gd name="T38" fmla="*/ 148 w 253"/>
                <a:gd name="T39" fmla="*/ 64 h 269"/>
                <a:gd name="T40" fmla="*/ 218 w 253"/>
                <a:gd name="T41" fmla="*/ 128 h 269"/>
                <a:gd name="T42" fmla="*/ 253 w 253"/>
                <a:gd name="T43" fmla="*/ 128 h 269"/>
                <a:gd name="T44" fmla="*/ 221 w 253"/>
                <a:gd name="T45" fmla="*/ 59 h 269"/>
                <a:gd name="T46" fmla="*/ 192 w 253"/>
                <a:gd name="T47" fmla="*/ 57 h 269"/>
                <a:gd name="T48" fmla="*/ 176 w 253"/>
                <a:gd name="T49" fmla="*/ 33 h 269"/>
                <a:gd name="T50" fmla="*/ 148 w 253"/>
                <a:gd name="T51" fmla="*/ 29 h 269"/>
                <a:gd name="T52" fmla="*/ 101 w 253"/>
                <a:gd name="T53" fmla="*/ 40 h 269"/>
                <a:gd name="T54" fmla="*/ 118 w 253"/>
                <a:gd name="T55" fmla="*/ 70 h 269"/>
                <a:gd name="T56" fmla="*/ 148 w 253"/>
                <a:gd name="T57" fmla="*/ 64 h 269"/>
                <a:gd name="T58" fmla="*/ 148 w 253"/>
                <a:gd name="T59" fmla="*/ 205 h 269"/>
                <a:gd name="T60" fmla="*/ 118 w 253"/>
                <a:gd name="T61" fmla="*/ 199 h 269"/>
                <a:gd name="T62" fmla="*/ 101 w 253"/>
                <a:gd name="T63" fmla="*/ 229 h 269"/>
                <a:gd name="T64" fmla="*/ 148 w 253"/>
                <a:gd name="T65" fmla="*/ 240 h 269"/>
                <a:gd name="T66" fmla="*/ 176 w 253"/>
                <a:gd name="T67" fmla="*/ 236 h 269"/>
                <a:gd name="T68" fmla="*/ 192 w 253"/>
                <a:gd name="T69" fmla="*/ 212 h 269"/>
                <a:gd name="T70" fmla="*/ 221 w 253"/>
                <a:gd name="T71" fmla="*/ 209 h 269"/>
                <a:gd name="T72" fmla="*/ 253 w 253"/>
                <a:gd name="T73" fmla="*/ 141 h 269"/>
                <a:gd name="T74" fmla="*/ 218 w 253"/>
                <a:gd name="T75" fmla="*/ 141 h 269"/>
                <a:gd name="T76" fmla="*/ 148 w 253"/>
                <a:gd name="T77" fmla="*/ 205 h 269"/>
                <a:gd name="T78" fmla="*/ 197 w 253"/>
                <a:gd name="T79" fmla="*/ 49 h 269"/>
                <a:gd name="T80" fmla="*/ 230 w 253"/>
                <a:gd name="T81" fmla="*/ 40 h 269"/>
                <a:gd name="T82" fmla="*/ 222 w 253"/>
                <a:gd name="T83" fmla="*/ 7 h 269"/>
                <a:gd name="T84" fmla="*/ 188 w 253"/>
                <a:gd name="T85" fmla="*/ 16 h 269"/>
                <a:gd name="T86" fmla="*/ 197 w 253"/>
                <a:gd name="T87" fmla="*/ 49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3" h="269">
                  <a:moveTo>
                    <a:pt x="25" y="110"/>
                  </a:moveTo>
                  <a:cubicBezTo>
                    <a:pt x="11" y="110"/>
                    <a:pt x="0" y="121"/>
                    <a:pt x="0" y="134"/>
                  </a:cubicBezTo>
                  <a:cubicBezTo>
                    <a:pt x="0" y="148"/>
                    <a:pt x="11" y="159"/>
                    <a:pt x="25" y="159"/>
                  </a:cubicBezTo>
                  <a:cubicBezTo>
                    <a:pt x="38" y="159"/>
                    <a:pt x="49" y="148"/>
                    <a:pt x="49" y="134"/>
                  </a:cubicBezTo>
                  <a:cubicBezTo>
                    <a:pt x="49" y="121"/>
                    <a:pt x="38" y="110"/>
                    <a:pt x="25" y="110"/>
                  </a:cubicBezTo>
                  <a:close/>
                  <a:moveTo>
                    <a:pt x="197" y="220"/>
                  </a:moveTo>
                  <a:cubicBezTo>
                    <a:pt x="186" y="227"/>
                    <a:pt x="182" y="242"/>
                    <a:pt x="188" y="253"/>
                  </a:cubicBezTo>
                  <a:cubicBezTo>
                    <a:pt x="195" y="265"/>
                    <a:pt x="210" y="269"/>
                    <a:pt x="222" y="262"/>
                  </a:cubicBezTo>
                  <a:cubicBezTo>
                    <a:pt x="233" y="255"/>
                    <a:pt x="237" y="241"/>
                    <a:pt x="230" y="229"/>
                  </a:cubicBezTo>
                  <a:cubicBezTo>
                    <a:pt x="224" y="218"/>
                    <a:pt x="209" y="214"/>
                    <a:pt x="197" y="220"/>
                  </a:cubicBezTo>
                  <a:close/>
                  <a:moveTo>
                    <a:pt x="77" y="134"/>
                  </a:moveTo>
                  <a:cubicBezTo>
                    <a:pt x="77" y="111"/>
                    <a:pt x="89" y="89"/>
                    <a:pt x="107" y="77"/>
                  </a:cubicBezTo>
                  <a:cubicBezTo>
                    <a:pt x="89" y="47"/>
                    <a:pt x="89" y="47"/>
                    <a:pt x="89" y="47"/>
                  </a:cubicBezTo>
                  <a:cubicBezTo>
                    <a:pt x="68" y="61"/>
                    <a:pt x="53" y="83"/>
                    <a:pt x="46" y="108"/>
                  </a:cubicBezTo>
                  <a:cubicBezTo>
                    <a:pt x="54" y="114"/>
                    <a:pt x="59" y="124"/>
                    <a:pt x="59" y="134"/>
                  </a:cubicBezTo>
                  <a:cubicBezTo>
                    <a:pt x="59" y="145"/>
                    <a:pt x="54" y="155"/>
                    <a:pt x="46" y="161"/>
                  </a:cubicBezTo>
                  <a:cubicBezTo>
                    <a:pt x="53" y="186"/>
                    <a:pt x="68" y="208"/>
                    <a:pt x="89" y="222"/>
                  </a:cubicBezTo>
                  <a:cubicBezTo>
                    <a:pt x="107" y="192"/>
                    <a:pt x="107" y="192"/>
                    <a:pt x="107" y="192"/>
                  </a:cubicBezTo>
                  <a:cubicBezTo>
                    <a:pt x="89" y="179"/>
                    <a:pt x="77" y="158"/>
                    <a:pt x="77" y="134"/>
                  </a:cubicBezTo>
                  <a:close/>
                  <a:moveTo>
                    <a:pt x="148" y="64"/>
                  </a:moveTo>
                  <a:cubicBezTo>
                    <a:pt x="185" y="64"/>
                    <a:pt x="215" y="92"/>
                    <a:pt x="218" y="128"/>
                  </a:cubicBezTo>
                  <a:cubicBezTo>
                    <a:pt x="253" y="128"/>
                    <a:pt x="253" y="128"/>
                    <a:pt x="253" y="128"/>
                  </a:cubicBezTo>
                  <a:cubicBezTo>
                    <a:pt x="251" y="101"/>
                    <a:pt x="239" y="77"/>
                    <a:pt x="221" y="59"/>
                  </a:cubicBezTo>
                  <a:cubicBezTo>
                    <a:pt x="212" y="63"/>
                    <a:pt x="202" y="62"/>
                    <a:pt x="192" y="57"/>
                  </a:cubicBezTo>
                  <a:cubicBezTo>
                    <a:pt x="183" y="52"/>
                    <a:pt x="177" y="43"/>
                    <a:pt x="176" y="33"/>
                  </a:cubicBezTo>
                  <a:cubicBezTo>
                    <a:pt x="167" y="31"/>
                    <a:pt x="158" y="29"/>
                    <a:pt x="148" y="29"/>
                  </a:cubicBezTo>
                  <a:cubicBezTo>
                    <a:pt x="131" y="29"/>
                    <a:pt x="115" y="33"/>
                    <a:pt x="101" y="40"/>
                  </a:cubicBezTo>
                  <a:cubicBezTo>
                    <a:pt x="118" y="70"/>
                    <a:pt x="118" y="70"/>
                    <a:pt x="118" y="70"/>
                  </a:cubicBezTo>
                  <a:cubicBezTo>
                    <a:pt x="127" y="66"/>
                    <a:pt x="137" y="64"/>
                    <a:pt x="148" y="64"/>
                  </a:cubicBezTo>
                  <a:close/>
                  <a:moveTo>
                    <a:pt x="148" y="205"/>
                  </a:moveTo>
                  <a:cubicBezTo>
                    <a:pt x="137" y="205"/>
                    <a:pt x="127" y="203"/>
                    <a:pt x="118" y="199"/>
                  </a:cubicBezTo>
                  <a:cubicBezTo>
                    <a:pt x="101" y="229"/>
                    <a:pt x="101" y="229"/>
                    <a:pt x="101" y="229"/>
                  </a:cubicBezTo>
                  <a:cubicBezTo>
                    <a:pt x="115" y="236"/>
                    <a:pt x="131" y="240"/>
                    <a:pt x="148" y="240"/>
                  </a:cubicBezTo>
                  <a:cubicBezTo>
                    <a:pt x="158" y="240"/>
                    <a:pt x="167" y="238"/>
                    <a:pt x="176" y="236"/>
                  </a:cubicBezTo>
                  <a:cubicBezTo>
                    <a:pt x="177" y="226"/>
                    <a:pt x="183" y="217"/>
                    <a:pt x="192" y="212"/>
                  </a:cubicBezTo>
                  <a:cubicBezTo>
                    <a:pt x="202" y="206"/>
                    <a:pt x="212" y="206"/>
                    <a:pt x="221" y="209"/>
                  </a:cubicBezTo>
                  <a:cubicBezTo>
                    <a:pt x="239" y="192"/>
                    <a:pt x="251" y="168"/>
                    <a:pt x="253" y="141"/>
                  </a:cubicBezTo>
                  <a:cubicBezTo>
                    <a:pt x="218" y="141"/>
                    <a:pt x="218" y="141"/>
                    <a:pt x="218" y="141"/>
                  </a:cubicBezTo>
                  <a:cubicBezTo>
                    <a:pt x="215" y="177"/>
                    <a:pt x="185" y="205"/>
                    <a:pt x="148" y="205"/>
                  </a:cubicBezTo>
                  <a:close/>
                  <a:moveTo>
                    <a:pt x="197" y="49"/>
                  </a:moveTo>
                  <a:cubicBezTo>
                    <a:pt x="209" y="55"/>
                    <a:pt x="224" y="51"/>
                    <a:pt x="230" y="40"/>
                  </a:cubicBezTo>
                  <a:cubicBezTo>
                    <a:pt x="237" y="28"/>
                    <a:pt x="233" y="13"/>
                    <a:pt x="222" y="7"/>
                  </a:cubicBezTo>
                  <a:cubicBezTo>
                    <a:pt x="210" y="0"/>
                    <a:pt x="195" y="4"/>
                    <a:pt x="188" y="16"/>
                  </a:cubicBezTo>
                  <a:cubicBezTo>
                    <a:pt x="182" y="27"/>
                    <a:pt x="186" y="42"/>
                    <a:pt x="197" y="49"/>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8" name="Freeform 41"/>
            <p:cNvSpPr>
              <a:spLocks/>
            </p:cNvSpPr>
            <p:nvPr/>
          </p:nvSpPr>
          <p:spPr bwMode="auto">
            <a:xfrm>
              <a:off x="2643188" y="6216650"/>
              <a:ext cx="222250" cy="282575"/>
            </a:xfrm>
            <a:custGeom>
              <a:avLst/>
              <a:gdLst>
                <a:gd name="T0" fmla="*/ 362 w 362"/>
                <a:gd name="T1" fmla="*/ 436 h 459"/>
                <a:gd name="T2" fmla="*/ 289 w 362"/>
                <a:gd name="T3" fmla="*/ 451 h 459"/>
                <a:gd name="T4" fmla="*/ 184 w 362"/>
                <a:gd name="T5" fmla="*/ 459 h 459"/>
                <a:gd name="T6" fmla="*/ 97 w 362"/>
                <a:gd name="T7" fmla="*/ 444 h 459"/>
                <a:gd name="T8" fmla="*/ 40 w 362"/>
                <a:gd name="T9" fmla="*/ 401 h 459"/>
                <a:gd name="T10" fmla="*/ 9 w 362"/>
                <a:gd name="T11" fmla="*/ 336 h 459"/>
                <a:gd name="T12" fmla="*/ 0 w 362"/>
                <a:gd name="T13" fmla="*/ 252 h 459"/>
                <a:gd name="T14" fmla="*/ 0 w 362"/>
                <a:gd name="T15" fmla="*/ 0 h 459"/>
                <a:gd name="T16" fmla="*/ 80 w 362"/>
                <a:gd name="T17" fmla="*/ 0 h 459"/>
                <a:gd name="T18" fmla="*/ 80 w 362"/>
                <a:gd name="T19" fmla="*/ 235 h 459"/>
                <a:gd name="T20" fmla="*/ 106 w 362"/>
                <a:gd name="T21" fmla="*/ 352 h 459"/>
                <a:gd name="T22" fmla="*/ 193 w 362"/>
                <a:gd name="T23" fmla="*/ 388 h 459"/>
                <a:gd name="T24" fmla="*/ 220 w 362"/>
                <a:gd name="T25" fmla="*/ 387 h 459"/>
                <a:gd name="T26" fmla="*/ 246 w 362"/>
                <a:gd name="T27" fmla="*/ 385 h 459"/>
                <a:gd name="T28" fmla="*/ 268 w 362"/>
                <a:gd name="T29" fmla="*/ 382 h 459"/>
                <a:gd name="T30" fmla="*/ 282 w 362"/>
                <a:gd name="T31" fmla="*/ 379 h 459"/>
                <a:gd name="T32" fmla="*/ 282 w 362"/>
                <a:gd name="T33" fmla="*/ 0 h 459"/>
                <a:gd name="T34" fmla="*/ 362 w 362"/>
                <a:gd name="T35" fmla="*/ 0 h 459"/>
                <a:gd name="T36" fmla="*/ 362 w 362"/>
                <a:gd name="T37" fmla="*/ 43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2" h="459">
                  <a:moveTo>
                    <a:pt x="362" y="436"/>
                  </a:moveTo>
                  <a:cubicBezTo>
                    <a:pt x="344" y="441"/>
                    <a:pt x="320" y="446"/>
                    <a:pt x="289" y="451"/>
                  </a:cubicBezTo>
                  <a:cubicBezTo>
                    <a:pt x="259" y="456"/>
                    <a:pt x="224" y="459"/>
                    <a:pt x="184" y="459"/>
                  </a:cubicBezTo>
                  <a:cubicBezTo>
                    <a:pt x="150" y="459"/>
                    <a:pt x="121" y="454"/>
                    <a:pt x="97" y="444"/>
                  </a:cubicBezTo>
                  <a:cubicBezTo>
                    <a:pt x="74" y="433"/>
                    <a:pt x="55" y="419"/>
                    <a:pt x="40" y="401"/>
                  </a:cubicBezTo>
                  <a:cubicBezTo>
                    <a:pt x="26" y="382"/>
                    <a:pt x="16" y="361"/>
                    <a:pt x="9" y="336"/>
                  </a:cubicBezTo>
                  <a:cubicBezTo>
                    <a:pt x="3" y="311"/>
                    <a:pt x="0" y="283"/>
                    <a:pt x="0" y="252"/>
                  </a:cubicBezTo>
                  <a:cubicBezTo>
                    <a:pt x="0" y="0"/>
                    <a:pt x="0" y="0"/>
                    <a:pt x="0" y="0"/>
                  </a:cubicBezTo>
                  <a:cubicBezTo>
                    <a:pt x="80" y="0"/>
                    <a:pt x="80" y="0"/>
                    <a:pt x="80" y="0"/>
                  </a:cubicBezTo>
                  <a:cubicBezTo>
                    <a:pt x="80" y="235"/>
                    <a:pt x="80" y="235"/>
                    <a:pt x="80" y="235"/>
                  </a:cubicBezTo>
                  <a:cubicBezTo>
                    <a:pt x="80" y="290"/>
                    <a:pt x="89" y="329"/>
                    <a:pt x="106" y="352"/>
                  </a:cubicBezTo>
                  <a:cubicBezTo>
                    <a:pt x="123" y="376"/>
                    <a:pt x="152" y="388"/>
                    <a:pt x="193" y="388"/>
                  </a:cubicBezTo>
                  <a:cubicBezTo>
                    <a:pt x="202" y="388"/>
                    <a:pt x="211" y="388"/>
                    <a:pt x="220" y="387"/>
                  </a:cubicBezTo>
                  <a:cubicBezTo>
                    <a:pt x="229" y="386"/>
                    <a:pt x="238" y="386"/>
                    <a:pt x="246" y="385"/>
                  </a:cubicBezTo>
                  <a:cubicBezTo>
                    <a:pt x="254" y="384"/>
                    <a:pt x="261" y="383"/>
                    <a:pt x="268" y="382"/>
                  </a:cubicBezTo>
                  <a:cubicBezTo>
                    <a:pt x="274" y="381"/>
                    <a:pt x="279" y="380"/>
                    <a:pt x="282" y="379"/>
                  </a:cubicBezTo>
                  <a:cubicBezTo>
                    <a:pt x="282" y="0"/>
                    <a:pt x="282" y="0"/>
                    <a:pt x="282" y="0"/>
                  </a:cubicBezTo>
                  <a:cubicBezTo>
                    <a:pt x="362" y="0"/>
                    <a:pt x="362" y="0"/>
                    <a:pt x="362" y="0"/>
                  </a:cubicBezTo>
                  <a:cubicBezTo>
                    <a:pt x="362" y="436"/>
                    <a:pt x="362" y="436"/>
                    <a:pt x="362" y="436"/>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9" name="Freeform 42"/>
            <p:cNvSpPr>
              <a:spLocks noEditPoints="1"/>
            </p:cNvSpPr>
            <p:nvPr/>
          </p:nvSpPr>
          <p:spPr bwMode="auto">
            <a:xfrm>
              <a:off x="2935288" y="6081713"/>
              <a:ext cx="241300" cy="417512"/>
            </a:xfrm>
            <a:custGeom>
              <a:avLst/>
              <a:gdLst>
                <a:gd name="T0" fmla="*/ 80 w 395"/>
                <a:gd name="T1" fmla="*/ 241 h 680"/>
                <a:gd name="T2" fmla="*/ 125 w 395"/>
                <a:gd name="T3" fmla="*/ 221 h 680"/>
                <a:gd name="T4" fmla="*/ 193 w 395"/>
                <a:gd name="T5" fmla="*/ 211 h 680"/>
                <a:gd name="T6" fmla="*/ 279 w 395"/>
                <a:gd name="T7" fmla="*/ 228 h 680"/>
                <a:gd name="T8" fmla="*/ 343 w 395"/>
                <a:gd name="T9" fmla="*/ 276 h 680"/>
                <a:gd name="T10" fmla="*/ 382 w 395"/>
                <a:gd name="T11" fmla="*/ 351 h 680"/>
                <a:gd name="T12" fmla="*/ 395 w 395"/>
                <a:gd name="T13" fmla="*/ 446 h 680"/>
                <a:gd name="T14" fmla="*/ 379 w 395"/>
                <a:gd name="T15" fmla="*/ 544 h 680"/>
                <a:gd name="T16" fmla="*/ 334 w 395"/>
                <a:gd name="T17" fmla="*/ 617 h 680"/>
                <a:gd name="T18" fmla="*/ 263 w 395"/>
                <a:gd name="T19" fmla="*/ 664 h 680"/>
                <a:gd name="T20" fmla="*/ 170 w 395"/>
                <a:gd name="T21" fmla="*/ 680 h 680"/>
                <a:gd name="T22" fmla="*/ 71 w 395"/>
                <a:gd name="T23" fmla="*/ 673 h 680"/>
                <a:gd name="T24" fmla="*/ 0 w 395"/>
                <a:gd name="T25" fmla="*/ 657 h 680"/>
                <a:gd name="T26" fmla="*/ 0 w 395"/>
                <a:gd name="T27" fmla="*/ 14 h 680"/>
                <a:gd name="T28" fmla="*/ 80 w 395"/>
                <a:gd name="T29" fmla="*/ 0 h 680"/>
                <a:gd name="T30" fmla="*/ 80 w 395"/>
                <a:gd name="T31" fmla="*/ 241 h 680"/>
                <a:gd name="T32" fmla="*/ 80 w 395"/>
                <a:gd name="T33" fmla="*/ 600 h 680"/>
                <a:gd name="T34" fmla="*/ 114 w 395"/>
                <a:gd name="T35" fmla="*/ 607 h 680"/>
                <a:gd name="T36" fmla="*/ 169 w 395"/>
                <a:gd name="T37" fmla="*/ 610 h 680"/>
                <a:gd name="T38" fmla="*/ 273 w 395"/>
                <a:gd name="T39" fmla="*/ 567 h 680"/>
                <a:gd name="T40" fmla="*/ 312 w 395"/>
                <a:gd name="T41" fmla="*/ 446 h 680"/>
                <a:gd name="T42" fmla="*/ 305 w 395"/>
                <a:gd name="T43" fmla="*/ 381 h 680"/>
                <a:gd name="T44" fmla="*/ 282 w 395"/>
                <a:gd name="T45" fmla="*/ 329 h 680"/>
                <a:gd name="T46" fmla="*/ 242 w 395"/>
                <a:gd name="T47" fmla="*/ 294 h 680"/>
                <a:gd name="T48" fmla="*/ 183 w 395"/>
                <a:gd name="T49" fmla="*/ 282 h 680"/>
                <a:gd name="T50" fmla="*/ 123 w 395"/>
                <a:gd name="T51" fmla="*/ 293 h 680"/>
                <a:gd name="T52" fmla="*/ 80 w 395"/>
                <a:gd name="T53" fmla="*/ 316 h 680"/>
                <a:gd name="T54" fmla="*/ 80 w 395"/>
                <a:gd name="T55" fmla="*/ 600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95" h="680">
                  <a:moveTo>
                    <a:pt x="80" y="241"/>
                  </a:moveTo>
                  <a:cubicBezTo>
                    <a:pt x="90" y="235"/>
                    <a:pt x="105" y="228"/>
                    <a:pt x="125" y="221"/>
                  </a:cubicBezTo>
                  <a:cubicBezTo>
                    <a:pt x="145" y="214"/>
                    <a:pt x="167" y="211"/>
                    <a:pt x="193" y="211"/>
                  </a:cubicBezTo>
                  <a:cubicBezTo>
                    <a:pt x="226" y="211"/>
                    <a:pt x="254" y="217"/>
                    <a:pt x="279" y="228"/>
                  </a:cubicBezTo>
                  <a:cubicBezTo>
                    <a:pt x="304" y="240"/>
                    <a:pt x="325" y="256"/>
                    <a:pt x="343" y="276"/>
                  </a:cubicBezTo>
                  <a:cubicBezTo>
                    <a:pt x="360" y="297"/>
                    <a:pt x="373" y="322"/>
                    <a:pt x="382" y="351"/>
                  </a:cubicBezTo>
                  <a:cubicBezTo>
                    <a:pt x="391" y="379"/>
                    <a:pt x="395" y="411"/>
                    <a:pt x="395" y="446"/>
                  </a:cubicBezTo>
                  <a:cubicBezTo>
                    <a:pt x="395" y="482"/>
                    <a:pt x="390" y="515"/>
                    <a:pt x="379" y="544"/>
                  </a:cubicBezTo>
                  <a:cubicBezTo>
                    <a:pt x="369" y="573"/>
                    <a:pt x="354" y="597"/>
                    <a:pt x="334" y="617"/>
                  </a:cubicBezTo>
                  <a:cubicBezTo>
                    <a:pt x="315" y="638"/>
                    <a:pt x="291" y="653"/>
                    <a:pt x="263" y="664"/>
                  </a:cubicBezTo>
                  <a:cubicBezTo>
                    <a:pt x="236" y="675"/>
                    <a:pt x="205" y="680"/>
                    <a:pt x="170" y="680"/>
                  </a:cubicBezTo>
                  <a:cubicBezTo>
                    <a:pt x="133" y="680"/>
                    <a:pt x="100" y="678"/>
                    <a:pt x="71" y="673"/>
                  </a:cubicBezTo>
                  <a:cubicBezTo>
                    <a:pt x="42" y="668"/>
                    <a:pt x="18" y="662"/>
                    <a:pt x="0" y="657"/>
                  </a:cubicBezTo>
                  <a:cubicBezTo>
                    <a:pt x="0" y="14"/>
                    <a:pt x="0" y="14"/>
                    <a:pt x="0" y="14"/>
                  </a:cubicBezTo>
                  <a:cubicBezTo>
                    <a:pt x="80" y="0"/>
                    <a:pt x="80" y="0"/>
                    <a:pt x="80" y="0"/>
                  </a:cubicBezTo>
                  <a:lnTo>
                    <a:pt x="80" y="241"/>
                  </a:lnTo>
                  <a:close/>
                  <a:moveTo>
                    <a:pt x="80" y="600"/>
                  </a:moveTo>
                  <a:cubicBezTo>
                    <a:pt x="88" y="602"/>
                    <a:pt x="100" y="605"/>
                    <a:pt x="114" y="607"/>
                  </a:cubicBezTo>
                  <a:cubicBezTo>
                    <a:pt x="129" y="609"/>
                    <a:pt x="147" y="610"/>
                    <a:pt x="169" y="610"/>
                  </a:cubicBezTo>
                  <a:cubicBezTo>
                    <a:pt x="212" y="610"/>
                    <a:pt x="247" y="595"/>
                    <a:pt x="273" y="567"/>
                  </a:cubicBezTo>
                  <a:cubicBezTo>
                    <a:pt x="299" y="538"/>
                    <a:pt x="312" y="498"/>
                    <a:pt x="312" y="446"/>
                  </a:cubicBezTo>
                  <a:cubicBezTo>
                    <a:pt x="312" y="423"/>
                    <a:pt x="309" y="401"/>
                    <a:pt x="305" y="381"/>
                  </a:cubicBezTo>
                  <a:cubicBezTo>
                    <a:pt x="300" y="361"/>
                    <a:pt x="293" y="343"/>
                    <a:pt x="282" y="329"/>
                  </a:cubicBezTo>
                  <a:cubicBezTo>
                    <a:pt x="272" y="314"/>
                    <a:pt x="259" y="302"/>
                    <a:pt x="242" y="294"/>
                  </a:cubicBezTo>
                  <a:cubicBezTo>
                    <a:pt x="226" y="286"/>
                    <a:pt x="206" y="282"/>
                    <a:pt x="183" y="282"/>
                  </a:cubicBezTo>
                  <a:cubicBezTo>
                    <a:pt x="161" y="282"/>
                    <a:pt x="141" y="285"/>
                    <a:pt x="123" y="293"/>
                  </a:cubicBezTo>
                  <a:cubicBezTo>
                    <a:pt x="104" y="300"/>
                    <a:pt x="90" y="308"/>
                    <a:pt x="80" y="316"/>
                  </a:cubicBezTo>
                  <a:cubicBezTo>
                    <a:pt x="80" y="600"/>
                    <a:pt x="80" y="600"/>
                    <a:pt x="80" y="600"/>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20" name="Freeform 43"/>
            <p:cNvSpPr>
              <a:spLocks/>
            </p:cNvSpPr>
            <p:nvPr/>
          </p:nvSpPr>
          <p:spPr bwMode="auto">
            <a:xfrm>
              <a:off x="3228976" y="6216650"/>
              <a:ext cx="222250" cy="282575"/>
            </a:xfrm>
            <a:custGeom>
              <a:avLst/>
              <a:gdLst>
                <a:gd name="T0" fmla="*/ 362 w 362"/>
                <a:gd name="T1" fmla="*/ 436 h 459"/>
                <a:gd name="T2" fmla="*/ 290 w 362"/>
                <a:gd name="T3" fmla="*/ 451 h 459"/>
                <a:gd name="T4" fmla="*/ 185 w 362"/>
                <a:gd name="T5" fmla="*/ 459 h 459"/>
                <a:gd name="T6" fmla="*/ 97 w 362"/>
                <a:gd name="T7" fmla="*/ 444 h 459"/>
                <a:gd name="T8" fmla="*/ 40 w 362"/>
                <a:gd name="T9" fmla="*/ 401 h 459"/>
                <a:gd name="T10" fmla="*/ 9 w 362"/>
                <a:gd name="T11" fmla="*/ 336 h 459"/>
                <a:gd name="T12" fmla="*/ 0 w 362"/>
                <a:gd name="T13" fmla="*/ 252 h 459"/>
                <a:gd name="T14" fmla="*/ 0 w 362"/>
                <a:gd name="T15" fmla="*/ 0 h 459"/>
                <a:gd name="T16" fmla="*/ 80 w 362"/>
                <a:gd name="T17" fmla="*/ 0 h 459"/>
                <a:gd name="T18" fmla="*/ 80 w 362"/>
                <a:gd name="T19" fmla="*/ 235 h 459"/>
                <a:gd name="T20" fmla="*/ 106 w 362"/>
                <a:gd name="T21" fmla="*/ 352 h 459"/>
                <a:gd name="T22" fmla="*/ 193 w 362"/>
                <a:gd name="T23" fmla="*/ 388 h 459"/>
                <a:gd name="T24" fmla="*/ 220 w 362"/>
                <a:gd name="T25" fmla="*/ 387 h 459"/>
                <a:gd name="T26" fmla="*/ 246 w 362"/>
                <a:gd name="T27" fmla="*/ 385 h 459"/>
                <a:gd name="T28" fmla="*/ 268 w 362"/>
                <a:gd name="T29" fmla="*/ 382 h 459"/>
                <a:gd name="T30" fmla="*/ 282 w 362"/>
                <a:gd name="T31" fmla="*/ 379 h 459"/>
                <a:gd name="T32" fmla="*/ 282 w 362"/>
                <a:gd name="T33" fmla="*/ 0 h 459"/>
                <a:gd name="T34" fmla="*/ 362 w 362"/>
                <a:gd name="T35" fmla="*/ 0 h 459"/>
                <a:gd name="T36" fmla="*/ 362 w 362"/>
                <a:gd name="T37" fmla="*/ 43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2" h="459">
                  <a:moveTo>
                    <a:pt x="362" y="436"/>
                  </a:moveTo>
                  <a:cubicBezTo>
                    <a:pt x="344" y="441"/>
                    <a:pt x="320" y="446"/>
                    <a:pt x="290" y="451"/>
                  </a:cubicBezTo>
                  <a:cubicBezTo>
                    <a:pt x="259" y="456"/>
                    <a:pt x="224" y="459"/>
                    <a:pt x="185" y="459"/>
                  </a:cubicBezTo>
                  <a:cubicBezTo>
                    <a:pt x="150" y="459"/>
                    <a:pt x="121" y="454"/>
                    <a:pt x="97" y="444"/>
                  </a:cubicBezTo>
                  <a:cubicBezTo>
                    <a:pt x="74" y="433"/>
                    <a:pt x="55" y="419"/>
                    <a:pt x="40" y="401"/>
                  </a:cubicBezTo>
                  <a:cubicBezTo>
                    <a:pt x="26" y="382"/>
                    <a:pt x="16" y="361"/>
                    <a:pt x="9" y="336"/>
                  </a:cubicBezTo>
                  <a:cubicBezTo>
                    <a:pt x="3" y="311"/>
                    <a:pt x="0" y="283"/>
                    <a:pt x="0" y="252"/>
                  </a:cubicBezTo>
                  <a:cubicBezTo>
                    <a:pt x="0" y="0"/>
                    <a:pt x="0" y="0"/>
                    <a:pt x="0" y="0"/>
                  </a:cubicBezTo>
                  <a:cubicBezTo>
                    <a:pt x="80" y="0"/>
                    <a:pt x="80" y="0"/>
                    <a:pt x="80" y="0"/>
                  </a:cubicBezTo>
                  <a:cubicBezTo>
                    <a:pt x="80" y="235"/>
                    <a:pt x="80" y="235"/>
                    <a:pt x="80" y="235"/>
                  </a:cubicBezTo>
                  <a:cubicBezTo>
                    <a:pt x="80" y="290"/>
                    <a:pt x="89" y="329"/>
                    <a:pt x="106" y="352"/>
                  </a:cubicBezTo>
                  <a:cubicBezTo>
                    <a:pt x="123" y="376"/>
                    <a:pt x="152" y="388"/>
                    <a:pt x="193" y="388"/>
                  </a:cubicBezTo>
                  <a:cubicBezTo>
                    <a:pt x="202" y="388"/>
                    <a:pt x="211" y="388"/>
                    <a:pt x="220" y="387"/>
                  </a:cubicBezTo>
                  <a:cubicBezTo>
                    <a:pt x="229" y="386"/>
                    <a:pt x="238" y="386"/>
                    <a:pt x="246" y="385"/>
                  </a:cubicBezTo>
                  <a:cubicBezTo>
                    <a:pt x="254" y="384"/>
                    <a:pt x="261" y="383"/>
                    <a:pt x="268" y="382"/>
                  </a:cubicBezTo>
                  <a:cubicBezTo>
                    <a:pt x="275" y="381"/>
                    <a:pt x="279" y="380"/>
                    <a:pt x="282" y="379"/>
                  </a:cubicBezTo>
                  <a:cubicBezTo>
                    <a:pt x="282" y="0"/>
                    <a:pt x="282" y="0"/>
                    <a:pt x="282" y="0"/>
                  </a:cubicBezTo>
                  <a:cubicBezTo>
                    <a:pt x="362" y="0"/>
                    <a:pt x="362" y="0"/>
                    <a:pt x="362" y="0"/>
                  </a:cubicBezTo>
                  <a:cubicBezTo>
                    <a:pt x="362" y="436"/>
                    <a:pt x="362" y="436"/>
                    <a:pt x="362" y="436"/>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21" name="Freeform 44"/>
            <p:cNvSpPr>
              <a:spLocks/>
            </p:cNvSpPr>
            <p:nvPr/>
          </p:nvSpPr>
          <p:spPr bwMode="auto">
            <a:xfrm>
              <a:off x="3521076" y="6211888"/>
              <a:ext cx="222250" cy="280987"/>
            </a:xfrm>
            <a:custGeom>
              <a:avLst/>
              <a:gdLst>
                <a:gd name="T0" fmla="*/ 0 w 363"/>
                <a:gd name="T1" fmla="*/ 22 h 458"/>
                <a:gd name="T2" fmla="*/ 74 w 363"/>
                <a:gd name="T3" fmla="*/ 7 h 458"/>
                <a:gd name="T4" fmla="*/ 179 w 363"/>
                <a:gd name="T5" fmla="*/ 0 h 458"/>
                <a:gd name="T6" fmla="*/ 268 w 363"/>
                <a:gd name="T7" fmla="*/ 15 h 458"/>
                <a:gd name="T8" fmla="*/ 324 w 363"/>
                <a:gd name="T9" fmla="*/ 57 h 458"/>
                <a:gd name="T10" fmla="*/ 354 w 363"/>
                <a:gd name="T11" fmla="*/ 122 h 458"/>
                <a:gd name="T12" fmla="*/ 363 w 363"/>
                <a:gd name="T13" fmla="*/ 206 h 458"/>
                <a:gd name="T14" fmla="*/ 363 w 363"/>
                <a:gd name="T15" fmla="*/ 458 h 458"/>
                <a:gd name="T16" fmla="*/ 282 w 363"/>
                <a:gd name="T17" fmla="*/ 458 h 458"/>
                <a:gd name="T18" fmla="*/ 282 w 363"/>
                <a:gd name="T19" fmla="*/ 223 h 458"/>
                <a:gd name="T20" fmla="*/ 277 w 363"/>
                <a:gd name="T21" fmla="*/ 152 h 458"/>
                <a:gd name="T22" fmla="*/ 258 w 363"/>
                <a:gd name="T23" fmla="*/ 105 h 458"/>
                <a:gd name="T24" fmla="*/ 224 w 363"/>
                <a:gd name="T25" fmla="*/ 79 h 458"/>
                <a:gd name="T26" fmla="*/ 170 w 363"/>
                <a:gd name="T27" fmla="*/ 70 h 458"/>
                <a:gd name="T28" fmla="*/ 143 w 363"/>
                <a:gd name="T29" fmla="*/ 71 h 458"/>
                <a:gd name="T30" fmla="*/ 117 w 363"/>
                <a:gd name="T31" fmla="*/ 74 h 458"/>
                <a:gd name="T32" fmla="*/ 95 w 363"/>
                <a:gd name="T33" fmla="*/ 77 h 458"/>
                <a:gd name="T34" fmla="*/ 80 w 363"/>
                <a:gd name="T35" fmla="*/ 79 h 458"/>
                <a:gd name="T36" fmla="*/ 80 w 363"/>
                <a:gd name="T37" fmla="*/ 458 h 458"/>
                <a:gd name="T38" fmla="*/ 0 w 363"/>
                <a:gd name="T39" fmla="*/ 458 h 458"/>
                <a:gd name="T40" fmla="*/ 0 w 363"/>
                <a:gd name="T41" fmla="*/ 22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3" h="458">
                  <a:moveTo>
                    <a:pt x="0" y="22"/>
                  </a:moveTo>
                  <a:cubicBezTo>
                    <a:pt x="19" y="18"/>
                    <a:pt x="43" y="13"/>
                    <a:pt x="74" y="7"/>
                  </a:cubicBezTo>
                  <a:cubicBezTo>
                    <a:pt x="104" y="2"/>
                    <a:pt x="139" y="0"/>
                    <a:pt x="179" y="0"/>
                  </a:cubicBezTo>
                  <a:cubicBezTo>
                    <a:pt x="215" y="0"/>
                    <a:pt x="244" y="5"/>
                    <a:pt x="268" y="15"/>
                  </a:cubicBezTo>
                  <a:cubicBezTo>
                    <a:pt x="291" y="25"/>
                    <a:pt x="310" y="39"/>
                    <a:pt x="324" y="57"/>
                  </a:cubicBezTo>
                  <a:cubicBezTo>
                    <a:pt x="338" y="75"/>
                    <a:pt x="348" y="97"/>
                    <a:pt x="354" y="122"/>
                  </a:cubicBezTo>
                  <a:cubicBezTo>
                    <a:pt x="360" y="148"/>
                    <a:pt x="363" y="176"/>
                    <a:pt x="363" y="206"/>
                  </a:cubicBezTo>
                  <a:cubicBezTo>
                    <a:pt x="363" y="458"/>
                    <a:pt x="363" y="458"/>
                    <a:pt x="363" y="458"/>
                  </a:cubicBezTo>
                  <a:cubicBezTo>
                    <a:pt x="282" y="458"/>
                    <a:pt x="282" y="458"/>
                    <a:pt x="282" y="458"/>
                  </a:cubicBezTo>
                  <a:cubicBezTo>
                    <a:pt x="282" y="223"/>
                    <a:pt x="282" y="223"/>
                    <a:pt x="282" y="223"/>
                  </a:cubicBezTo>
                  <a:cubicBezTo>
                    <a:pt x="282" y="196"/>
                    <a:pt x="281" y="172"/>
                    <a:pt x="277" y="152"/>
                  </a:cubicBezTo>
                  <a:cubicBezTo>
                    <a:pt x="273" y="133"/>
                    <a:pt x="267" y="117"/>
                    <a:pt x="258" y="105"/>
                  </a:cubicBezTo>
                  <a:cubicBezTo>
                    <a:pt x="250" y="93"/>
                    <a:pt x="238" y="84"/>
                    <a:pt x="224" y="79"/>
                  </a:cubicBezTo>
                  <a:cubicBezTo>
                    <a:pt x="209" y="73"/>
                    <a:pt x="191" y="70"/>
                    <a:pt x="170" y="70"/>
                  </a:cubicBezTo>
                  <a:cubicBezTo>
                    <a:pt x="162" y="70"/>
                    <a:pt x="153" y="71"/>
                    <a:pt x="143" y="71"/>
                  </a:cubicBezTo>
                  <a:cubicBezTo>
                    <a:pt x="134" y="72"/>
                    <a:pt x="125" y="73"/>
                    <a:pt x="117" y="74"/>
                  </a:cubicBezTo>
                  <a:cubicBezTo>
                    <a:pt x="109" y="74"/>
                    <a:pt x="101" y="75"/>
                    <a:pt x="95" y="77"/>
                  </a:cubicBezTo>
                  <a:cubicBezTo>
                    <a:pt x="88" y="78"/>
                    <a:pt x="83" y="79"/>
                    <a:pt x="80" y="79"/>
                  </a:cubicBezTo>
                  <a:cubicBezTo>
                    <a:pt x="80" y="458"/>
                    <a:pt x="80" y="458"/>
                    <a:pt x="80" y="458"/>
                  </a:cubicBezTo>
                  <a:cubicBezTo>
                    <a:pt x="0" y="458"/>
                    <a:pt x="0" y="458"/>
                    <a:pt x="0" y="458"/>
                  </a:cubicBezTo>
                  <a:cubicBezTo>
                    <a:pt x="0" y="22"/>
                    <a:pt x="0" y="22"/>
                    <a:pt x="0" y="22"/>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22" name="Freeform 45"/>
            <p:cNvSpPr>
              <a:spLocks/>
            </p:cNvSpPr>
            <p:nvPr/>
          </p:nvSpPr>
          <p:spPr bwMode="auto">
            <a:xfrm>
              <a:off x="3806826" y="6132513"/>
              <a:ext cx="165100" cy="366712"/>
            </a:xfrm>
            <a:custGeom>
              <a:avLst/>
              <a:gdLst>
                <a:gd name="T0" fmla="*/ 80 w 269"/>
                <a:gd name="T1" fmla="*/ 139 h 598"/>
                <a:gd name="T2" fmla="*/ 250 w 269"/>
                <a:gd name="T3" fmla="*/ 139 h 598"/>
                <a:gd name="T4" fmla="*/ 250 w 269"/>
                <a:gd name="T5" fmla="*/ 207 h 598"/>
                <a:gd name="T6" fmla="*/ 80 w 269"/>
                <a:gd name="T7" fmla="*/ 207 h 598"/>
                <a:gd name="T8" fmla="*/ 80 w 269"/>
                <a:gd name="T9" fmla="*/ 414 h 598"/>
                <a:gd name="T10" fmla="*/ 86 w 269"/>
                <a:gd name="T11" fmla="*/ 469 h 598"/>
                <a:gd name="T12" fmla="*/ 101 w 269"/>
                <a:gd name="T13" fmla="*/ 504 h 598"/>
                <a:gd name="T14" fmla="*/ 127 w 269"/>
                <a:gd name="T15" fmla="*/ 522 h 598"/>
                <a:gd name="T16" fmla="*/ 163 w 269"/>
                <a:gd name="T17" fmla="*/ 527 h 598"/>
                <a:gd name="T18" fmla="*/ 222 w 269"/>
                <a:gd name="T19" fmla="*/ 519 h 598"/>
                <a:gd name="T20" fmla="*/ 251 w 269"/>
                <a:gd name="T21" fmla="*/ 507 h 598"/>
                <a:gd name="T22" fmla="*/ 269 w 269"/>
                <a:gd name="T23" fmla="*/ 573 h 598"/>
                <a:gd name="T24" fmla="*/ 226 w 269"/>
                <a:gd name="T25" fmla="*/ 588 h 598"/>
                <a:gd name="T26" fmla="*/ 156 w 269"/>
                <a:gd name="T27" fmla="*/ 598 h 598"/>
                <a:gd name="T28" fmla="*/ 81 w 269"/>
                <a:gd name="T29" fmla="*/ 586 h 598"/>
                <a:gd name="T30" fmla="*/ 33 w 269"/>
                <a:gd name="T31" fmla="*/ 551 h 598"/>
                <a:gd name="T32" fmla="*/ 7 w 269"/>
                <a:gd name="T33" fmla="*/ 494 h 598"/>
                <a:gd name="T34" fmla="*/ 0 w 269"/>
                <a:gd name="T35" fmla="*/ 415 h 598"/>
                <a:gd name="T36" fmla="*/ 0 w 269"/>
                <a:gd name="T37" fmla="*/ 14 h 598"/>
                <a:gd name="T38" fmla="*/ 80 w 269"/>
                <a:gd name="T39" fmla="*/ 0 h 598"/>
                <a:gd name="T40" fmla="*/ 80 w 269"/>
                <a:gd name="T41" fmla="*/ 139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9" h="598">
                  <a:moveTo>
                    <a:pt x="80" y="139"/>
                  </a:moveTo>
                  <a:cubicBezTo>
                    <a:pt x="250" y="139"/>
                    <a:pt x="250" y="139"/>
                    <a:pt x="250" y="139"/>
                  </a:cubicBezTo>
                  <a:cubicBezTo>
                    <a:pt x="250" y="207"/>
                    <a:pt x="250" y="207"/>
                    <a:pt x="250" y="207"/>
                  </a:cubicBezTo>
                  <a:cubicBezTo>
                    <a:pt x="80" y="207"/>
                    <a:pt x="80" y="207"/>
                    <a:pt x="80" y="207"/>
                  </a:cubicBezTo>
                  <a:cubicBezTo>
                    <a:pt x="80" y="414"/>
                    <a:pt x="80" y="414"/>
                    <a:pt x="80" y="414"/>
                  </a:cubicBezTo>
                  <a:cubicBezTo>
                    <a:pt x="80" y="436"/>
                    <a:pt x="82" y="455"/>
                    <a:pt x="86" y="469"/>
                  </a:cubicBezTo>
                  <a:cubicBezTo>
                    <a:pt x="89" y="484"/>
                    <a:pt x="94" y="496"/>
                    <a:pt x="101" y="504"/>
                  </a:cubicBezTo>
                  <a:cubicBezTo>
                    <a:pt x="108" y="512"/>
                    <a:pt x="117" y="518"/>
                    <a:pt x="127" y="522"/>
                  </a:cubicBezTo>
                  <a:cubicBezTo>
                    <a:pt x="137" y="525"/>
                    <a:pt x="149" y="527"/>
                    <a:pt x="163" y="527"/>
                  </a:cubicBezTo>
                  <a:cubicBezTo>
                    <a:pt x="188" y="527"/>
                    <a:pt x="208" y="524"/>
                    <a:pt x="222" y="519"/>
                  </a:cubicBezTo>
                  <a:cubicBezTo>
                    <a:pt x="236" y="513"/>
                    <a:pt x="246" y="509"/>
                    <a:pt x="251" y="507"/>
                  </a:cubicBezTo>
                  <a:cubicBezTo>
                    <a:pt x="269" y="573"/>
                    <a:pt x="269" y="573"/>
                    <a:pt x="269" y="573"/>
                  </a:cubicBezTo>
                  <a:cubicBezTo>
                    <a:pt x="260" y="577"/>
                    <a:pt x="246" y="582"/>
                    <a:pt x="226" y="588"/>
                  </a:cubicBezTo>
                  <a:cubicBezTo>
                    <a:pt x="205" y="594"/>
                    <a:pt x="182" y="598"/>
                    <a:pt x="156" y="598"/>
                  </a:cubicBezTo>
                  <a:cubicBezTo>
                    <a:pt x="126" y="598"/>
                    <a:pt x="101" y="594"/>
                    <a:pt x="81" y="586"/>
                  </a:cubicBezTo>
                  <a:cubicBezTo>
                    <a:pt x="61" y="578"/>
                    <a:pt x="45" y="567"/>
                    <a:pt x="33" y="551"/>
                  </a:cubicBezTo>
                  <a:cubicBezTo>
                    <a:pt x="21" y="535"/>
                    <a:pt x="12" y="516"/>
                    <a:pt x="7" y="494"/>
                  </a:cubicBezTo>
                  <a:cubicBezTo>
                    <a:pt x="2" y="471"/>
                    <a:pt x="0" y="445"/>
                    <a:pt x="0" y="415"/>
                  </a:cubicBezTo>
                  <a:cubicBezTo>
                    <a:pt x="0" y="14"/>
                    <a:pt x="0" y="14"/>
                    <a:pt x="0" y="14"/>
                  </a:cubicBezTo>
                  <a:cubicBezTo>
                    <a:pt x="80" y="0"/>
                    <a:pt x="80" y="0"/>
                    <a:pt x="80" y="0"/>
                  </a:cubicBezTo>
                  <a:cubicBezTo>
                    <a:pt x="80" y="139"/>
                    <a:pt x="80" y="139"/>
                    <a:pt x="80" y="139"/>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23" name="Freeform 46"/>
            <p:cNvSpPr>
              <a:spLocks/>
            </p:cNvSpPr>
            <p:nvPr/>
          </p:nvSpPr>
          <p:spPr bwMode="auto">
            <a:xfrm>
              <a:off x="4005263" y="6216650"/>
              <a:ext cx="222250" cy="282575"/>
            </a:xfrm>
            <a:custGeom>
              <a:avLst/>
              <a:gdLst>
                <a:gd name="T0" fmla="*/ 362 w 362"/>
                <a:gd name="T1" fmla="*/ 436 h 459"/>
                <a:gd name="T2" fmla="*/ 289 w 362"/>
                <a:gd name="T3" fmla="*/ 451 h 459"/>
                <a:gd name="T4" fmla="*/ 184 w 362"/>
                <a:gd name="T5" fmla="*/ 459 h 459"/>
                <a:gd name="T6" fmla="*/ 97 w 362"/>
                <a:gd name="T7" fmla="*/ 444 h 459"/>
                <a:gd name="T8" fmla="*/ 40 w 362"/>
                <a:gd name="T9" fmla="*/ 401 h 459"/>
                <a:gd name="T10" fmla="*/ 9 w 362"/>
                <a:gd name="T11" fmla="*/ 336 h 459"/>
                <a:gd name="T12" fmla="*/ 0 w 362"/>
                <a:gd name="T13" fmla="*/ 252 h 459"/>
                <a:gd name="T14" fmla="*/ 0 w 362"/>
                <a:gd name="T15" fmla="*/ 0 h 459"/>
                <a:gd name="T16" fmla="*/ 80 w 362"/>
                <a:gd name="T17" fmla="*/ 0 h 459"/>
                <a:gd name="T18" fmla="*/ 80 w 362"/>
                <a:gd name="T19" fmla="*/ 235 h 459"/>
                <a:gd name="T20" fmla="*/ 106 w 362"/>
                <a:gd name="T21" fmla="*/ 352 h 459"/>
                <a:gd name="T22" fmla="*/ 193 w 362"/>
                <a:gd name="T23" fmla="*/ 388 h 459"/>
                <a:gd name="T24" fmla="*/ 220 w 362"/>
                <a:gd name="T25" fmla="*/ 387 h 459"/>
                <a:gd name="T26" fmla="*/ 246 w 362"/>
                <a:gd name="T27" fmla="*/ 385 h 459"/>
                <a:gd name="T28" fmla="*/ 268 w 362"/>
                <a:gd name="T29" fmla="*/ 382 h 459"/>
                <a:gd name="T30" fmla="*/ 282 w 362"/>
                <a:gd name="T31" fmla="*/ 379 h 459"/>
                <a:gd name="T32" fmla="*/ 282 w 362"/>
                <a:gd name="T33" fmla="*/ 0 h 459"/>
                <a:gd name="T34" fmla="*/ 362 w 362"/>
                <a:gd name="T35" fmla="*/ 0 h 459"/>
                <a:gd name="T36" fmla="*/ 362 w 362"/>
                <a:gd name="T37" fmla="*/ 43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2" h="459">
                  <a:moveTo>
                    <a:pt x="362" y="436"/>
                  </a:moveTo>
                  <a:cubicBezTo>
                    <a:pt x="344" y="441"/>
                    <a:pt x="320" y="446"/>
                    <a:pt x="289" y="451"/>
                  </a:cubicBezTo>
                  <a:cubicBezTo>
                    <a:pt x="259" y="456"/>
                    <a:pt x="224" y="459"/>
                    <a:pt x="184" y="459"/>
                  </a:cubicBezTo>
                  <a:cubicBezTo>
                    <a:pt x="150" y="459"/>
                    <a:pt x="121" y="454"/>
                    <a:pt x="97" y="444"/>
                  </a:cubicBezTo>
                  <a:cubicBezTo>
                    <a:pt x="74" y="433"/>
                    <a:pt x="55" y="419"/>
                    <a:pt x="40" y="401"/>
                  </a:cubicBezTo>
                  <a:cubicBezTo>
                    <a:pt x="26" y="382"/>
                    <a:pt x="15" y="361"/>
                    <a:pt x="9" y="336"/>
                  </a:cubicBezTo>
                  <a:cubicBezTo>
                    <a:pt x="3" y="311"/>
                    <a:pt x="0" y="283"/>
                    <a:pt x="0" y="252"/>
                  </a:cubicBezTo>
                  <a:cubicBezTo>
                    <a:pt x="0" y="0"/>
                    <a:pt x="0" y="0"/>
                    <a:pt x="0" y="0"/>
                  </a:cubicBezTo>
                  <a:cubicBezTo>
                    <a:pt x="80" y="0"/>
                    <a:pt x="80" y="0"/>
                    <a:pt x="80" y="0"/>
                  </a:cubicBezTo>
                  <a:cubicBezTo>
                    <a:pt x="80" y="235"/>
                    <a:pt x="80" y="235"/>
                    <a:pt x="80" y="235"/>
                  </a:cubicBezTo>
                  <a:cubicBezTo>
                    <a:pt x="80" y="290"/>
                    <a:pt x="89" y="329"/>
                    <a:pt x="106" y="352"/>
                  </a:cubicBezTo>
                  <a:cubicBezTo>
                    <a:pt x="123" y="376"/>
                    <a:pt x="152" y="388"/>
                    <a:pt x="193" y="388"/>
                  </a:cubicBezTo>
                  <a:cubicBezTo>
                    <a:pt x="202" y="388"/>
                    <a:pt x="211" y="388"/>
                    <a:pt x="220" y="387"/>
                  </a:cubicBezTo>
                  <a:cubicBezTo>
                    <a:pt x="229" y="386"/>
                    <a:pt x="238" y="386"/>
                    <a:pt x="246" y="385"/>
                  </a:cubicBezTo>
                  <a:cubicBezTo>
                    <a:pt x="254" y="384"/>
                    <a:pt x="261" y="383"/>
                    <a:pt x="268" y="382"/>
                  </a:cubicBezTo>
                  <a:cubicBezTo>
                    <a:pt x="274" y="381"/>
                    <a:pt x="279" y="380"/>
                    <a:pt x="282" y="379"/>
                  </a:cubicBezTo>
                  <a:cubicBezTo>
                    <a:pt x="282" y="0"/>
                    <a:pt x="282" y="0"/>
                    <a:pt x="282" y="0"/>
                  </a:cubicBezTo>
                  <a:cubicBezTo>
                    <a:pt x="362" y="0"/>
                    <a:pt x="362" y="0"/>
                    <a:pt x="362" y="0"/>
                  </a:cubicBezTo>
                  <a:cubicBezTo>
                    <a:pt x="362" y="436"/>
                    <a:pt x="362" y="436"/>
                    <a:pt x="362" y="436"/>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grpSp>
      <p:grpSp>
        <p:nvGrpSpPr>
          <p:cNvPr id="124" name="Group 123"/>
          <p:cNvGrpSpPr/>
          <p:nvPr/>
        </p:nvGrpSpPr>
        <p:grpSpPr>
          <a:xfrm>
            <a:off x="9529115" y="2934396"/>
            <a:ext cx="1888584" cy="549776"/>
            <a:chOff x="2880656" y="5494318"/>
            <a:chExt cx="1888852" cy="549854"/>
          </a:xfrm>
          <a:solidFill>
            <a:srgbClr val="0078D7"/>
          </a:solidFill>
        </p:grpSpPr>
        <p:grpSp>
          <p:nvGrpSpPr>
            <p:cNvPr id="125" name="Group 124"/>
            <p:cNvGrpSpPr/>
            <p:nvPr/>
          </p:nvGrpSpPr>
          <p:grpSpPr>
            <a:xfrm>
              <a:off x="2880656" y="5494318"/>
              <a:ext cx="621131" cy="549854"/>
              <a:chOff x="2664209" y="5494318"/>
              <a:chExt cx="621131" cy="549854"/>
            </a:xfrm>
            <a:grpFill/>
          </p:grpSpPr>
          <p:sp>
            <p:nvSpPr>
              <p:cNvPr id="135" name="Freeform 50"/>
              <p:cNvSpPr>
                <a:spLocks/>
              </p:cNvSpPr>
              <p:nvPr/>
            </p:nvSpPr>
            <p:spPr bwMode="auto">
              <a:xfrm>
                <a:off x="2982413" y="5939802"/>
                <a:ext cx="56004" cy="30547"/>
              </a:xfrm>
              <a:custGeom>
                <a:avLst/>
                <a:gdLst>
                  <a:gd name="T0" fmla="*/ 10 w 11"/>
                  <a:gd name="T1" fmla="*/ 0 h 6"/>
                  <a:gd name="T2" fmla="*/ 11 w 11"/>
                  <a:gd name="T3" fmla="*/ 3 h 6"/>
                  <a:gd name="T4" fmla="*/ 9 w 11"/>
                  <a:gd name="T5" fmla="*/ 5 h 6"/>
                  <a:gd name="T6" fmla="*/ 4 w 11"/>
                  <a:gd name="T7" fmla="*/ 5 h 6"/>
                  <a:gd name="T8" fmla="*/ 2 w 11"/>
                  <a:gd name="T9" fmla="*/ 4 h 6"/>
                  <a:gd name="T10" fmla="*/ 0 w 11"/>
                  <a:gd name="T11" fmla="*/ 2 h 6"/>
                  <a:gd name="T12" fmla="*/ 5 w 11"/>
                  <a:gd name="T13" fmla="*/ 1 h 6"/>
                  <a:gd name="T14" fmla="*/ 8 w 11"/>
                  <a:gd name="T15" fmla="*/ 2 h 6"/>
                  <a:gd name="T16" fmla="*/ 10 w 11"/>
                  <a:gd name="T17" fmla="*/ 0 h 6"/>
                  <a:gd name="T18" fmla="*/ 10 w 11"/>
                  <a:gd name="T19" fmla="*/ 0 h 6"/>
                  <a:gd name="T20" fmla="*/ 10 w 11"/>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6">
                    <a:moveTo>
                      <a:pt x="10" y="0"/>
                    </a:moveTo>
                    <a:cubicBezTo>
                      <a:pt x="11" y="1"/>
                      <a:pt x="11" y="2"/>
                      <a:pt x="11" y="3"/>
                    </a:cubicBezTo>
                    <a:cubicBezTo>
                      <a:pt x="10" y="4"/>
                      <a:pt x="10" y="4"/>
                      <a:pt x="9" y="5"/>
                    </a:cubicBezTo>
                    <a:cubicBezTo>
                      <a:pt x="8" y="5"/>
                      <a:pt x="7" y="6"/>
                      <a:pt x="4" y="5"/>
                    </a:cubicBezTo>
                    <a:cubicBezTo>
                      <a:pt x="3" y="4"/>
                      <a:pt x="3" y="4"/>
                      <a:pt x="2" y="4"/>
                    </a:cubicBezTo>
                    <a:cubicBezTo>
                      <a:pt x="0" y="4"/>
                      <a:pt x="0" y="3"/>
                      <a:pt x="0" y="2"/>
                    </a:cubicBezTo>
                    <a:cubicBezTo>
                      <a:pt x="1" y="1"/>
                      <a:pt x="2" y="0"/>
                      <a:pt x="5" y="1"/>
                    </a:cubicBezTo>
                    <a:cubicBezTo>
                      <a:pt x="6" y="2"/>
                      <a:pt x="7" y="3"/>
                      <a:pt x="8" y="2"/>
                    </a:cubicBezTo>
                    <a:cubicBezTo>
                      <a:pt x="9" y="2"/>
                      <a:pt x="9" y="1"/>
                      <a:pt x="10" y="0"/>
                    </a:cubicBezTo>
                    <a:cubicBezTo>
                      <a:pt x="10" y="0"/>
                      <a:pt x="10" y="0"/>
                      <a:pt x="10" y="0"/>
                    </a:cubicBezTo>
                    <a:cubicBezTo>
                      <a:pt x="10" y="0"/>
                      <a:pt x="10" y="0"/>
                      <a:pt x="10" y="0"/>
                    </a:cubicBezTo>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36" name="Freeform 51"/>
              <p:cNvSpPr>
                <a:spLocks/>
              </p:cNvSpPr>
              <p:nvPr/>
            </p:nvSpPr>
            <p:spPr bwMode="auto">
              <a:xfrm>
                <a:off x="2982413" y="5573233"/>
                <a:ext cx="76369" cy="30547"/>
              </a:xfrm>
              <a:custGeom>
                <a:avLst/>
                <a:gdLst>
                  <a:gd name="T0" fmla="*/ 8 w 15"/>
                  <a:gd name="T1" fmla="*/ 0 h 6"/>
                  <a:gd name="T2" fmla="*/ 7 w 15"/>
                  <a:gd name="T3" fmla="*/ 0 h 6"/>
                  <a:gd name="T4" fmla="*/ 5 w 15"/>
                  <a:gd name="T5" fmla="*/ 0 h 6"/>
                  <a:gd name="T6" fmla="*/ 0 w 15"/>
                  <a:gd name="T7" fmla="*/ 1 h 6"/>
                  <a:gd name="T8" fmla="*/ 0 w 15"/>
                  <a:gd name="T9" fmla="*/ 1 h 6"/>
                  <a:gd name="T10" fmla="*/ 0 w 15"/>
                  <a:gd name="T11" fmla="*/ 1 h 6"/>
                  <a:gd name="T12" fmla="*/ 0 w 15"/>
                  <a:gd name="T13" fmla="*/ 1 h 6"/>
                  <a:gd name="T14" fmla="*/ 1 w 15"/>
                  <a:gd name="T15" fmla="*/ 1 h 6"/>
                  <a:gd name="T16" fmla="*/ 8 w 15"/>
                  <a:gd name="T17" fmla="*/ 3 h 6"/>
                  <a:gd name="T18" fmla="*/ 4 w 15"/>
                  <a:gd name="T19" fmla="*/ 5 h 6"/>
                  <a:gd name="T20" fmla="*/ 4 w 15"/>
                  <a:gd name="T21" fmla="*/ 5 h 6"/>
                  <a:gd name="T22" fmla="*/ 4 w 15"/>
                  <a:gd name="T23" fmla="*/ 5 h 6"/>
                  <a:gd name="T24" fmla="*/ 8 w 15"/>
                  <a:gd name="T25" fmla="*/ 6 h 6"/>
                  <a:gd name="T26" fmla="*/ 14 w 15"/>
                  <a:gd name="T27" fmla="*/ 3 h 6"/>
                  <a:gd name="T28" fmla="*/ 8 w 15"/>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6">
                    <a:moveTo>
                      <a:pt x="8" y="0"/>
                    </a:moveTo>
                    <a:cubicBezTo>
                      <a:pt x="7" y="0"/>
                      <a:pt x="7" y="0"/>
                      <a:pt x="7" y="0"/>
                    </a:cubicBezTo>
                    <a:cubicBezTo>
                      <a:pt x="7" y="0"/>
                      <a:pt x="6" y="0"/>
                      <a:pt x="5" y="0"/>
                    </a:cubicBezTo>
                    <a:cubicBezTo>
                      <a:pt x="3" y="0"/>
                      <a:pt x="1" y="0"/>
                      <a:pt x="0" y="1"/>
                    </a:cubicBezTo>
                    <a:cubicBezTo>
                      <a:pt x="0" y="1"/>
                      <a:pt x="0" y="1"/>
                      <a:pt x="0" y="1"/>
                    </a:cubicBezTo>
                    <a:cubicBezTo>
                      <a:pt x="0" y="1"/>
                      <a:pt x="0" y="1"/>
                      <a:pt x="0" y="1"/>
                    </a:cubicBezTo>
                    <a:cubicBezTo>
                      <a:pt x="0" y="1"/>
                      <a:pt x="0" y="1"/>
                      <a:pt x="0" y="1"/>
                    </a:cubicBezTo>
                    <a:cubicBezTo>
                      <a:pt x="0" y="1"/>
                      <a:pt x="1" y="1"/>
                      <a:pt x="1" y="1"/>
                    </a:cubicBezTo>
                    <a:cubicBezTo>
                      <a:pt x="5" y="1"/>
                      <a:pt x="8" y="2"/>
                      <a:pt x="8" y="3"/>
                    </a:cubicBezTo>
                    <a:cubicBezTo>
                      <a:pt x="8" y="4"/>
                      <a:pt x="7" y="4"/>
                      <a:pt x="4" y="5"/>
                    </a:cubicBezTo>
                    <a:cubicBezTo>
                      <a:pt x="4" y="5"/>
                      <a:pt x="4" y="5"/>
                      <a:pt x="4" y="5"/>
                    </a:cubicBezTo>
                    <a:cubicBezTo>
                      <a:pt x="4" y="5"/>
                      <a:pt x="4" y="5"/>
                      <a:pt x="4" y="5"/>
                    </a:cubicBezTo>
                    <a:cubicBezTo>
                      <a:pt x="5" y="6"/>
                      <a:pt x="6" y="6"/>
                      <a:pt x="8" y="6"/>
                    </a:cubicBezTo>
                    <a:cubicBezTo>
                      <a:pt x="11" y="6"/>
                      <a:pt x="14" y="5"/>
                      <a:pt x="14" y="3"/>
                    </a:cubicBezTo>
                    <a:cubicBezTo>
                      <a:pt x="15" y="1"/>
                      <a:pt x="12" y="0"/>
                      <a:pt x="8" y="0"/>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37" name="Freeform 52"/>
              <p:cNvSpPr>
                <a:spLocks/>
              </p:cNvSpPr>
              <p:nvPr/>
            </p:nvSpPr>
            <p:spPr bwMode="auto">
              <a:xfrm>
                <a:off x="2865314" y="5603780"/>
                <a:ext cx="96734" cy="58550"/>
              </a:xfrm>
              <a:custGeom>
                <a:avLst/>
                <a:gdLst>
                  <a:gd name="T0" fmla="*/ 14 w 19"/>
                  <a:gd name="T1" fmla="*/ 3 h 11"/>
                  <a:gd name="T2" fmla="*/ 8 w 19"/>
                  <a:gd name="T3" fmla="*/ 3 h 11"/>
                  <a:gd name="T4" fmla="*/ 4 w 19"/>
                  <a:gd name="T5" fmla="*/ 1 h 11"/>
                  <a:gd name="T6" fmla="*/ 1 w 19"/>
                  <a:gd name="T7" fmla="*/ 2 h 11"/>
                  <a:gd name="T8" fmla="*/ 3 w 19"/>
                  <a:gd name="T9" fmla="*/ 7 h 11"/>
                  <a:gd name="T10" fmla="*/ 7 w 19"/>
                  <a:gd name="T11" fmla="*/ 9 h 11"/>
                  <a:gd name="T12" fmla="*/ 16 w 19"/>
                  <a:gd name="T13" fmla="*/ 7 h 11"/>
                  <a:gd name="T14" fmla="*/ 19 w 19"/>
                  <a:gd name="T15" fmla="*/ 5 h 11"/>
                  <a:gd name="T16" fmla="*/ 14 w 19"/>
                  <a:gd name="T17"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1">
                    <a:moveTo>
                      <a:pt x="14" y="3"/>
                    </a:moveTo>
                    <a:cubicBezTo>
                      <a:pt x="11" y="3"/>
                      <a:pt x="9" y="3"/>
                      <a:pt x="8" y="3"/>
                    </a:cubicBezTo>
                    <a:cubicBezTo>
                      <a:pt x="6" y="3"/>
                      <a:pt x="4" y="2"/>
                      <a:pt x="4" y="1"/>
                    </a:cubicBezTo>
                    <a:cubicBezTo>
                      <a:pt x="3" y="1"/>
                      <a:pt x="2" y="0"/>
                      <a:pt x="1" y="2"/>
                    </a:cubicBezTo>
                    <a:cubicBezTo>
                      <a:pt x="0" y="4"/>
                      <a:pt x="1" y="7"/>
                      <a:pt x="3" y="7"/>
                    </a:cubicBezTo>
                    <a:cubicBezTo>
                      <a:pt x="3" y="7"/>
                      <a:pt x="5" y="11"/>
                      <a:pt x="7" y="9"/>
                    </a:cubicBezTo>
                    <a:cubicBezTo>
                      <a:pt x="8" y="8"/>
                      <a:pt x="9" y="7"/>
                      <a:pt x="16" y="7"/>
                    </a:cubicBezTo>
                    <a:cubicBezTo>
                      <a:pt x="19" y="6"/>
                      <a:pt x="19" y="6"/>
                      <a:pt x="19" y="5"/>
                    </a:cubicBezTo>
                    <a:cubicBezTo>
                      <a:pt x="19" y="4"/>
                      <a:pt x="17" y="3"/>
                      <a:pt x="14" y="3"/>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38" name="Freeform 53"/>
              <p:cNvSpPr>
                <a:spLocks noEditPoints="1"/>
              </p:cNvSpPr>
              <p:nvPr/>
            </p:nvSpPr>
            <p:spPr bwMode="auto">
              <a:xfrm>
                <a:off x="2664209" y="5494318"/>
                <a:ext cx="605858" cy="549854"/>
              </a:xfrm>
              <a:custGeom>
                <a:avLst/>
                <a:gdLst>
                  <a:gd name="T0" fmla="*/ 59 w 118"/>
                  <a:gd name="T1" fmla="*/ 0 h 105"/>
                  <a:gd name="T2" fmla="*/ 0 w 118"/>
                  <a:gd name="T3" fmla="*/ 59 h 105"/>
                  <a:gd name="T4" fmla="*/ 3 w 118"/>
                  <a:gd name="T5" fmla="*/ 78 h 105"/>
                  <a:gd name="T6" fmla="*/ 8 w 118"/>
                  <a:gd name="T7" fmla="*/ 78 h 105"/>
                  <a:gd name="T8" fmla="*/ 17 w 118"/>
                  <a:gd name="T9" fmla="*/ 75 h 105"/>
                  <a:gd name="T10" fmla="*/ 20 w 118"/>
                  <a:gd name="T11" fmla="*/ 75 h 105"/>
                  <a:gd name="T12" fmla="*/ 24 w 118"/>
                  <a:gd name="T13" fmla="*/ 77 h 105"/>
                  <a:gd name="T14" fmla="*/ 27 w 118"/>
                  <a:gd name="T15" fmla="*/ 80 h 105"/>
                  <a:gd name="T16" fmla="*/ 30 w 118"/>
                  <a:gd name="T17" fmla="*/ 81 h 105"/>
                  <a:gd name="T18" fmla="*/ 33 w 118"/>
                  <a:gd name="T19" fmla="*/ 80 h 105"/>
                  <a:gd name="T20" fmla="*/ 31 w 118"/>
                  <a:gd name="T21" fmla="*/ 78 h 105"/>
                  <a:gd name="T22" fmla="*/ 29 w 118"/>
                  <a:gd name="T23" fmla="*/ 74 h 105"/>
                  <a:gd name="T24" fmla="*/ 26 w 118"/>
                  <a:gd name="T25" fmla="*/ 69 h 105"/>
                  <a:gd name="T26" fmla="*/ 32 w 118"/>
                  <a:gd name="T27" fmla="*/ 64 h 105"/>
                  <a:gd name="T28" fmla="*/ 38 w 118"/>
                  <a:gd name="T29" fmla="*/ 70 h 105"/>
                  <a:gd name="T30" fmla="*/ 41 w 118"/>
                  <a:gd name="T31" fmla="*/ 71 h 105"/>
                  <a:gd name="T32" fmla="*/ 44 w 118"/>
                  <a:gd name="T33" fmla="*/ 71 h 105"/>
                  <a:gd name="T34" fmla="*/ 55 w 118"/>
                  <a:gd name="T35" fmla="*/ 79 h 105"/>
                  <a:gd name="T36" fmla="*/ 67 w 118"/>
                  <a:gd name="T37" fmla="*/ 78 h 105"/>
                  <a:gd name="T38" fmla="*/ 71 w 118"/>
                  <a:gd name="T39" fmla="*/ 79 h 105"/>
                  <a:gd name="T40" fmla="*/ 76 w 118"/>
                  <a:gd name="T41" fmla="*/ 78 h 105"/>
                  <a:gd name="T42" fmla="*/ 81 w 118"/>
                  <a:gd name="T43" fmla="*/ 79 h 105"/>
                  <a:gd name="T44" fmla="*/ 86 w 118"/>
                  <a:gd name="T45" fmla="*/ 78 h 105"/>
                  <a:gd name="T46" fmla="*/ 85 w 118"/>
                  <a:gd name="T47" fmla="*/ 83 h 105"/>
                  <a:gd name="T48" fmla="*/ 84 w 118"/>
                  <a:gd name="T49" fmla="*/ 88 h 105"/>
                  <a:gd name="T50" fmla="*/ 82 w 118"/>
                  <a:gd name="T51" fmla="*/ 93 h 105"/>
                  <a:gd name="T52" fmla="*/ 78 w 118"/>
                  <a:gd name="T53" fmla="*/ 98 h 105"/>
                  <a:gd name="T54" fmla="*/ 74 w 118"/>
                  <a:gd name="T55" fmla="*/ 104 h 105"/>
                  <a:gd name="T56" fmla="*/ 80 w 118"/>
                  <a:gd name="T57" fmla="*/ 102 h 105"/>
                  <a:gd name="T58" fmla="*/ 88 w 118"/>
                  <a:gd name="T59" fmla="*/ 96 h 105"/>
                  <a:gd name="T60" fmla="*/ 91 w 118"/>
                  <a:gd name="T61" fmla="*/ 93 h 105"/>
                  <a:gd name="T62" fmla="*/ 91 w 118"/>
                  <a:gd name="T63" fmla="*/ 93 h 105"/>
                  <a:gd name="T64" fmla="*/ 91 w 118"/>
                  <a:gd name="T65" fmla="*/ 92 h 105"/>
                  <a:gd name="T66" fmla="*/ 102 w 118"/>
                  <a:gd name="T67" fmla="*/ 90 h 105"/>
                  <a:gd name="T68" fmla="*/ 109 w 118"/>
                  <a:gd name="T69" fmla="*/ 91 h 105"/>
                  <a:gd name="T70" fmla="*/ 118 w 118"/>
                  <a:gd name="T71" fmla="*/ 59 h 105"/>
                  <a:gd name="T72" fmla="*/ 59 w 118"/>
                  <a:gd name="T73" fmla="*/ 0 h 105"/>
                  <a:gd name="T74" fmla="*/ 107 w 118"/>
                  <a:gd name="T75" fmla="*/ 57 h 105"/>
                  <a:gd name="T76" fmla="*/ 54 w 118"/>
                  <a:gd name="T77" fmla="*/ 71 h 105"/>
                  <a:gd name="T78" fmla="*/ 13 w 118"/>
                  <a:gd name="T79" fmla="*/ 41 h 105"/>
                  <a:gd name="T80" fmla="*/ 32 w 118"/>
                  <a:gd name="T81" fmla="*/ 35 h 105"/>
                  <a:gd name="T82" fmla="*/ 37 w 118"/>
                  <a:gd name="T83" fmla="*/ 46 h 105"/>
                  <a:gd name="T84" fmla="*/ 63 w 118"/>
                  <a:gd name="T85" fmla="*/ 55 h 105"/>
                  <a:gd name="T86" fmla="*/ 65 w 118"/>
                  <a:gd name="T87" fmla="*/ 53 h 105"/>
                  <a:gd name="T88" fmla="*/ 62 w 118"/>
                  <a:gd name="T89" fmla="*/ 47 h 105"/>
                  <a:gd name="T90" fmla="*/ 52 w 118"/>
                  <a:gd name="T91" fmla="*/ 42 h 105"/>
                  <a:gd name="T92" fmla="*/ 34 w 118"/>
                  <a:gd name="T93" fmla="*/ 30 h 105"/>
                  <a:gd name="T94" fmla="*/ 36 w 118"/>
                  <a:gd name="T95" fmla="*/ 19 h 105"/>
                  <a:gd name="T96" fmla="*/ 51 w 118"/>
                  <a:gd name="T97" fmla="*/ 13 h 105"/>
                  <a:gd name="T98" fmla="*/ 64 w 118"/>
                  <a:gd name="T99" fmla="*/ 12 h 105"/>
                  <a:gd name="T100" fmla="*/ 79 w 118"/>
                  <a:gd name="T101" fmla="*/ 15 h 105"/>
                  <a:gd name="T102" fmla="*/ 89 w 118"/>
                  <a:gd name="T103" fmla="*/ 37 h 105"/>
                  <a:gd name="T104" fmla="*/ 89 w 118"/>
                  <a:gd name="T105" fmla="*/ 45 h 105"/>
                  <a:gd name="T106" fmla="*/ 87 w 118"/>
                  <a:gd name="T107" fmla="*/ 49 h 105"/>
                  <a:gd name="T108" fmla="*/ 88 w 118"/>
                  <a:gd name="T109" fmla="*/ 49 h 105"/>
                  <a:gd name="T110" fmla="*/ 93 w 118"/>
                  <a:gd name="T111" fmla="*/ 43 h 105"/>
                  <a:gd name="T112" fmla="*/ 107 w 118"/>
                  <a:gd name="T113" fmla="*/ 57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8" h="105">
                    <a:moveTo>
                      <a:pt x="59" y="0"/>
                    </a:moveTo>
                    <a:cubicBezTo>
                      <a:pt x="27" y="0"/>
                      <a:pt x="0" y="26"/>
                      <a:pt x="0" y="59"/>
                    </a:cubicBezTo>
                    <a:cubicBezTo>
                      <a:pt x="0" y="65"/>
                      <a:pt x="1" y="72"/>
                      <a:pt x="3" y="78"/>
                    </a:cubicBezTo>
                    <a:cubicBezTo>
                      <a:pt x="8" y="78"/>
                      <a:pt x="8" y="78"/>
                      <a:pt x="8" y="78"/>
                    </a:cubicBezTo>
                    <a:cubicBezTo>
                      <a:pt x="11" y="78"/>
                      <a:pt x="15" y="77"/>
                      <a:pt x="17" y="75"/>
                    </a:cubicBezTo>
                    <a:cubicBezTo>
                      <a:pt x="18" y="75"/>
                      <a:pt x="19" y="75"/>
                      <a:pt x="20" y="75"/>
                    </a:cubicBezTo>
                    <a:cubicBezTo>
                      <a:pt x="22" y="75"/>
                      <a:pt x="23" y="75"/>
                      <a:pt x="24" y="77"/>
                    </a:cubicBezTo>
                    <a:cubicBezTo>
                      <a:pt x="25" y="78"/>
                      <a:pt x="26" y="79"/>
                      <a:pt x="27" y="80"/>
                    </a:cubicBezTo>
                    <a:cubicBezTo>
                      <a:pt x="28" y="80"/>
                      <a:pt x="29" y="81"/>
                      <a:pt x="30" y="81"/>
                    </a:cubicBezTo>
                    <a:cubicBezTo>
                      <a:pt x="31" y="81"/>
                      <a:pt x="32" y="81"/>
                      <a:pt x="33" y="80"/>
                    </a:cubicBezTo>
                    <a:cubicBezTo>
                      <a:pt x="33" y="79"/>
                      <a:pt x="33" y="78"/>
                      <a:pt x="31" y="78"/>
                    </a:cubicBezTo>
                    <a:cubicBezTo>
                      <a:pt x="30" y="77"/>
                      <a:pt x="29" y="76"/>
                      <a:pt x="29" y="74"/>
                    </a:cubicBezTo>
                    <a:cubicBezTo>
                      <a:pt x="28" y="73"/>
                      <a:pt x="26" y="72"/>
                      <a:pt x="26" y="69"/>
                    </a:cubicBezTo>
                    <a:cubicBezTo>
                      <a:pt x="25" y="67"/>
                      <a:pt x="27" y="63"/>
                      <a:pt x="32" y="64"/>
                    </a:cubicBezTo>
                    <a:cubicBezTo>
                      <a:pt x="35" y="65"/>
                      <a:pt x="37" y="69"/>
                      <a:pt x="38" y="70"/>
                    </a:cubicBezTo>
                    <a:cubicBezTo>
                      <a:pt x="38" y="71"/>
                      <a:pt x="39" y="72"/>
                      <a:pt x="41" y="71"/>
                    </a:cubicBezTo>
                    <a:cubicBezTo>
                      <a:pt x="42" y="70"/>
                      <a:pt x="43" y="70"/>
                      <a:pt x="44" y="71"/>
                    </a:cubicBezTo>
                    <a:cubicBezTo>
                      <a:pt x="44" y="72"/>
                      <a:pt x="50" y="79"/>
                      <a:pt x="55" y="79"/>
                    </a:cubicBezTo>
                    <a:cubicBezTo>
                      <a:pt x="61" y="79"/>
                      <a:pt x="64" y="78"/>
                      <a:pt x="67" y="78"/>
                    </a:cubicBezTo>
                    <a:cubicBezTo>
                      <a:pt x="69" y="78"/>
                      <a:pt x="70" y="79"/>
                      <a:pt x="71" y="79"/>
                    </a:cubicBezTo>
                    <a:cubicBezTo>
                      <a:pt x="72" y="79"/>
                      <a:pt x="74" y="78"/>
                      <a:pt x="76" y="78"/>
                    </a:cubicBezTo>
                    <a:cubicBezTo>
                      <a:pt x="77" y="78"/>
                      <a:pt x="79" y="79"/>
                      <a:pt x="81" y="79"/>
                    </a:cubicBezTo>
                    <a:cubicBezTo>
                      <a:pt x="83" y="79"/>
                      <a:pt x="86" y="77"/>
                      <a:pt x="86" y="78"/>
                    </a:cubicBezTo>
                    <a:cubicBezTo>
                      <a:pt x="86" y="79"/>
                      <a:pt x="85" y="82"/>
                      <a:pt x="85" y="83"/>
                    </a:cubicBezTo>
                    <a:cubicBezTo>
                      <a:pt x="85" y="84"/>
                      <a:pt x="85" y="87"/>
                      <a:pt x="84" y="88"/>
                    </a:cubicBezTo>
                    <a:cubicBezTo>
                      <a:pt x="84" y="90"/>
                      <a:pt x="82" y="92"/>
                      <a:pt x="82" y="93"/>
                    </a:cubicBezTo>
                    <a:cubicBezTo>
                      <a:pt x="80" y="95"/>
                      <a:pt x="79" y="96"/>
                      <a:pt x="78" y="98"/>
                    </a:cubicBezTo>
                    <a:cubicBezTo>
                      <a:pt x="77" y="101"/>
                      <a:pt x="74" y="103"/>
                      <a:pt x="74" y="104"/>
                    </a:cubicBezTo>
                    <a:cubicBezTo>
                      <a:pt x="73" y="105"/>
                      <a:pt x="78" y="104"/>
                      <a:pt x="80" y="102"/>
                    </a:cubicBezTo>
                    <a:cubicBezTo>
                      <a:pt x="81" y="101"/>
                      <a:pt x="84" y="96"/>
                      <a:pt x="88" y="96"/>
                    </a:cubicBezTo>
                    <a:cubicBezTo>
                      <a:pt x="90" y="95"/>
                      <a:pt x="91" y="94"/>
                      <a:pt x="91" y="93"/>
                    </a:cubicBezTo>
                    <a:cubicBezTo>
                      <a:pt x="91" y="93"/>
                      <a:pt x="91" y="93"/>
                      <a:pt x="91" y="93"/>
                    </a:cubicBezTo>
                    <a:cubicBezTo>
                      <a:pt x="91" y="92"/>
                      <a:pt x="91" y="92"/>
                      <a:pt x="91" y="92"/>
                    </a:cubicBezTo>
                    <a:cubicBezTo>
                      <a:pt x="94" y="91"/>
                      <a:pt x="98" y="90"/>
                      <a:pt x="102" y="90"/>
                    </a:cubicBezTo>
                    <a:cubicBezTo>
                      <a:pt x="104" y="90"/>
                      <a:pt x="107" y="90"/>
                      <a:pt x="109" y="91"/>
                    </a:cubicBezTo>
                    <a:cubicBezTo>
                      <a:pt x="115" y="82"/>
                      <a:pt x="118" y="70"/>
                      <a:pt x="118" y="59"/>
                    </a:cubicBezTo>
                    <a:cubicBezTo>
                      <a:pt x="118" y="26"/>
                      <a:pt x="92" y="0"/>
                      <a:pt x="59" y="0"/>
                    </a:cubicBezTo>
                    <a:close/>
                    <a:moveTo>
                      <a:pt x="107" y="57"/>
                    </a:moveTo>
                    <a:cubicBezTo>
                      <a:pt x="105" y="73"/>
                      <a:pt x="79" y="78"/>
                      <a:pt x="54" y="71"/>
                    </a:cubicBezTo>
                    <a:cubicBezTo>
                      <a:pt x="31" y="64"/>
                      <a:pt x="10" y="49"/>
                      <a:pt x="13" y="41"/>
                    </a:cubicBezTo>
                    <a:cubicBezTo>
                      <a:pt x="14" y="36"/>
                      <a:pt x="22" y="34"/>
                      <a:pt x="32" y="35"/>
                    </a:cubicBezTo>
                    <a:cubicBezTo>
                      <a:pt x="30" y="38"/>
                      <a:pt x="30" y="42"/>
                      <a:pt x="37" y="46"/>
                    </a:cubicBezTo>
                    <a:cubicBezTo>
                      <a:pt x="46" y="51"/>
                      <a:pt x="60" y="55"/>
                      <a:pt x="63" y="55"/>
                    </a:cubicBezTo>
                    <a:cubicBezTo>
                      <a:pt x="65" y="55"/>
                      <a:pt x="66" y="54"/>
                      <a:pt x="65" y="53"/>
                    </a:cubicBezTo>
                    <a:cubicBezTo>
                      <a:pt x="63" y="52"/>
                      <a:pt x="62" y="50"/>
                      <a:pt x="62" y="47"/>
                    </a:cubicBezTo>
                    <a:cubicBezTo>
                      <a:pt x="61" y="46"/>
                      <a:pt x="61" y="44"/>
                      <a:pt x="52" y="42"/>
                    </a:cubicBezTo>
                    <a:cubicBezTo>
                      <a:pt x="33" y="38"/>
                      <a:pt x="33" y="33"/>
                      <a:pt x="34" y="30"/>
                    </a:cubicBezTo>
                    <a:cubicBezTo>
                      <a:pt x="34" y="30"/>
                      <a:pt x="36" y="22"/>
                      <a:pt x="36" y="19"/>
                    </a:cubicBezTo>
                    <a:cubicBezTo>
                      <a:pt x="37" y="17"/>
                      <a:pt x="39" y="11"/>
                      <a:pt x="51" y="13"/>
                    </a:cubicBezTo>
                    <a:cubicBezTo>
                      <a:pt x="58" y="15"/>
                      <a:pt x="62" y="13"/>
                      <a:pt x="64" y="12"/>
                    </a:cubicBezTo>
                    <a:cubicBezTo>
                      <a:pt x="70" y="11"/>
                      <a:pt x="75" y="12"/>
                      <a:pt x="79" y="15"/>
                    </a:cubicBezTo>
                    <a:cubicBezTo>
                      <a:pt x="82" y="19"/>
                      <a:pt x="87" y="29"/>
                      <a:pt x="89" y="37"/>
                    </a:cubicBezTo>
                    <a:cubicBezTo>
                      <a:pt x="90" y="41"/>
                      <a:pt x="90" y="43"/>
                      <a:pt x="89" y="45"/>
                    </a:cubicBezTo>
                    <a:cubicBezTo>
                      <a:pt x="89" y="46"/>
                      <a:pt x="89" y="46"/>
                      <a:pt x="87" y="49"/>
                    </a:cubicBezTo>
                    <a:cubicBezTo>
                      <a:pt x="87" y="49"/>
                      <a:pt x="87" y="50"/>
                      <a:pt x="88" y="49"/>
                    </a:cubicBezTo>
                    <a:cubicBezTo>
                      <a:pt x="91" y="47"/>
                      <a:pt x="92" y="45"/>
                      <a:pt x="93" y="43"/>
                    </a:cubicBezTo>
                    <a:cubicBezTo>
                      <a:pt x="103" y="45"/>
                      <a:pt x="109" y="50"/>
                      <a:pt x="107" y="57"/>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39" name="Freeform 54"/>
              <p:cNvSpPr>
                <a:spLocks noEditPoints="1"/>
              </p:cNvSpPr>
              <p:nvPr/>
            </p:nvSpPr>
            <p:spPr bwMode="auto">
              <a:xfrm>
                <a:off x="3264976" y="5944894"/>
                <a:ext cx="15274" cy="15274"/>
              </a:xfrm>
              <a:custGeom>
                <a:avLst/>
                <a:gdLst>
                  <a:gd name="T0" fmla="*/ 1 w 3"/>
                  <a:gd name="T1" fmla="*/ 2 h 3"/>
                  <a:gd name="T2" fmla="*/ 1 w 3"/>
                  <a:gd name="T3" fmla="*/ 2 h 3"/>
                  <a:gd name="T4" fmla="*/ 2 w 3"/>
                  <a:gd name="T5" fmla="*/ 3 h 3"/>
                  <a:gd name="T6" fmla="*/ 3 w 3"/>
                  <a:gd name="T7" fmla="*/ 3 h 3"/>
                  <a:gd name="T8" fmla="*/ 2 w 3"/>
                  <a:gd name="T9" fmla="*/ 2 h 3"/>
                  <a:gd name="T10" fmla="*/ 3 w 3"/>
                  <a:gd name="T11" fmla="*/ 1 h 3"/>
                  <a:gd name="T12" fmla="*/ 2 w 3"/>
                  <a:gd name="T13" fmla="*/ 0 h 3"/>
                  <a:gd name="T14" fmla="*/ 0 w 3"/>
                  <a:gd name="T15" fmla="*/ 0 h 3"/>
                  <a:gd name="T16" fmla="*/ 0 w 3"/>
                  <a:gd name="T17" fmla="*/ 3 h 3"/>
                  <a:gd name="T18" fmla="*/ 1 w 3"/>
                  <a:gd name="T19" fmla="*/ 3 h 3"/>
                  <a:gd name="T20" fmla="*/ 1 w 3"/>
                  <a:gd name="T21" fmla="*/ 2 h 3"/>
                  <a:gd name="T22" fmla="*/ 1 w 3"/>
                  <a:gd name="T23" fmla="*/ 1 h 3"/>
                  <a:gd name="T24" fmla="*/ 1 w 3"/>
                  <a:gd name="T25" fmla="*/ 0 h 3"/>
                  <a:gd name="T26" fmla="*/ 1 w 3"/>
                  <a:gd name="T27" fmla="*/ 0 h 3"/>
                  <a:gd name="T28" fmla="*/ 2 w 3"/>
                  <a:gd name="T29" fmla="*/ 1 h 3"/>
                  <a:gd name="T30" fmla="*/ 1 w 3"/>
                  <a:gd name="T31"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3">
                    <a:moveTo>
                      <a:pt x="1" y="2"/>
                    </a:moveTo>
                    <a:cubicBezTo>
                      <a:pt x="1" y="2"/>
                      <a:pt x="1" y="2"/>
                      <a:pt x="1" y="2"/>
                    </a:cubicBezTo>
                    <a:cubicBezTo>
                      <a:pt x="2" y="3"/>
                      <a:pt x="2" y="3"/>
                      <a:pt x="2" y="3"/>
                    </a:cubicBezTo>
                    <a:cubicBezTo>
                      <a:pt x="3" y="3"/>
                      <a:pt x="3" y="3"/>
                      <a:pt x="3" y="3"/>
                    </a:cubicBezTo>
                    <a:cubicBezTo>
                      <a:pt x="2" y="2"/>
                      <a:pt x="2" y="2"/>
                      <a:pt x="2" y="2"/>
                    </a:cubicBezTo>
                    <a:cubicBezTo>
                      <a:pt x="2" y="2"/>
                      <a:pt x="3" y="1"/>
                      <a:pt x="3" y="1"/>
                    </a:cubicBezTo>
                    <a:cubicBezTo>
                      <a:pt x="3" y="0"/>
                      <a:pt x="2" y="0"/>
                      <a:pt x="2" y="0"/>
                    </a:cubicBezTo>
                    <a:cubicBezTo>
                      <a:pt x="0" y="0"/>
                      <a:pt x="0" y="0"/>
                      <a:pt x="0" y="0"/>
                    </a:cubicBezTo>
                    <a:cubicBezTo>
                      <a:pt x="0" y="3"/>
                      <a:pt x="0" y="3"/>
                      <a:pt x="0" y="3"/>
                    </a:cubicBezTo>
                    <a:cubicBezTo>
                      <a:pt x="1" y="3"/>
                      <a:pt x="1" y="3"/>
                      <a:pt x="1" y="3"/>
                    </a:cubicBezTo>
                    <a:lnTo>
                      <a:pt x="1" y="2"/>
                    </a:lnTo>
                    <a:close/>
                    <a:moveTo>
                      <a:pt x="1" y="1"/>
                    </a:moveTo>
                    <a:cubicBezTo>
                      <a:pt x="1" y="0"/>
                      <a:pt x="1" y="0"/>
                      <a:pt x="1" y="0"/>
                    </a:cubicBezTo>
                    <a:cubicBezTo>
                      <a:pt x="1" y="0"/>
                      <a:pt x="1" y="0"/>
                      <a:pt x="1" y="0"/>
                    </a:cubicBezTo>
                    <a:cubicBezTo>
                      <a:pt x="2" y="0"/>
                      <a:pt x="2" y="0"/>
                      <a:pt x="2" y="1"/>
                    </a:cubicBezTo>
                    <a:cubicBezTo>
                      <a:pt x="2" y="1"/>
                      <a:pt x="2" y="1"/>
                      <a:pt x="1" y="1"/>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40" name="Freeform 55"/>
              <p:cNvSpPr>
                <a:spLocks noEditPoints="1"/>
              </p:cNvSpPr>
              <p:nvPr/>
            </p:nvSpPr>
            <p:spPr bwMode="auto">
              <a:xfrm>
                <a:off x="3254793" y="5934711"/>
                <a:ext cx="30547" cy="30547"/>
              </a:xfrm>
              <a:custGeom>
                <a:avLst/>
                <a:gdLst>
                  <a:gd name="T0" fmla="*/ 6 w 6"/>
                  <a:gd name="T1" fmla="*/ 3 h 6"/>
                  <a:gd name="T2" fmla="*/ 3 w 6"/>
                  <a:gd name="T3" fmla="*/ 6 h 6"/>
                  <a:gd name="T4" fmla="*/ 0 w 6"/>
                  <a:gd name="T5" fmla="*/ 3 h 6"/>
                  <a:gd name="T6" fmla="*/ 3 w 6"/>
                  <a:gd name="T7" fmla="*/ 0 h 6"/>
                  <a:gd name="T8" fmla="*/ 6 w 6"/>
                  <a:gd name="T9" fmla="*/ 3 h 6"/>
                  <a:gd name="T10" fmla="*/ 3 w 6"/>
                  <a:gd name="T11" fmla="*/ 1 h 6"/>
                  <a:gd name="T12" fmla="*/ 1 w 6"/>
                  <a:gd name="T13" fmla="*/ 3 h 6"/>
                  <a:gd name="T14" fmla="*/ 3 w 6"/>
                  <a:gd name="T15" fmla="*/ 6 h 6"/>
                  <a:gd name="T16" fmla="*/ 6 w 6"/>
                  <a:gd name="T17" fmla="*/ 3 h 6"/>
                  <a:gd name="T18" fmla="*/ 3 w 6"/>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6">
                    <a:moveTo>
                      <a:pt x="6" y="3"/>
                    </a:moveTo>
                    <a:cubicBezTo>
                      <a:pt x="6" y="5"/>
                      <a:pt x="5" y="6"/>
                      <a:pt x="3" y="6"/>
                    </a:cubicBezTo>
                    <a:cubicBezTo>
                      <a:pt x="2" y="6"/>
                      <a:pt x="0" y="5"/>
                      <a:pt x="0" y="3"/>
                    </a:cubicBezTo>
                    <a:cubicBezTo>
                      <a:pt x="0" y="2"/>
                      <a:pt x="2" y="0"/>
                      <a:pt x="3" y="0"/>
                    </a:cubicBezTo>
                    <a:cubicBezTo>
                      <a:pt x="5" y="0"/>
                      <a:pt x="6" y="2"/>
                      <a:pt x="6" y="3"/>
                    </a:cubicBezTo>
                    <a:moveTo>
                      <a:pt x="3" y="1"/>
                    </a:moveTo>
                    <a:cubicBezTo>
                      <a:pt x="2" y="1"/>
                      <a:pt x="1" y="2"/>
                      <a:pt x="1" y="3"/>
                    </a:cubicBezTo>
                    <a:cubicBezTo>
                      <a:pt x="1" y="5"/>
                      <a:pt x="2" y="6"/>
                      <a:pt x="3" y="6"/>
                    </a:cubicBezTo>
                    <a:cubicBezTo>
                      <a:pt x="5" y="6"/>
                      <a:pt x="6" y="5"/>
                      <a:pt x="6" y="3"/>
                    </a:cubicBezTo>
                    <a:cubicBezTo>
                      <a:pt x="6" y="2"/>
                      <a:pt x="5" y="1"/>
                      <a:pt x="3" y="1"/>
                    </a:cubicBezTo>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grpSp>
        <p:grpSp>
          <p:nvGrpSpPr>
            <p:cNvPr id="126" name="Group 125"/>
            <p:cNvGrpSpPr/>
            <p:nvPr/>
          </p:nvGrpSpPr>
          <p:grpSpPr>
            <a:xfrm>
              <a:off x="3639252" y="5657238"/>
              <a:ext cx="1130256" cy="313112"/>
              <a:chOff x="3422805" y="5657238"/>
              <a:chExt cx="1130256" cy="313112"/>
            </a:xfrm>
            <a:grpFill/>
          </p:grpSpPr>
          <p:sp>
            <p:nvSpPr>
              <p:cNvPr id="127" name="Freeform 56"/>
              <p:cNvSpPr>
                <a:spLocks/>
              </p:cNvSpPr>
              <p:nvPr/>
            </p:nvSpPr>
            <p:spPr bwMode="auto">
              <a:xfrm>
                <a:off x="3422805" y="5746335"/>
                <a:ext cx="119645" cy="218923"/>
              </a:xfrm>
              <a:custGeom>
                <a:avLst/>
                <a:gdLst>
                  <a:gd name="T0" fmla="*/ 1 w 23"/>
                  <a:gd name="T1" fmla="*/ 14 h 42"/>
                  <a:gd name="T2" fmla="*/ 0 w 23"/>
                  <a:gd name="T3" fmla="*/ 1 h 42"/>
                  <a:gd name="T4" fmla="*/ 9 w 23"/>
                  <a:gd name="T5" fmla="*/ 1 h 42"/>
                  <a:gd name="T6" fmla="*/ 9 w 23"/>
                  <a:gd name="T7" fmla="*/ 9 h 42"/>
                  <a:gd name="T8" fmla="*/ 10 w 23"/>
                  <a:gd name="T9" fmla="*/ 9 h 42"/>
                  <a:gd name="T10" fmla="*/ 21 w 23"/>
                  <a:gd name="T11" fmla="*/ 0 h 42"/>
                  <a:gd name="T12" fmla="*/ 23 w 23"/>
                  <a:gd name="T13" fmla="*/ 1 h 42"/>
                  <a:gd name="T14" fmla="*/ 23 w 23"/>
                  <a:gd name="T15" fmla="*/ 10 h 42"/>
                  <a:gd name="T16" fmla="*/ 20 w 23"/>
                  <a:gd name="T17" fmla="*/ 10 h 42"/>
                  <a:gd name="T18" fmla="*/ 11 w 23"/>
                  <a:gd name="T19" fmla="*/ 18 h 42"/>
                  <a:gd name="T20" fmla="*/ 11 w 23"/>
                  <a:gd name="T21" fmla="*/ 21 h 42"/>
                  <a:gd name="T22" fmla="*/ 11 w 23"/>
                  <a:gd name="T23" fmla="*/ 42 h 42"/>
                  <a:gd name="T24" fmla="*/ 0 w 23"/>
                  <a:gd name="T25" fmla="*/ 42 h 42"/>
                  <a:gd name="T26" fmla="*/ 1 w 23"/>
                  <a:gd name="T27" fmla="*/ 1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42">
                    <a:moveTo>
                      <a:pt x="1" y="14"/>
                    </a:moveTo>
                    <a:cubicBezTo>
                      <a:pt x="1" y="9"/>
                      <a:pt x="0" y="5"/>
                      <a:pt x="0" y="1"/>
                    </a:cubicBezTo>
                    <a:cubicBezTo>
                      <a:pt x="9" y="1"/>
                      <a:pt x="9" y="1"/>
                      <a:pt x="9" y="1"/>
                    </a:cubicBezTo>
                    <a:cubicBezTo>
                      <a:pt x="9" y="9"/>
                      <a:pt x="9" y="9"/>
                      <a:pt x="9" y="9"/>
                    </a:cubicBezTo>
                    <a:cubicBezTo>
                      <a:pt x="10" y="9"/>
                      <a:pt x="10" y="9"/>
                      <a:pt x="10" y="9"/>
                    </a:cubicBezTo>
                    <a:cubicBezTo>
                      <a:pt x="12" y="3"/>
                      <a:pt x="16" y="0"/>
                      <a:pt x="21" y="0"/>
                    </a:cubicBezTo>
                    <a:cubicBezTo>
                      <a:pt x="22" y="0"/>
                      <a:pt x="22" y="1"/>
                      <a:pt x="23" y="1"/>
                    </a:cubicBezTo>
                    <a:cubicBezTo>
                      <a:pt x="23" y="10"/>
                      <a:pt x="23" y="10"/>
                      <a:pt x="23" y="10"/>
                    </a:cubicBezTo>
                    <a:cubicBezTo>
                      <a:pt x="22" y="10"/>
                      <a:pt x="21" y="10"/>
                      <a:pt x="20" y="10"/>
                    </a:cubicBezTo>
                    <a:cubicBezTo>
                      <a:pt x="15" y="10"/>
                      <a:pt x="12" y="13"/>
                      <a:pt x="11" y="18"/>
                    </a:cubicBezTo>
                    <a:cubicBezTo>
                      <a:pt x="11" y="19"/>
                      <a:pt x="11" y="20"/>
                      <a:pt x="11" y="21"/>
                    </a:cubicBezTo>
                    <a:cubicBezTo>
                      <a:pt x="11" y="42"/>
                      <a:pt x="11" y="42"/>
                      <a:pt x="11" y="42"/>
                    </a:cubicBezTo>
                    <a:cubicBezTo>
                      <a:pt x="0" y="42"/>
                      <a:pt x="0" y="42"/>
                      <a:pt x="0" y="42"/>
                    </a:cubicBezTo>
                    <a:lnTo>
                      <a:pt x="1"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28" name="Freeform 57"/>
              <p:cNvSpPr>
                <a:spLocks noEditPoints="1"/>
              </p:cNvSpPr>
              <p:nvPr/>
            </p:nvSpPr>
            <p:spPr bwMode="auto">
              <a:xfrm>
                <a:off x="3557723" y="5746335"/>
                <a:ext cx="188376" cy="224015"/>
              </a:xfrm>
              <a:custGeom>
                <a:avLst/>
                <a:gdLst>
                  <a:gd name="T0" fmla="*/ 10 w 37"/>
                  <a:gd name="T1" fmla="*/ 24 h 43"/>
                  <a:gd name="T2" fmla="*/ 22 w 37"/>
                  <a:gd name="T3" fmla="*/ 35 h 43"/>
                  <a:gd name="T4" fmla="*/ 33 w 37"/>
                  <a:gd name="T5" fmla="*/ 33 h 43"/>
                  <a:gd name="T6" fmla="*/ 35 w 37"/>
                  <a:gd name="T7" fmla="*/ 40 h 43"/>
                  <a:gd name="T8" fmla="*/ 21 w 37"/>
                  <a:gd name="T9" fmla="*/ 43 h 43"/>
                  <a:gd name="T10" fmla="*/ 0 w 37"/>
                  <a:gd name="T11" fmla="*/ 22 h 43"/>
                  <a:gd name="T12" fmla="*/ 20 w 37"/>
                  <a:gd name="T13" fmla="*/ 0 h 43"/>
                  <a:gd name="T14" fmla="*/ 37 w 37"/>
                  <a:gd name="T15" fmla="*/ 20 h 43"/>
                  <a:gd name="T16" fmla="*/ 37 w 37"/>
                  <a:gd name="T17" fmla="*/ 24 h 43"/>
                  <a:gd name="T18" fmla="*/ 10 w 37"/>
                  <a:gd name="T19" fmla="*/ 24 h 43"/>
                  <a:gd name="T20" fmla="*/ 27 w 37"/>
                  <a:gd name="T21" fmla="*/ 17 h 43"/>
                  <a:gd name="T22" fmla="*/ 19 w 37"/>
                  <a:gd name="T23" fmla="*/ 7 h 43"/>
                  <a:gd name="T24" fmla="*/ 10 w 37"/>
                  <a:gd name="T25" fmla="*/ 17 h 43"/>
                  <a:gd name="T26" fmla="*/ 27 w 37"/>
                  <a:gd name="T27" fmla="*/ 17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43">
                    <a:moveTo>
                      <a:pt x="10" y="24"/>
                    </a:moveTo>
                    <a:cubicBezTo>
                      <a:pt x="10" y="32"/>
                      <a:pt x="16" y="35"/>
                      <a:pt x="22" y="35"/>
                    </a:cubicBezTo>
                    <a:cubicBezTo>
                      <a:pt x="27" y="35"/>
                      <a:pt x="30" y="34"/>
                      <a:pt x="33" y="33"/>
                    </a:cubicBezTo>
                    <a:cubicBezTo>
                      <a:pt x="35" y="40"/>
                      <a:pt x="35" y="40"/>
                      <a:pt x="35" y="40"/>
                    </a:cubicBezTo>
                    <a:cubicBezTo>
                      <a:pt x="31" y="42"/>
                      <a:pt x="27" y="43"/>
                      <a:pt x="21" y="43"/>
                    </a:cubicBezTo>
                    <a:cubicBezTo>
                      <a:pt x="7" y="43"/>
                      <a:pt x="0" y="35"/>
                      <a:pt x="0" y="22"/>
                    </a:cubicBezTo>
                    <a:cubicBezTo>
                      <a:pt x="0" y="11"/>
                      <a:pt x="7" y="0"/>
                      <a:pt x="20" y="0"/>
                    </a:cubicBezTo>
                    <a:cubicBezTo>
                      <a:pt x="33" y="0"/>
                      <a:pt x="37" y="11"/>
                      <a:pt x="37" y="20"/>
                    </a:cubicBezTo>
                    <a:cubicBezTo>
                      <a:pt x="37" y="22"/>
                      <a:pt x="37" y="23"/>
                      <a:pt x="37" y="24"/>
                    </a:cubicBezTo>
                    <a:lnTo>
                      <a:pt x="10" y="24"/>
                    </a:lnTo>
                    <a:close/>
                    <a:moveTo>
                      <a:pt x="27" y="17"/>
                    </a:moveTo>
                    <a:cubicBezTo>
                      <a:pt x="27" y="13"/>
                      <a:pt x="26" y="7"/>
                      <a:pt x="19" y="7"/>
                    </a:cubicBezTo>
                    <a:cubicBezTo>
                      <a:pt x="13" y="7"/>
                      <a:pt x="10" y="13"/>
                      <a:pt x="10" y="17"/>
                    </a:cubicBezTo>
                    <a:lnTo>
                      <a:pt x="27"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29" name="Freeform 58"/>
              <p:cNvSpPr>
                <a:spLocks noEditPoints="1"/>
              </p:cNvSpPr>
              <p:nvPr/>
            </p:nvSpPr>
            <p:spPr bwMode="auto">
              <a:xfrm>
                <a:off x="3766464" y="5657238"/>
                <a:ext cx="206196" cy="313112"/>
              </a:xfrm>
              <a:custGeom>
                <a:avLst/>
                <a:gdLst>
                  <a:gd name="T0" fmla="*/ 30 w 40"/>
                  <a:gd name="T1" fmla="*/ 41 h 60"/>
                  <a:gd name="T2" fmla="*/ 30 w 40"/>
                  <a:gd name="T3" fmla="*/ 44 h 60"/>
                  <a:gd name="T4" fmla="*/ 21 w 40"/>
                  <a:gd name="T5" fmla="*/ 52 h 60"/>
                  <a:gd name="T6" fmla="*/ 11 w 40"/>
                  <a:gd name="T7" fmla="*/ 39 h 60"/>
                  <a:gd name="T8" fmla="*/ 21 w 40"/>
                  <a:gd name="T9" fmla="*/ 25 h 60"/>
                  <a:gd name="T10" fmla="*/ 30 w 40"/>
                  <a:gd name="T11" fmla="*/ 33 h 60"/>
                  <a:gd name="T12" fmla="*/ 30 w 40"/>
                  <a:gd name="T13" fmla="*/ 35 h 60"/>
                  <a:gd name="T14" fmla="*/ 30 w 40"/>
                  <a:gd name="T15" fmla="*/ 41 h 60"/>
                  <a:gd name="T16" fmla="*/ 40 w 40"/>
                  <a:gd name="T17" fmla="*/ 3 h 60"/>
                  <a:gd name="T18" fmla="*/ 30 w 40"/>
                  <a:gd name="T19" fmla="*/ 0 h 60"/>
                  <a:gd name="T20" fmla="*/ 30 w 40"/>
                  <a:gd name="T21" fmla="*/ 23 h 60"/>
                  <a:gd name="T22" fmla="*/ 30 w 40"/>
                  <a:gd name="T23" fmla="*/ 23 h 60"/>
                  <a:gd name="T24" fmla="*/ 18 w 40"/>
                  <a:gd name="T25" fmla="*/ 17 h 60"/>
                  <a:gd name="T26" fmla="*/ 0 w 40"/>
                  <a:gd name="T27" fmla="*/ 39 h 60"/>
                  <a:gd name="T28" fmla="*/ 18 w 40"/>
                  <a:gd name="T29" fmla="*/ 60 h 60"/>
                  <a:gd name="T30" fmla="*/ 31 w 40"/>
                  <a:gd name="T31" fmla="*/ 52 h 60"/>
                  <a:gd name="T32" fmla="*/ 31 w 40"/>
                  <a:gd name="T33" fmla="*/ 52 h 60"/>
                  <a:gd name="T34" fmla="*/ 31 w 40"/>
                  <a:gd name="T35" fmla="*/ 59 h 60"/>
                  <a:gd name="T36" fmla="*/ 40 w 40"/>
                  <a:gd name="T37" fmla="*/ 59 h 60"/>
                  <a:gd name="T38" fmla="*/ 40 w 40"/>
                  <a:gd name="T39" fmla="*/ 47 h 60"/>
                  <a:gd name="T40" fmla="*/ 40 w 40"/>
                  <a:gd name="T41" fmla="*/ 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60">
                    <a:moveTo>
                      <a:pt x="30" y="41"/>
                    </a:moveTo>
                    <a:cubicBezTo>
                      <a:pt x="30" y="42"/>
                      <a:pt x="30" y="43"/>
                      <a:pt x="30" y="44"/>
                    </a:cubicBezTo>
                    <a:cubicBezTo>
                      <a:pt x="29" y="49"/>
                      <a:pt x="25" y="52"/>
                      <a:pt x="21" y="52"/>
                    </a:cubicBezTo>
                    <a:cubicBezTo>
                      <a:pt x="14" y="52"/>
                      <a:pt x="11" y="46"/>
                      <a:pt x="11" y="39"/>
                    </a:cubicBezTo>
                    <a:cubicBezTo>
                      <a:pt x="11" y="31"/>
                      <a:pt x="14" y="25"/>
                      <a:pt x="21" y="25"/>
                    </a:cubicBezTo>
                    <a:cubicBezTo>
                      <a:pt x="25" y="25"/>
                      <a:pt x="29" y="29"/>
                      <a:pt x="30" y="33"/>
                    </a:cubicBezTo>
                    <a:cubicBezTo>
                      <a:pt x="30" y="33"/>
                      <a:pt x="30" y="34"/>
                      <a:pt x="30" y="35"/>
                    </a:cubicBezTo>
                    <a:lnTo>
                      <a:pt x="30" y="41"/>
                    </a:lnTo>
                    <a:close/>
                    <a:moveTo>
                      <a:pt x="40" y="3"/>
                    </a:moveTo>
                    <a:cubicBezTo>
                      <a:pt x="30" y="0"/>
                      <a:pt x="30" y="0"/>
                      <a:pt x="30" y="0"/>
                    </a:cubicBezTo>
                    <a:cubicBezTo>
                      <a:pt x="30" y="23"/>
                      <a:pt x="30" y="23"/>
                      <a:pt x="30" y="23"/>
                    </a:cubicBezTo>
                    <a:cubicBezTo>
                      <a:pt x="30" y="23"/>
                      <a:pt x="30" y="23"/>
                      <a:pt x="30" y="23"/>
                    </a:cubicBezTo>
                    <a:cubicBezTo>
                      <a:pt x="28" y="20"/>
                      <a:pt x="24" y="17"/>
                      <a:pt x="18" y="17"/>
                    </a:cubicBezTo>
                    <a:cubicBezTo>
                      <a:pt x="9" y="17"/>
                      <a:pt x="0" y="26"/>
                      <a:pt x="0" y="39"/>
                    </a:cubicBezTo>
                    <a:cubicBezTo>
                      <a:pt x="0" y="52"/>
                      <a:pt x="8" y="60"/>
                      <a:pt x="18" y="60"/>
                    </a:cubicBezTo>
                    <a:cubicBezTo>
                      <a:pt x="23" y="60"/>
                      <a:pt x="28" y="57"/>
                      <a:pt x="31" y="52"/>
                    </a:cubicBezTo>
                    <a:cubicBezTo>
                      <a:pt x="31" y="52"/>
                      <a:pt x="31" y="52"/>
                      <a:pt x="31" y="52"/>
                    </a:cubicBezTo>
                    <a:cubicBezTo>
                      <a:pt x="31" y="59"/>
                      <a:pt x="31" y="59"/>
                      <a:pt x="31" y="59"/>
                    </a:cubicBezTo>
                    <a:cubicBezTo>
                      <a:pt x="40" y="59"/>
                      <a:pt x="40" y="59"/>
                      <a:pt x="40" y="59"/>
                    </a:cubicBezTo>
                    <a:cubicBezTo>
                      <a:pt x="40" y="56"/>
                      <a:pt x="40" y="52"/>
                      <a:pt x="40" y="47"/>
                    </a:cubicBezTo>
                    <a:lnTo>
                      <a:pt x="4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30" name="Freeform 59"/>
              <p:cNvSpPr>
                <a:spLocks/>
              </p:cNvSpPr>
              <p:nvPr/>
            </p:nvSpPr>
            <p:spPr bwMode="auto">
              <a:xfrm>
                <a:off x="4018480" y="5682694"/>
                <a:ext cx="165466" cy="282565"/>
              </a:xfrm>
              <a:custGeom>
                <a:avLst/>
                <a:gdLst>
                  <a:gd name="T0" fmla="*/ 18 w 32"/>
                  <a:gd name="T1" fmla="*/ 12 h 54"/>
                  <a:gd name="T2" fmla="*/ 10 w 32"/>
                  <a:gd name="T3" fmla="*/ 15 h 54"/>
                  <a:gd name="T4" fmla="*/ 4 w 32"/>
                  <a:gd name="T5" fmla="*/ 21 h 54"/>
                  <a:gd name="T6" fmla="*/ 4 w 32"/>
                  <a:gd name="T7" fmla="*/ 21 h 54"/>
                  <a:gd name="T8" fmla="*/ 4 w 32"/>
                  <a:gd name="T9" fmla="*/ 2 h 54"/>
                  <a:gd name="T10" fmla="*/ 0 w 32"/>
                  <a:gd name="T11" fmla="*/ 0 h 54"/>
                  <a:gd name="T12" fmla="*/ 0 w 32"/>
                  <a:gd name="T13" fmla="*/ 54 h 54"/>
                  <a:gd name="T14" fmla="*/ 4 w 32"/>
                  <a:gd name="T15" fmla="*/ 54 h 54"/>
                  <a:gd name="T16" fmla="*/ 4 w 32"/>
                  <a:gd name="T17" fmla="*/ 29 h 54"/>
                  <a:gd name="T18" fmla="*/ 5 w 32"/>
                  <a:gd name="T19" fmla="*/ 25 h 54"/>
                  <a:gd name="T20" fmla="*/ 17 w 32"/>
                  <a:gd name="T21" fmla="*/ 16 h 54"/>
                  <a:gd name="T22" fmla="*/ 28 w 32"/>
                  <a:gd name="T23" fmla="*/ 30 h 54"/>
                  <a:gd name="T24" fmla="*/ 28 w 32"/>
                  <a:gd name="T25" fmla="*/ 54 h 54"/>
                  <a:gd name="T26" fmla="*/ 32 w 32"/>
                  <a:gd name="T27" fmla="*/ 54 h 54"/>
                  <a:gd name="T28" fmla="*/ 32 w 32"/>
                  <a:gd name="T29" fmla="*/ 29 h 54"/>
                  <a:gd name="T30" fmla="*/ 18 w 32"/>
                  <a:gd name="T31" fmla="*/ 1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 h="54">
                    <a:moveTo>
                      <a:pt x="18" y="12"/>
                    </a:moveTo>
                    <a:cubicBezTo>
                      <a:pt x="15" y="12"/>
                      <a:pt x="12" y="13"/>
                      <a:pt x="10" y="15"/>
                    </a:cubicBezTo>
                    <a:cubicBezTo>
                      <a:pt x="8" y="16"/>
                      <a:pt x="6" y="18"/>
                      <a:pt x="4" y="21"/>
                    </a:cubicBezTo>
                    <a:cubicBezTo>
                      <a:pt x="4" y="21"/>
                      <a:pt x="4" y="21"/>
                      <a:pt x="4" y="21"/>
                    </a:cubicBezTo>
                    <a:cubicBezTo>
                      <a:pt x="4" y="2"/>
                      <a:pt x="4" y="2"/>
                      <a:pt x="4" y="2"/>
                    </a:cubicBezTo>
                    <a:cubicBezTo>
                      <a:pt x="0" y="0"/>
                      <a:pt x="0" y="0"/>
                      <a:pt x="0" y="0"/>
                    </a:cubicBezTo>
                    <a:cubicBezTo>
                      <a:pt x="0" y="54"/>
                      <a:pt x="0" y="54"/>
                      <a:pt x="0" y="54"/>
                    </a:cubicBezTo>
                    <a:cubicBezTo>
                      <a:pt x="4" y="54"/>
                      <a:pt x="4" y="54"/>
                      <a:pt x="4" y="54"/>
                    </a:cubicBezTo>
                    <a:cubicBezTo>
                      <a:pt x="4" y="29"/>
                      <a:pt x="4" y="29"/>
                      <a:pt x="4" y="29"/>
                    </a:cubicBezTo>
                    <a:cubicBezTo>
                      <a:pt x="4" y="27"/>
                      <a:pt x="4" y="26"/>
                      <a:pt x="5" y="25"/>
                    </a:cubicBezTo>
                    <a:cubicBezTo>
                      <a:pt x="7" y="20"/>
                      <a:pt x="11" y="16"/>
                      <a:pt x="17" y="16"/>
                    </a:cubicBezTo>
                    <a:cubicBezTo>
                      <a:pt x="25" y="16"/>
                      <a:pt x="28" y="23"/>
                      <a:pt x="28" y="30"/>
                    </a:cubicBezTo>
                    <a:cubicBezTo>
                      <a:pt x="28" y="54"/>
                      <a:pt x="28" y="54"/>
                      <a:pt x="28" y="54"/>
                    </a:cubicBezTo>
                    <a:cubicBezTo>
                      <a:pt x="32" y="54"/>
                      <a:pt x="32" y="54"/>
                      <a:pt x="32" y="54"/>
                    </a:cubicBezTo>
                    <a:cubicBezTo>
                      <a:pt x="32" y="29"/>
                      <a:pt x="32" y="29"/>
                      <a:pt x="32" y="29"/>
                    </a:cubicBezTo>
                    <a:cubicBezTo>
                      <a:pt x="32" y="14"/>
                      <a:pt x="22" y="12"/>
                      <a:pt x="18" y="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31" name="Freeform 60"/>
              <p:cNvSpPr>
                <a:spLocks noEditPoints="1"/>
              </p:cNvSpPr>
              <p:nvPr/>
            </p:nvSpPr>
            <p:spPr bwMode="auto">
              <a:xfrm>
                <a:off x="4219585" y="5746335"/>
                <a:ext cx="152737" cy="224015"/>
              </a:xfrm>
              <a:custGeom>
                <a:avLst/>
                <a:gdLst>
                  <a:gd name="T0" fmla="*/ 29 w 30"/>
                  <a:gd name="T1" fmla="*/ 32 h 43"/>
                  <a:gd name="T2" fmla="*/ 30 w 30"/>
                  <a:gd name="T3" fmla="*/ 42 h 43"/>
                  <a:gd name="T4" fmla="*/ 26 w 30"/>
                  <a:gd name="T5" fmla="*/ 42 h 43"/>
                  <a:gd name="T6" fmla="*/ 25 w 30"/>
                  <a:gd name="T7" fmla="*/ 36 h 43"/>
                  <a:gd name="T8" fmla="*/ 25 w 30"/>
                  <a:gd name="T9" fmla="*/ 36 h 43"/>
                  <a:gd name="T10" fmla="*/ 12 w 30"/>
                  <a:gd name="T11" fmla="*/ 43 h 43"/>
                  <a:gd name="T12" fmla="*/ 0 w 30"/>
                  <a:gd name="T13" fmla="*/ 32 h 43"/>
                  <a:gd name="T14" fmla="*/ 25 w 30"/>
                  <a:gd name="T15" fmla="*/ 17 h 43"/>
                  <a:gd name="T16" fmla="*/ 25 w 30"/>
                  <a:gd name="T17" fmla="*/ 16 h 43"/>
                  <a:gd name="T18" fmla="*/ 15 w 30"/>
                  <a:gd name="T19" fmla="*/ 4 h 43"/>
                  <a:gd name="T20" fmla="*/ 5 w 30"/>
                  <a:gd name="T21" fmla="*/ 7 h 43"/>
                  <a:gd name="T22" fmla="*/ 3 w 30"/>
                  <a:gd name="T23" fmla="*/ 4 h 43"/>
                  <a:gd name="T24" fmla="*/ 15 w 30"/>
                  <a:gd name="T25" fmla="*/ 0 h 43"/>
                  <a:gd name="T26" fmla="*/ 29 w 30"/>
                  <a:gd name="T27" fmla="*/ 16 h 43"/>
                  <a:gd name="T28" fmla="*/ 29 w 30"/>
                  <a:gd name="T29" fmla="*/ 32 h 43"/>
                  <a:gd name="T30" fmla="*/ 25 w 30"/>
                  <a:gd name="T31" fmla="*/ 20 h 43"/>
                  <a:gd name="T32" fmla="*/ 5 w 30"/>
                  <a:gd name="T33" fmla="*/ 31 h 43"/>
                  <a:gd name="T34" fmla="*/ 13 w 30"/>
                  <a:gd name="T35" fmla="*/ 39 h 43"/>
                  <a:gd name="T36" fmla="*/ 25 w 30"/>
                  <a:gd name="T37" fmla="*/ 31 h 43"/>
                  <a:gd name="T38" fmla="*/ 25 w 30"/>
                  <a:gd name="T39" fmla="*/ 29 h 43"/>
                  <a:gd name="T40" fmla="*/ 25 w 30"/>
                  <a:gd name="T41" fmla="*/ 2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43">
                    <a:moveTo>
                      <a:pt x="29" y="32"/>
                    </a:moveTo>
                    <a:cubicBezTo>
                      <a:pt x="29" y="35"/>
                      <a:pt x="29" y="39"/>
                      <a:pt x="30" y="42"/>
                    </a:cubicBezTo>
                    <a:cubicBezTo>
                      <a:pt x="26" y="42"/>
                      <a:pt x="26" y="42"/>
                      <a:pt x="26" y="42"/>
                    </a:cubicBezTo>
                    <a:cubicBezTo>
                      <a:pt x="25" y="36"/>
                      <a:pt x="25" y="36"/>
                      <a:pt x="25" y="36"/>
                    </a:cubicBezTo>
                    <a:cubicBezTo>
                      <a:pt x="25" y="36"/>
                      <a:pt x="25" y="36"/>
                      <a:pt x="25" y="36"/>
                    </a:cubicBezTo>
                    <a:cubicBezTo>
                      <a:pt x="23" y="39"/>
                      <a:pt x="19" y="43"/>
                      <a:pt x="12" y="43"/>
                    </a:cubicBezTo>
                    <a:cubicBezTo>
                      <a:pt x="4" y="43"/>
                      <a:pt x="0" y="37"/>
                      <a:pt x="0" y="32"/>
                    </a:cubicBezTo>
                    <a:cubicBezTo>
                      <a:pt x="0" y="22"/>
                      <a:pt x="9" y="17"/>
                      <a:pt x="25" y="17"/>
                    </a:cubicBezTo>
                    <a:cubicBezTo>
                      <a:pt x="25" y="16"/>
                      <a:pt x="25" y="16"/>
                      <a:pt x="25" y="16"/>
                    </a:cubicBezTo>
                    <a:cubicBezTo>
                      <a:pt x="25" y="12"/>
                      <a:pt x="24" y="4"/>
                      <a:pt x="15" y="4"/>
                    </a:cubicBezTo>
                    <a:cubicBezTo>
                      <a:pt x="11" y="4"/>
                      <a:pt x="8" y="5"/>
                      <a:pt x="5" y="7"/>
                    </a:cubicBezTo>
                    <a:cubicBezTo>
                      <a:pt x="3" y="4"/>
                      <a:pt x="3" y="4"/>
                      <a:pt x="3" y="4"/>
                    </a:cubicBezTo>
                    <a:cubicBezTo>
                      <a:pt x="7" y="1"/>
                      <a:pt x="12" y="0"/>
                      <a:pt x="15" y="0"/>
                    </a:cubicBezTo>
                    <a:cubicBezTo>
                      <a:pt x="27" y="0"/>
                      <a:pt x="29" y="9"/>
                      <a:pt x="29" y="16"/>
                    </a:cubicBezTo>
                    <a:lnTo>
                      <a:pt x="29" y="32"/>
                    </a:lnTo>
                    <a:close/>
                    <a:moveTo>
                      <a:pt x="25" y="20"/>
                    </a:moveTo>
                    <a:cubicBezTo>
                      <a:pt x="16" y="20"/>
                      <a:pt x="5" y="21"/>
                      <a:pt x="5" y="31"/>
                    </a:cubicBezTo>
                    <a:cubicBezTo>
                      <a:pt x="5" y="37"/>
                      <a:pt x="9" y="39"/>
                      <a:pt x="13" y="39"/>
                    </a:cubicBezTo>
                    <a:cubicBezTo>
                      <a:pt x="20" y="39"/>
                      <a:pt x="23" y="35"/>
                      <a:pt x="25" y="31"/>
                    </a:cubicBezTo>
                    <a:cubicBezTo>
                      <a:pt x="25" y="30"/>
                      <a:pt x="25" y="30"/>
                      <a:pt x="25" y="29"/>
                    </a:cubicBezTo>
                    <a:lnTo>
                      <a:pt x="25"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32" name="Freeform 61"/>
              <p:cNvSpPr>
                <a:spLocks/>
              </p:cNvSpPr>
              <p:nvPr/>
            </p:nvSpPr>
            <p:spPr bwMode="auto">
              <a:xfrm>
                <a:off x="4392688" y="5703059"/>
                <a:ext cx="119645" cy="267291"/>
              </a:xfrm>
              <a:custGeom>
                <a:avLst/>
                <a:gdLst>
                  <a:gd name="T0" fmla="*/ 11 w 23"/>
                  <a:gd name="T1" fmla="*/ 0 h 51"/>
                  <a:gd name="T2" fmla="*/ 11 w 23"/>
                  <a:gd name="T3" fmla="*/ 9 h 51"/>
                  <a:gd name="T4" fmla="*/ 23 w 23"/>
                  <a:gd name="T5" fmla="*/ 9 h 51"/>
                  <a:gd name="T6" fmla="*/ 23 w 23"/>
                  <a:gd name="T7" fmla="*/ 13 h 51"/>
                  <a:gd name="T8" fmla="*/ 11 w 23"/>
                  <a:gd name="T9" fmla="*/ 13 h 51"/>
                  <a:gd name="T10" fmla="*/ 11 w 23"/>
                  <a:gd name="T11" fmla="*/ 39 h 51"/>
                  <a:gd name="T12" fmla="*/ 17 w 23"/>
                  <a:gd name="T13" fmla="*/ 47 h 51"/>
                  <a:gd name="T14" fmla="*/ 22 w 23"/>
                  <a:gd name="T15" fmla="*/ 47 h 51"/>
                  <a:gd name="T16" fmla="*/ 22 w 23"/>
                  <a:gd name="T17" fmla="*/ 50 h 51"/>
                  <a:gd name="T18" fmla="*/ 17 w 23"/>
                  <a:gd name="T19" fmla="*/ 51 h 51"/>
                  <a:gd name="T20" fmla="*/ 10 w 23"/>
                  <a:gd name="T21" fmla="*/ 48 h 51"/>
                  <a:gd name="T22" fmla="*/ 7 w 23"/>
                  <a:gd name="T23" fmla="*/ 38 h 51"/>
                  <a:gd name="T24" fmla="*/ 7 w 23"/>
                  <a:gd name="T25" fmla="*/ 13 h 51"/>
                  <a:gd name="T26" fmla="*/ 0 w 23"/>
                  <a:gd name="T27" fmla="*/ 13 h 51"/>
                  <a:gd name="T28" fmla="*/ 0 w 23"/>
                  <a:gd name="T29" fmla="*/ 9 h 51"/>
                  <a:gd name="T30" fmla="*/ 7 w 23"/>
                  <a:gd name="T31" fmla="*/ 9 h 51"/>
                  <a:gd name="T32" fmla="*/ 7 w 23"/>
                  <a:gd name="T33" fmla="*/ 2 h 51"/>
                  <a:gd name="T34" fmla="*/ 11 w 23"/>
                  <a:gd name="T35"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51">
                    <a:moveTo>
                      <a:pt x="11" y="0"/>
                    </a:moveTo>
                    <a:cubicBezTo>
                      <a:pt x="11" y="9"/>
                      <a:pt x="11" y="9"/>
                      <a:pt x="11" y="9"/>
                    </a:cubicBezTo>
                    <a:cubicBezTo>
                      <a:pt x="23" y="9"/>
                      <a:pt x="23" y="9"/>
                      <a:pt x="23" y="9"/>
                    </a:cubicBezTo>
                    <a:cubicBezTo>
                      <a:pt x="23" y="13"/>
                      <a:pt x="23" y="13"/>
                      <a:pt x="23" y="13"/>
                    </a:cubicBezTo>
                    <a:cubicBezTo>
                      <a:pt x="11" y="13"/>
                      <a:pt x="11" y="13"/>
                      <a:pt x="11" y="13"/>
                    </a:cubicBezTo>
                    <a:cubicBezTo>
                      <a:pt x="11" y="39"/>
                      <a:pt x="11" y="39"/>
                      <a:pt x="11" y="39"/>
                    </a:cubicBezTo>
                    <a:cubicBezTo>
                      <a:pt x="11" y="44"/>
                      <a:pt x="13" y="47"/>
                      <a:pt x="17" y="47"/>
                    </a:cubicBezTo>
                    <a:cubicBezTo>
                      <a:pt x="19" y="47"/>
                      <a:pt x="21" y="47"/>
                      <a:pt x="22" y="47"/>
                    </a:cubicBezTo>
                    <a:cubicBezTo>
                      <a:pt x="22" y="50"/>
                      <a:pt x="22" y="50"/>
                      <a:pt x="22" y="50"/>
                    </a:cubicBezTo>
                    <a:cubicBezTo>
                      <a:pt x="21" y="50"/>
                      <a:pt x="19" y="51"/>
                      <a:pt x="17" y="51"/>
                    </a:cubicBezTo>
                    <a:cubicBezTo>
                      <a:pt x="14" y="51"/>
                      <a:pt x="11" y="50"/>
                      <a:pt x="10" y="48"/>
                    </a:cubicBezTo>
                    <a:cubicBezTo>
                      <a:pt x="8" y="46"/>
                      <a:pt x="7" y="42"/>
                      <a:pt x="7" y="38"/>
                    </a:cubicBezTo>
                    <a:cubicBezTo>
                      <a:pt x="7" y="13"/>
                      <a:pt x="7" y="13"/>
                      <a:pt x="7" y="13"/>
                    </a:cubicBezTo>
                    <a:cubicBezTo>
                      <a:pt x="0" y="13"/>
                      <a:pt x="0" y="13"/>
                      <a:pt x="0" y="13"/>
                    </a:cubicBezTo>
                    <a:cubicBezTo>
                      <a:pt x="0" y="9"/>
                      <a:pt x="0" y="9"/>
                      <a:pt x="0" y="9"/>
                    </a:cubicBezTo>
                    <a:cubicBezTo>
                      <a:pt x="7" y="9"/>
                      <a:pt x="7" y="9"/>
                      <a:pt x="7" y="9"/>
                    </a:cubicBezTo>
                    <a:cubicBezTo>
                      <a:pt x="7" y="2"/>
                      <a:pt x="7" y="2"/>
                      <a:pt x="7" y="2"/>
                    </a:cubicBez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33" name="Freeform 62"/>
              <p:cNvSpPr>
                <a:spLocks noEditPoints="1"/>
              </p:cNvSpPr>
              <p:nvPr/>
            </p:nvSpPr>
            <p:spPr bwMode="auto">
              <a:xfrm>
                <a:off x="4532696" y="5944894"/>
                <a:ext cx="15274" cy="15274"/>
              </a:xfrm>
              <a:custGeom>
                <a:avLst/>
                <a:gdLst>
                  <a:gd name="T0" fmla="*/ 1 w 3"/>
                  <a:gd name="T1" fmla="*/ 2 h 3"/>
                  <a:gd name="T2" fmla="*/ 1 w 3"/>
                  <a:gd name="T3" fmla="*/ 2 h 3"/>
                  <a:gd name="T4" fmla="*/ 2 w 3"/>
                  <a:gd name="T5" fmla="*/ 3 h 3"/>
                  <a:gd name="T6" fmla="*/ 3 w 3"/>
                  <a:gd name="T7" fmla="*/ 3 h 3"/>
                  <a:gd name="T8" fmla="*/ 2 w 3"/>
                  <a:gd name="T9" fmla="*/ 2 h 3"/>
                  <a:gd name="T10" fmla="*/ 3 w 3"/>
                  <a:gd name="T11" fmla="*/ 1 h 3"/>
                  <a:gd name="T12" fmla="*/ 1 w 3"/>
                  <a:gd name="T13" fmla="*/ 0 h 3"/>
                  <a:gd name="T14" fmla="*/ 0 w 3"/>
                  <a:gd name="T15" fmla="*/ 0 h 3"/>
                  <a:gd name="T16" fmla="*/ 0 w 3"/>
                  <a:gd name="T17" fmla="*/ 3 h 3"/>
                  <a:gd name="T18" fmla="*/ 1 w 3"/>
                  <a:gd name="T19" fmla="*/ 3 h 3"/>
                  <a:gd name="T20" fmla="*/ 1 w 3"/>
                  <a:gd name="T21" fmla="*/ 2 h 3"/>
                  <a:gd name="T22" fmla="*/ 1 w 3"/>
                  <a:gd name="T23" fmla="*/ 1 h 3"/>
                  <a:gd name="T24" fmla="*/ 1 w 3"/>
                  <a:gd name="T25" fmla="*/ 0 h 3"/>
                  <a:gd name="T26" fmla="*/ 1 w 3"/>
                  <a:gd name="T27" fmla="*/ 0 h 3"/>
                  <a:gd name="T28" fmla="*/ 2 w 3"/>
                  <a:gd name="T29" fmla="*/ 1 h 3"/>
                  <a:gd name="T30" fmla="*/ 1 w 3"/>
                  <a:gd name="T31"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3">
                    <a:moveTo>
                      <a:pt x="1" y="2"/>
                    </a:moveTo>
                    <a:cubicBezTo>
                      <a:pt x="1" y="2"/>
                      <a:pt x="1" y="2"/>
                      <a:pt x="1" y="2"/>
                    </a:cubicBezTo>
                    <a:cubicBezTo>
                      <a:pt x="2" y="3"/>
                      <a:pt x="2" y="3"/>
                      <a:pt x="2" y="3"/>
                    </a:cubicBezTo>
                    <a:cubicBezTo>
                      <a:pt x="3" y="3"/>
                      <a:pt x="3" y="3"/>
                      <a:pt x="3" y="3"/>
                    </a:cubicBezTo>
                    <a:cubicBezTo>
                      <a:pt x="2" y="2"/>
                      <a:pt x="2" y="2"/>
                      <a:pt x="2" y="2"/>
                    </a:cubicBezTo>
                    <a:cubicBezTo>
                      <a:pt x="2" y="2"/>
                      <a:pt x="3" y="1"/>
                      <a:pt x="3" y="1"/>
                    </a:cubicBezTo>
                    <a:cubicBezTo>
                      <a:pt x="3" y="0"/>
                      <a:pt x="2" y="0"/>
                      <a:pt x="1" y="0"/>
                    </a:cubicBezTo>
                    <a:cubicBezTo>
                      <a:pt x="0" y="0"/>
                      <a:pt x="0" y="0"/>
                      <a:pt x="0" y="0"/>
                    </a:cubicBezTo>
                    <a:cubicBezTo>
                      <a:pt x="0" y="3"/>
                      <a:pt x="0" y="3"/>
                      <a:pt x="0" y="3"/>
                    </a:cubicBezTo>
                    <a:cubicBezTo>
                      <a:pt x="1" y="3"/>
                      <a:pt x="1" y="3"/>
                      <a:pt x="1" y="3"/>
                    </a:cubicBezTo>
                    <a:lnTo>
                      <a:pt x="1" y="2"/>
                    </a:lnTo>
                    <a:close/>
                    <a:moveTo>
                      <a:pt x="1" y="1"/>
                    </a:moveTo>
                    <a:cubicBezTo>
                      <a:pt x="1" y="0"/>
                      <a:pt x="1" y="0"/>
                      <a:pt x="1" y="0"/>
                    </a:cubicBezTo>
                    <a:cubicBezTo>
                      <a:pt x="1" y="0"/>
                      <a:pt x="1" y="0"/>
                      <a:pt x="1" y="0"/>
                    </a:cubicBezTo>
                    <a:cubicBezTo>
                      <a:pt x="2" y="0"/>
                      <a:pt x="2" y="0"/>
                      <a:pt x="2" y="1"/>
                    </a:cubicBezTo>
                    <a:cubicBezTo>
                      <a:pt x="2" y="1"/>
                      <a:pt x="2"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34" name="Freeform 63"/>
              <p:cNvSpPr>
                <a:spLocks noEditPoints="1"/>
              </p:cNvSpPr>
              <p:nvPr/>
            </p:nvSpPr>
            <p:spPr bwMode="auto">
              <a:xfrm>
                <a:off x="4522514" y="5934711"/>
                <a:ext cx="30547" cy="30547"/>
              </a:xfrm>
              <a:custGeom>
                <a:avLst/>
                <a:gdLst>
                  <a:gd name="T0" fmla="*/ 6 w 6"/>
                  <a:gd name="T1" fmla="*/ 3 h 6"/>
                  <a:gd name="T2" fmla="*/ 3 w 6"/>
                  <a:gd name="T3" fmla="*/ 6 h 6"/>
                  <a:gd name="T4" fmla="*/ 0 w 6"/>
                  <a:gd name="T5" fmla="*/ 3 h 6"/>
                  <a:gd name="T6" fmla="*/ 3 w 6"/>
                  <a:gd name="T7" fmla="*/ 0 h 6"/>
                  <a:gd name="T8" fmla="*/ 6 w 6"/>
                  <a:gd name="T9" fmla="*/ 3 h 6"/>
                  <a:gd name="T10" fmla="*/ 3 w 6"/>
                  <a:gd name="T11" fmla="*/ 1 h 6"/>
                  <a:gd name="T12" fmla="*/ 1 w 6"/>
                  <a:gd name="T13" fmla="*/ 3 h 6"/>
                  <a:gd name="T14" fmla="*/ 3 w 6"/>
                  <a:gd name="T15" fmla="*/ 6 h 6"/>
                  <a:gd name="T16" fmla="*/ 6 w 6"/>
                  <a:gd name="T17" fmla="*/ 3 h 6"/>
                  <a:gd name="T18" fmla="*/ 3 w 6"/>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6">
                    <a:moveTo>
                      <a:pt x="6" y="3"/>
                    </a:moveTo>
                    <a:cubicBezTo>
                      <a:pt x="6" y="5"/>
                      <a:pt x="5" y="6"/>
                      <a:pt x="3" y="6"/>
                    </a:cubicBezTo>
                    <a:cubicBezTo>
                      <a:pt x="2" y="6"/>
                      <a:pt x="0" y="5"/>
                      <a:pt x="0" y="3"/>
                    </a:cubicBezTo>
                    <a:cubicBezTo>
                      <a:pt x="0" y="2"/>
                      <a:pt x="2" y="0"/>
                      <a:pt x="3" y="0"/>
                    </a:cubicBezTo>
                    <a:cubicBezTo>
                      <a:pt x="5" y="0"/>
                      <a:pt x="6" y="2"/>
                      <a:pt x="6" y="3"/>
                    </a:cubicBezTo>
                    <a:moveTo>
                      <a:pt x="3" y="1"/>
                    </a:moveTo>
                    <a:cubicBezTo>
                      <a:pt x="2" y="1"/>
                      <a:pt x="1" y="2"/>
                      <a:pt x="1" y="3"/>
                    </a:cubicBezTo>
                    <a:cubicBezTo>
                      <a:pt x="1" y="5"/>
                      <a:pt x="2" y="6"/>
                      <a:pt x="3" y="6"/>
                    </a:cubicBezTo>
                    <a:cubicBezTo>
                      <a:pt x="5" y="6"/>
                      <a:pt x="6" y="5"/>
                      <a:pt x="6" y="3"/>
                    </a:cubicBezTo>
                    <a:cubicBezTo>
                      <a:pt x="6" y="2"/>
                      <a:pt x="5" y="1"/>
                      <a:pt x="3"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grpSp>
      </p:grpSp>
      <p:sp>
        <p:nvSpPr>
          <p:cNvPr id="141" name="Rectangle 140"/>
          <p:cNvSpPr/>
          <p:nvPr/>
        </p:nvSpPr>
        <p:spPr bwMode="auto">
          <a:xfrm>
            <a:off x="9046616" y="923295"/>
            <a:ext cx="2797667" cy="365708"/>
          </a:xfrm>
          <a:prstGeom prst="rect">
            <a:avLst/>
          </a:prstGeom>
          <a:noFill/>
          <a:ln w="38100" cap="flat" cmpd="sng" algn="ctr">
            <a:noFill/>
            <a:prstDash val="solid"/>
            <a:miter lim="800000"/>
            <a:headEnd type="none" w="med" len="med"/>
            <a:tailEnd type="none" w="med" len="med"/>
          </a:ln>
          <a:effectLst/>
        </p:spPr>
        <p:txBody>
          <a:bodyPr rot="0" spcFirstLastPara="0" vertOverflow="overflow" horzOverflow="overflow" vert="horz" wrap="square" lIns="91427" tIns="146284" rIns="182854" bIns="146284" numCol="1" spcCol="0" rtlCol="0" fromWordArt="0" anchor="ctr" anchorCtr="0" forceAA="0" compatLnSpc="1">
            <a:prstTxWarp prst="textNoShape">
              <a:avLst/>
            </a:prstTxWarp>
            <a:noAutofit/>
          </a:bodyPr>
          <a:lstStyle/>
          <a:p>
            <a:pPr defTabSz="914188">
              <a:defRPr/>
            </a:pPr>
            <a:r>
              <a:rPr lang="en-US" sz="1400" b="1" kern="0" dirty="0">
                <a:ln>
                  <a:solidFill>
                    <a:srgbClr val="FFFFFF">
                      <a:alpha val="0"/>
                    </a:srgbClr>
                  </a:solidFill>
                </a:ln>
                <a:solidFill>
                  <a:srgbClr val="0078D7"/>
                </a:solidFill>
                <a:latin typeface="Segoe UI Semibold" charset="0"/>
                <a:ea typeface="Segoe UI Semibold" charset="0"/>
                <a:cs typeface="Segoe UI Semibold" charset="0"/>
              </a:rPr>
              <a:t>Linux </a:t>
            </a:r>
          </a:p>
        </p:txBody>
      </p:sp>
      <p:sp>
        <p:nvSpPr>
          <p:cNvPr id="142" name="Rectangle 141"/>
          <p:cNvSpPr/>
          <p:nvPr/>
        </p:nvSpPr>
        <p:spPr bwMode="auto">
          <a:xfrm>
            <a:off x="5822205" y="3468730"/>
            <a:ext cx="2797667" cy="365708"/>
          </a:xfrm>
          <a:prstGeom prst="rect">
            <a:avLst/>
          </a:prstGeom>
          <a:noFill/>
          <a:ln w="38100" cap="flat" cmpd="sng" algn="ctr">
            <a:noFill/>
            <a:prstDash val="solid"/>
            <a:miter lim="800000"/>
            <a:headEnd type="none" w="med" len="med"/>
            <a:tailEnd type="none" w="med" len="med"/>
          </a:ln>
          <a:effectLst/>
        </p:spPr>
        <p:txBody>
          <a:bodyPr rot="0" spcFirstLastPara="0" vertOverflow="overflow" horzOverflow="overflow" vert="horz" wrap="square" lIns="91427" tIns="146284" rIns="182854" bIns="146284" numCol="1" spcCol="0" rtlCol="0" fromWordArt="0" anchor="ctr" anchorCtr="0" forceAA="0" compatLnSpc="1">
            <a:prstTxWarp prst="textNoShape">
              <a:avLst/>
            </a:prstTxWarp>
            <a:noAutofit/>
          </a:bodyPr>
          <a:lstStyle/>
          <a:p>
            <a:pPr defTabSz="914188">
              <a:defRPr/>
            </a:pPr>
            <a:r>
              <a:rPr lang="en-US" sz="1400" b="1" kern="0" dirty="0">
                <a:ln>
                  <a:solidFill>
                    <a:srgbClr val="FFFFFF">
                      <a:alpha val="0"/>
                    </a:srgbClr>
                  </a:solidFill>
                </a:ln>
                <a:solidFill>
                  <a:srgbClr val="0078D7"/>
                </a:solidFill>
                <a:latin typeface="Segoe UI Semibold" charset="0"/>
                <a:ea typeface="Segoe UI Semibold" charset="0"/>
                <a:cs typeface="Segoe UI Semibold" charset="0"/>
              </a:rPr>
              <a:t>Linux/Windows container </a:t>
            </a:r>
          </a:p>
        </p:txBody>
      </p:sp>
      <p:sp>
        <p:nvSpPr>
          <p:cNvPr id="143" name="Rectangle 142"/>
          <p:cNvSpPr/>
          <p:nvPr/>
        </p:nvSpPr>
        <p:spPr bwMode="auto">
          <a:xfrm>
            <a:off x="5822205" y="923295"/>
            <a:ext cx="2797667" cy="365708"/>
          </a:xfrm>
          <a:prstGeom prst="rect">
            <a:avLst/>
          </a:prstGeom>
          <a:noFill/>
          <a:ln w="38100" cap="flat" cmpd="sng" algn="ctr">
            <a:noFill/>
            <a:prstDash val="solid"/>
            <a:miter lim="800000"/>
            <a:headEnd type="none" w="med" len="med"/>
            <a:tailEnd type="none" w="med" len="med"/>
          </a:ln>
          <a:effectLst/>
        </p:spPr>
        <p:txBody>
          <a:bodyPr rot="0" spcFirstLastPara="0" vertOverflow="overflow" horzOverflow="overflow" vert="horz" wrap="square" lIns="91427" tIns="146284" rIns="182854" bIns="146284" numCol="1" spcCol="0" rtlCol="0" fromWordArt="0" anchor="ctr" anchorCtr="0" forceAA="0" compatLnSpc="1">
            <a:prstTxWarp prst="textNoShape">
              <a:avLst/>
            </a:prstTxWarp>
            <a:noAutofit/>
          </a:bodyPr>
          <a:lstStyle/>
          <a:p>
            <a:pPr defTabSz="914188">
              <a:defRPr/>
            </a:pPr>
            <a:r>
              <a:rPr lang="en-US" sz="1400" b="1" kern="0" dirty="0">
                <a:ln>
                  <a:solidFill>
                    <a:srgbClr val="FFFFFF">
                      <a:alpha val="0"/>
                    </a:srgbClr>
                  </a:solidFill>
                </a:ln>
                <a:solidFill>
                  <a:srgbClr val="0078D7"/>
                </a:solidFill>
                <a:latin typeface="Segoe UI Semibold" charset="0"/>
                <a:ea typeface="Segoe UI Semibold" charset="0"/>
                <a:cs typeface="Segoe UI Semibold" charset="0"/>
              </a:rPr>
              <a:t>Windows</a:t>
            </a:r>
          </a:p>
        </p:txBody>
      </p:sp>
      <p:grpSp>
        <p:nvGrpSpPr>
          <p:cNvPr id="144" name="Group 4">
            <a:extLst>
              <a:ext uri="{FF2B5EF4-FFF2-40B4-BE49-F238E27FC236}">
                <a16:creationId xmlns:a16="http://schemas.microsoft.com/office/drawing/2014/main" id="{86ACB026-57D9-43ED-845A-87BCC2D2C139}"/>
              </a:ext>
            </a:extLst>
          </p:cNvPr>
          <p:cNvGrpSpPr>
            <a:grpSpLocks noChangeAspect="1"/>
          </p:cNvGrpSpPr>
          <p:nvPr/>
        </p:nvGrpSpPr>
        <p:grpSpPr bwMode="auto">
          <a:xfrm>
            <a:off x="10104694" y="1809834"/>
            <a:ext cx="737425" cy="862206"/>
            <a:chOff x="6796" y="954"/>
            <a:chExt cx="721" cy="843"/>
          </a:xfrm>
          <a:solidFill>
            <a:srgbClr val="0078D7"/>
          </a:solidFill>
        </p:grpSpPr>
        <p:sp>
          <p:nvSpPr>
            <p:cNvPr id="145" name="Freeform 5">
              <a:extLst>
                <a:ext uri="{FF2B5EF4-FFF2-40B4-BE49-F238E27FC236}">
                  <a16:creationId xmlns:a16="http://schemas.microsoft.com/office/drawing/2014/main" id="{7DB9C39D-EC66-4AF8-87AE-015EA33D1B1E}"/>
                </a:ext>
              </a:extLst>
            </p:cNvPr>
            <p:cNvSpPr>
              <a:spLocks/>
            </p:cNvSpPr>
            <p:nvPr/>
          </p:nvSpPr>
          <p:spPr bwMode="auto">
            <a:xfrm>
              <a:off x="7137" y="1144"/>
              <a:ext cx="17" cy="8"/>
            </a:xfrm>
            <a:custGeom>
              <a:avLst/>
              <a:gdLst>
                <a:gd name="T0" fmla="*/ 9 w 24"/>
                <a:gd name="T1" fmla="*/ 8 h 12"/>
                <a:gd name="T2" fmla="*/ 16 w 24"/>
                <a:gd name="T3" fmla="*/ 12 h 12"/>
                <a:gd name="T4" fmla="*/ 23 w 24"/>
                <a:gd name="T5" fmla="*/ 8 h 12"/>
                <a:gd name="T6" fmla="*/ 15 w 24"/>
                <a:gd name="T7" fmla="*/ 1 h 12"/>
                <a:gd name="T8" fmla="*/ 7 w 24"/>
                <a:gd name="T9" fmla="*/ 0 h 12"/>
                <a:gd name="T10" fmla="*/ 2 w 24"/>
                <a:gd name="T11" fmla="*/ 1 h 12"/>
                <a:gd name="T12" fmla="*/ 0 w 24"/>
                <a:gd name="T13" fmla="*/ 4 h 12"/>
                <a:gd name="T14" fmla="*/ 9 w 24"/>
                <a:gd name="T15" fmla="*/ 8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12">
                  <a:moveTo>
                    <a:pt x="9" y="8"/>
                  </a:moveTo>
                  <a:cubicBezTo>
                    <a:pt x="11" y="9"/>
                    <a:pt x="13" y="12"/>
                    <a:pt x="16" y="12"/>
                  </a:cubicBezTo>
                  <a:cubicBezTo>
                    <a:pt x="19" y="12"/>
                    <a:pt x="23" y="11"/>
                    <a:pt x="23" y="8"/>
                  </a:cubicBezTo>
                  <a:cubicBezTo>
                    <a:pt x="24" y="5"/>
                    <a:pt x="19" y="3"/>
                    <a:pt x="15" y="1"/>
                  </a:cubicBezTo>
                  <a:cubicBezTo>
                    <a:pt x="13" y="0"/>
                    <a:pt x="10" y="0"/>
                    <a:pt x="7" y="0"/>
                  </a:cubicBezTo>
                  <a:cubicBezTo>
                    <a:pt x="5" y="0"/>
                    <a:pt x="3" y="0"/>
                    <a:pt x="2" y="1"/>
                  </a:cubicBezTo>
                  <a:cubicBezTo>
                    <a:pt x="1" y="2"/>
                    <a:pt x="0" y="3"/>
                    <a:pt x="0" y="4"/>
                  </a:cubicBezTo>
                  <a:cubicBezTo>
                    <a:pt x="1" y="7"/>
                    <a:pt x="6" y="6"/>
                    <a:pt x="9"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46" name="Freeform 6">
              <a:extLst>
                <a:ext uri="{FF2B5EF4-FFF2-40B4-BE49-F238E27FC236}">
                  <a16:creationId xmlns:a16="http://schemas.microsoft.com/office/drawing/2014/main" id="{09078763-523B-4DBC-98FF-FC73164555BA}"/>
                </a:ext>
              </a:extLst>
            </p:cNvPr>
            <p:cNvSpPr>
              <a:spLocks/>
            </p:cNvSpPr>
            <p:nvPr/>
          </p:nvSpPr>
          <p:spPr bwMode="auto">
            <a:xfrm>
              <a:off x="7099" y="1145"/>
              <a:ext cx="7" cy="7"/>
            </a:xfrm>
            <a:custGeom>
              <a:avLst/>
              <a:gdLst>
                <a:gd name="T0" fmla="*/ 5 w 11"/>
                <a:gd name="T1" fmla="*/ 10 h 10"/>
                <a:gd name="T2" fmla="*/ 10 w 11"/>
                <a:gd name="T3" fmla="*/ 4 h 10"/>
                <a:gd name="T4" fmla="*/ 9 w 11"/>
                <a:gd name="T5" fmla="*/ 0 h 10"/>
                <a:gd name="T6" fmla="*/ 8 w 11"/>
                <a:gd name="T7" fmla="*/ 0 h 10"/>
                <a:gd name="T8" fmla="*/ 2 w 11"/>
                <a:gd name="T9" fmla="*/ 8 h 10"/>
                <a:gd name="T10" fmla="*/ 5 w 11"/>
                <a:gd name="T11" fmla="*/ 10 h 10"/>
              </a:gdLst>
              <a:ahLst/>
              <a:cxnLst>
                <a:cxn ang="0">
                  <a:pos x="T0" y="T1"/>
                </a:cxn>
                <a:cxn ang="0">
                  <a:pos x="T2" y="T3"/>
                </a:cxn>
                <a:cxn ang="0">
                  <a:pos x="T4" y="T5"/>
                </a:cxn>
                <a:cxn ang="0">
                  <a:pos x="T6" y="T7"/>
                </a:cxn>
                <a:cxn ang="0">
                  <a:pos x="T8" y="T9"/>
                </a:cxn>
                <a:cxn ang="0">
                  <a:pos x="T10" y="T11"/>
                </a:cxn>
              </a:cxnLst>
              <a:rect l="0" t="0" r="r" b="b"/>
              <a:pathLst>
                <a:path w="11" h="10">
                  <a:moveTo>
                    <a:pt x="5" y="10"/>
                  </a:moveTo>
                  <a:cubicBezTo>
                    <a:pt x="7" y="9"/>
                    <a:pt x="8" y="6"/>
                    <a:pt x="10" y="4"/>
                  </a:cubicBezTo>
                  <a:cubicBezTo>
                    <a:pt x="11" y="4"/>
                    <a:pt x="11" y="1"/>
                    <a:pt x="9" y="0"/>
                  </a:cubicBezTo>
                  <a:cubicBezTo>
                    <a:pt x="9" y="0"/>
                    <a:pt x="9" y="0"/>
                    <a:pt x="8" y="0"/>
                  </a:cubicBezTo>
                  <a:cubicBezTo>
                    <a:pt x="5" y="0"/>
                    <a:pt x="0" y="6"/>
                    <a:pt x="2" y="8"/>
                  </a:cubicBezTo>
                  <a:cubicBezTo>
                    <a:pt x="2" y="9"/>
                    <a:pt x="4" y="10"/>
                    <a:pt x="5"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47" name="Freeform 7">
              <a:extLst>
                <a:ext uri="{FF2B5EF4-FFF2-40B4-BE49-F238E27FC236}">
                  <a16:creationId xmlns:a16="http://schemas.microsoft.com/office/drawing/2014/main" id="{95295BAF-4458-49C3-AE19-B5DB30A4616F}"/>
                </a:ext>
              </a:extLst>
            </p:cNvPr>
            <p:cNvSpPr>
              <a:spLocks noEditPoints="1"/>
            </p:cNvSpPr>
            <p:nvPr/>
          </p:nvSpPr>
          <p:spPr bwMode="auto">
            <a:xfrm>
              <a:off x="6796" y="954"/>
              <a:ext cx="721" cy="843"/>
            </a:xfrm>
            <a:custGeom>
              <a:avLst/>
              <a:gdLst>
                <a:gd name="T0" fmla="*/ 956 w 1034"/>
                <a:gd name="T1" fmla="*/ 931 h 1208"/>
                <a:gd name="T2" fmla="*/ 903 w 1034"/>
                <a:gd name="T3" fmla="*/ 837 h 1208"/>
                <a:gd name="T4" fmla="*/ 762 w 1034"/>
                <a:gd name="T5" fmla="*/ 437 h 1208"/>
                <a:gd name="T6" fmla="*/ 623 w 1034"/>
                <a:gd name="T7" fmla="*/ 35 h 1208"/>
                <a:gd name="T8" fmla="*/ 356 w 1034"/>
                <a:gd name="T9" fmla="*/ 386 h 1208"/>
                <a:gd name="T10" fmla="*/ 221 w 1034"/>
                <a:gd name="T11" fmla="*/ 622 h 1208"/>
                <a:gd name="T12" fmla="*/ 151 w 1034"/>
                <a:gd name="T13" fmla="*/ 820 h 1208"/>
                <a:gd name="T14" fmla="*/ 85 w 1034"/>
                <a:gd name="T15" fmla="*/ 867 h 1208"/>
                <a:gd name="T16" fmla="*/ 18 w 1034"/>
                <a:gd name="T17" fmla="*/ 1031 h 1208"/>
                <a:gd name="T18" fmla="*/ 28 w 1034"/>
                <a:gd name="T19" fmla="*/ 1124 h 1208"/>
                <a:gd name="T20" fmla="*/ 313 w 1034"/>
                <a:gd name="T21" fmla="*/ 1207 h 1208"/>
                <a:gd name="T22" fmla="*/ 471 w 1034"/>
                <a:gd name="T23" fmla="*/ 1119 h 1208"/>
                <a:gd name="T24" fmla="*/ 664 w 1034"/>
                <a:gd name="T25" fmla="*/ 1167 h 1208"/>
                <a:gd name="T26" fmla="*/ 899 w 1034"/>
                <a:gd name="T27" fmla="*/ 1119 h 1208"/>
                <a:gd name="T28" fmla="*/ 773 w 1034"/>
                <a:gd name="T29" fmla="*/ 587 h 1208"/>
                <a:gd name="T30" fmla="*/ 856 w 1034"/>
                <a:gd name="T31" fmla="*/ 806 h 1208"/>
                <a:gd name="T32" fmla="*/ 783 w 1034"/>
                <a:gd name="T33" fmla="*/ 812 h 1208"/>
                <a:gd name="T34" fmla="*/ 815 w 1034"/>
                <a:gd name="T35" fmla="*/ 670 h 1208"/>
                <a:gd name="T36" fmla="*/ 617 w 1034"/>
                <a:gd name="T37" fmla="*/ 187 h 1208"/>
                <a:gd name="T38" fmla="*/ 566 w 1034"/>
                <a:gd name="T39" fmla="*/ 170 h 1208"/>
                <a:gd name="T40" fmla="*/ 569 w 1034"/>
                <a:gd name="T41" fmla="*/ 288 h 1208"/>
                <a:gd name="T42" fmla="*/ 547 w 1034"/>
                <a:gd name="T43" fmla="*/ 216 h 1208"/>
                <a:gd name="T44" fmla="*/ 512 w 1034"/>
                <a:gd name="T45" fmla="*/ 254 h 1208"/>
                <a:gd name="T46" fmla="*/ 584 w 1034"/>
                <a:gd name="T47" fmla="*/ 248 h 1208"/>
                <a:gd name="T48" fmla="*/ 424 w 1034"/>
                <a:gd name="T49" fmla="*/ 156 h 1208"/>
                <a:gd name="T50" fmla="*/ 407 w 1034"/>
                <a:gd name="T51" fmla="*/ 153 h 1208"/>
                <a:gd name="T52" fmla="*/ 457 w 1034"/>
                <a:gd name="T53" fmla="*/ 249 h 1208"/>
                <a:gd name="T54" fmla="*/ 393 w 1034"/>
                <a:gd name="T55" fmla="*/ 225 h 1208"/>
                <a:gd name="T56" fmla="*/ 391 w 1034"/>
                <a:gd name="T57" fmla="*/ 301 h 1208"/>
                <a:gd name="T58" fmla="*/ 413 w 1034"/>
                <a:gd name="T59" fmla="*/ 225 h 1208"/>
                <a:gd name="T60" fmla="*/ 374 w 1034"/>
                <a:gd name="T61" fmla="*/ 330 h 1208"/>
                <a:gd name="T62" fmla="*/ 589 w 1034"/>
                <a:gd name="T63" fmla="*/ 298 h 1208"/>
                <a:gd name="T64" fmla="*/ 613 w 1034"/>
                <a:gd name="T65" fmla="*/ 346 h 1208"/>
                <a:gd name="T66" fmla="*/ 435 w 1034"/>
                <a:gd name="T67" fmla="*/ 416 h 1208"/>
                <a:gd name="T68" fmla="*/ 486 w 1034"/>
                <a:gd name="T69" fmla="*/ 387 h 1208"/>
                <a:gd name="T70" fmla="*/ 593 w 1034"/>
                <a:gd name="T71" fmla="*/ 331 h 1208"/>
                <a:gd name="T72" fmla="*/ 584 w 1034"/>
                <a:gd name="T73" fmla="*/ 322 h 1208"/>
                <a:gd name="T74" fmla="*/ 410 w 1034"/>
                <a:gd name="T75" fmla="*/ 370 h 1208"/>
                <a:gd name="T76" fmla="*/ 372 w 1034"/>
                <a:gd name="T77" fmla="*/ 352 h 1208"/>
                <a:gd name="T78" fmla="*/ 245 w 1034"/>
                <a:gd name="T79" fmla="*/ 1165 h 1208"/>
                <a:gd name="T80" fmla="*/ 34 w 1034"/>
                <a:gd name="T81" fmla="*/ 1034 h 1208"/>
                <a:gd name="T82" fmla="*/ 108 w 1034"/>
                <a:gd name="T83" fmla="*/ 878 h 1208"/>
                <a:gd name="T84" fmla="*/ 220 w 1034"/>
                <a:gd name="T85" fmla="*/ 819 h 1208"/>
                <a:gd name="T86" fmla="*/ 584 w 1034"/>
                <a:gd name="T87" fmla="*/ 1049 h 1208"/>
                <a:gd name="T88" fmla="*/ 260 w 1034"/>
                <a:gd name="T89" fmla="*/ 845 h 1208"/>
                <a:gd name="T90" fmla="*/ 273 w 1034"/>
                <a:gd name="T91" fmla="*/ 598 h 1208"/>
                <a:gd name="T92" fmla="*/ 250 w 1034"/>
                <a:gd name="T93" fmla="*/ 769 h 1208"/>
                <a:gd name="T94" fmla="*/ 390 w 1034"/>
                <a:gd name="T95" fmla="*/ 382 h 1208"/>
                <a:gd name="T96" fmla="*/ 503 w 1034"/>
                <a:gd name="T97" fmla="*/ 431 h 1208"/>
                <a:gd name="T98" fmla="*/ 603 w 1034"/>
                <a:gd name="T99" fmla="*/ 381 h 1208"/>
                <a:gd name="T100" fmla="*/ 722 w 1034"/>
                <a:gd name="T101" fmla="*/ 607 h 1208"/>
                <a:gd name="T102" fmla="*/ 685 w 1034"/>
                <a:gd name="T103" fmla="*/ 830 h 1208"/>
                <a:gd name="T104" fmla="*/ 1003 w 1034"/>
                <a:gd name="T105" fmla="*/ 1035 h 1208"/>
                <a:gd name="T106" fmla="*/ 678 w 1034"/>
                <a:gd name="T107" fmla="*/ 1154 h 1208"/>
                <a:gd name="T108" fmla="*/ 712 w 1034"/>
                <a:gd name="T109" fmla="*/ 832 h 1208"/>
                <a:gd name="T110" fmla="*/ 914 w 1034"/>
                <a:gd name="T111" fmla="*/ 856 h 1208"/>
                <a:gd name="T112" fmla="*/ 1002 w 1034"/>
                <a:gd name="T113" fmla="*/ 986 h 1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34" h="1208">
                  <a:moveTo>
                    <a:pt x="1026" y="993"/>
                  </a:moveTo>
                  <a:cubicBezTo>
                    <a:pt x="1022" y="986"/>
                    <a:pt x="1016" y="981"/>
                    <a:pt x="1012" y="978"/>
                  </a:cubicBezTo>
                  <a:cubicBezTo>
                    <a:pt x="1009" y="975"/>
                    <a:pt x="1006" y="973"/>
                    <a:pt x="1003" y="972"/>
                  </a:cubicBezTo>
                  <a:cubicBezTo>
                    <a:pt x="1002" y="971"/>
                    <a:pt x="1001" y="970"/>
                    <a:pt x="1000" y="969"/>
                  </a:cubicBezTo>
                  <a:cubicBezTo>
                    <a:pt x="996" y="966"/>
                    <a:pt x="992" y="963"/>
                    <a:pt x="988" y="960"/>
                  </a:cubicBezTo>
                  <a:cubicBezTo>
                    <a:pt x="984" y="957"/>
                    <a:pt x="980" y="953"/>
                    <a:pt x="976" y="950"/>
                  </a:cubicBezTo>
                  <a:cubicBezTo>
                    <a:pt x="966" y="943"/>
                    <a:pt x="960" y="937"/>
                    <a:pt x="956" y="931"/>
                  </a:cubicBezTo>
                  <a:cubicBezTo>
                    <a:pt x="956" y="931"/>
                    <a:pt x="955" y="931"/>
                    <a:pt x="955" y="930"/>
                  </a:cubicBezTo>
                  <a:cubicBezTo>
                    <a:pt x="948" y="923"/>
                    <a:pt x="945" y="917"/>
                    <a:pt x="944" y="910"/>
                  </a:cubicBezTo>
                  <a:cubicBezTo>
                    <a:pt x="943" y="906"/>
                    <a:pt x="943" y="901"/>
                    <a:pt x="943" y="894"/>
                  </a:cubicBezTo>
                  <a:cubicBezTo>
                    <a:pt x="943" y="893"/>
                    <a:pt x="943" y="892"/>
                    <a:pt x="943" y="892"/>
                  </a:cubicBezTo>
                  <a:cubicBezTo>
                    <a:pt x="942" y="884"/>
                    <a:pt x="941" y="876"/>
                    <a:pt x="937" y="867"/>
                  </a:cubicBezTo>
                  <a:cubicBezTo>
                    <a:pt x="934" y="862"/>
                    <a:pt x="931" y="856"/>
                    <a:pt x="925" y="850"/>
                  </a:cubicBezTo>
                  <a:cubicBezTo>
                    <a:pt x="919" y="843"/>
                    <a:pt x="909" y="839"/>
                    <a:pt x="903" y="837"/>
                  </a:cubicBezTo>
                  <a:cubicBezTo>
                    <a:pt x="903" y="837"/>
                    <a:pt x="903" y="837"/>
                    <a:pt x="902" y="837"/>
                  </a:cubicBezTo>
                  <a:cubicBezTo>
                    <a:pt x="908" y="826"/>
                    <a:pt x="911" y="814"/>
                    <a:pt x="914" y="803"/>
                  </a:cubicBezTo>
                  <a:cubicBezTo>
                    <a:pt x="919" y="776"/>
                    <a:pt x="916" y="747"/>
                    <a:pt x="911" y="720"/>
                  </a:cubicBezTo>
                  <a:cubicBezTo>
                    <a:pt x="905" y="682"/>
                    <a:pt x="894" y="646"/>
                    <a:pt x="880" y="610"/>
                  </a:cubicBezTo>
                  <a:cubicBezTo>
                    <a:pt x="869" y="584"/>
                    <a:pt x="857" y="558"/>
                    <a:pt x="841" y="536"/>
                  </a:cubicBezTo>
                  <a:cubicBezTo>
                    <a:pt x="824" y="514"/>
                    <a:pt x="803" y="496"/>
                    <a:pt x="787" y="473"/>
                  </a:cubicBezTo>
                  <a:cubicBezTo>
                    <a:pt x="778" y="461"/>
                    <a:pt x="771" y="449"/>
                    <a:pt x="762" y="437"/>
                  </a:cubicBezTo>
                  <a:cubicBezTo>
                    <a:pt x="759" y="430"/>
                    <a:pt x="755" y="422"/>
                    <a:pt x="752" y="415"/>
                  </a:cubicBezTo>
                  <a:cubicBezTo>
                    <a:pt x="741" y="392"/>
                    <a:pt x="732" y="369"/>
                    <a:pt x="719" y="346"/>
                  </a:cubicBezTo>
                  <a:cubicBezTo>
                    <a:pt x="717" y="343"/>
                    <a:pt x="715" y="339"/>
                    <a:pt x="713" y="336"/>
                  </a:cubicBezTo>
                  <a:cubicBezTo>
                    <a:pt x="711" y="315"/>
                    <a:pt x="709" y="294"/>
                    <a:pt x="708" y="273"/>
                  </a:cubicBezTo>
                  <a:cubicBezTo>
                    <a:pt x="706" y="230"/>
                    <a:pt x="708" y="186"/>
                    <a:pt x="697" y="145"/>
                  </a:cubicBezTo>
                  <a:cubicBezTo>
                    <a:pt x="692" y="125"/>
                    <a:pt x="683" y="106"/>
                    <a:pt x="672" y="89"/>
                  </a:cubicBezTo>
                  <a:cubicBezTo>
                    <a:pt x="659" y="68"/>
                    <a:pt x="642" y="50"/>
                    <a:pt x="623" y="35"/>
                  </a:cubicBezTo>
                  <a:cubicBezTo>
                    <a:pt x="591" y="12"/>
                    <a:pt x="552" y="1"/>
                    <a:pt x="513" y="0"/>
                  </a:cubicBezTo>
                  <a:cubicBezTo>
                    <a:pt x="485" y="0"/>
                    <a:pt x="456" y="6"/>
                    <a:pt x="430" y="19"/>
                  </a:cubicBezTo>
                  <a:cubicBezTo>
                    <a:pt x="403" y="34"/>
                    <a:pt x="382" y="57"/>
                    <a:pt x="368" y="84"/>
                  </a:cubicBezTo>
                  <a:cubicBezTo>
                    <a:pt x="354" y="112"/>
                    <a:pt x="349" y="142"/>
                    <a:pt x="348" y="173"/>
                  </a:cubicBezTo>
                  <a:cubicBezTo>
                    <a:pt x="347" y="203"/>
                    <a:pt x="350" y="233"/>
                    <a:pt x="351" y="262"/>
                  </a:cubicBezTo>
                  <a:cubicBezTo>
                    <a:pt x="352" y="294"/>
                    <a:pt x="352" y="325"/>
                    <a:pt x="354" y="356"/>
                  </a:cubicBezTo>
                  <a:cubicBezTo>
                    <a:pt x="355" y="366"/>
                    <a:pt x="356" y="376"/>
                    <a:pt x="356" y="386"/>
                  </a:cubicBezTo>
                  <a:cubicBezTo>
                    <a:pt x="356" y="391"/>
                    <a:pt x="356" y="395"/>
                    <a:pt x="356" y="400"/>
                  </a:cubicBezTo>
                  <a:cubicBezTo>
                    <a:pt x="356" y="401"/>
                    <a:pt x="355" y="401"/>
                    <a:pt x="355" y="402"/>
                  </a:cubicBezTo>
                  <a:cubicBezTo>
                    <a:pt x="351" y="412"/>
                    <a:pt x="346" y="421"/>
                    <a:pt x="341" y="430"/>
                  </a:cubicBezTo>
                  <a:cubicBezTo>
                    <a:pt x="331" y="443"/>
                    <a:pt x="321" y="455"/>
                    <a:pt x="311" y="468"/>
                  </a:cubicBezTo>
                  <a:cubicBezTo>
                    <a:pt x="299" y="482"/>
                    <a:pt x="288" y="497"/>
                    <a:pt x="276" y="511"/>
                  </a:cubicBezTo>
                  <a:cubicBezTo>
                    <a:pt x="262" y="529"/>
                    <a:pt x="248" y="546"/>
                    <a:pt x="239" y="567"/>
                  </a:cubicBezTo>
                  <a:cubicBezTo>
                    <a:pt x="231" y="584"/>
                    <a:pt x="227" y="604"/>
                    <a:pt x="221" y="622"/>
                  </a:cubicBezTo>
                  <a:cubicBezTo>
                    <a:pt x="215" y="643"/>
                    <a:pt x="207" y="664"/>
                    <a:pt x="198" y="683"/>
                  </a:cubicBezTo>
                  <a:cubicBezTo>
                    <a:pt x="189" y="702"/>
                    <a:pt x="179" y="720"/>
                    <a:pt x="170" y="738"/>
                  </a:cubicBezTo>
                  <a:cubicBezTo>
                    <a:pt x="163" y="751"/>
                    <a:pt x="156" y="764"/>
                    <a:pt x="153" y="778"/>
                  </a:cubicBezTo>
                  <a:cubicBezTo>
                    <a:pt x="151" y="790"/>
                    <a:pt x="153" y="802"/>
                    <a:pt x="156" y="813"/>
                  </a:cubicBezTo>
                  <a:cubicBezTo>
                    <a:pt x="156" y="813"/>
                    <a:pt x="156" y="814"/>
                    <a:pt x="156" y="814"/>
                  </a:cubicBezTo>
                  <a:cubicBezTo>
                    <a:pt x="155" y="816"/>
                    <a:pt x="153" y="817"/>
                    <a:pt x="152" y="819"/>
                  </a:cubicBezTo>
                  <a:cubicBezTo>
                    <a:pt x="151" y="819"/>
                    <a:pt x="151" y="820"/>
                    <a:pt x="151" y="820"/>
                  </a:cubicBezTo>
                  <a:cubicBezTo>
                    <a:pt x="147" y="824"/>
                    <a:pt x="142" y="831"/>
                    <a:pt x="138" y="840"/>
                  </a:cubicBezTo>
                  <a:cubicBezTo>
                    <a:pt x="135" y="845"/>
                    <a:pt x="132" y="850"/>
                    <a:pt x="130" y="854"/>
                  </a:cubicBezTo>
                  <a:cubicBezTo>
                    <a:pt x="126" y="858"/>
                    <a:pt x="123" y="861"/>
                    <a:pt x="119" y="864"/>
                  </a:cubicBezTo>
                  <a:cubicBezTo>
                    <a:pt x="115" y="866"/>
                    <a:pt x="111" y="867"/>
                    <a:pt x="107" y="867"/>
                  </a:cubicBezTo>
                  <a:cubicBezTo>
                    <a:pt x="106" y="867"/>
                    <a:pt x="106" y="867"/>
                    <a:pt x="105" y="867"/>
                  </a:cubicBezTo>
                  <a:cubicBezTo>
                    <a:pt x="101" y="868"/>
                    <a:pt x="97" y="867"/>
                    <a:pt x="93" y="867"/>
                  </a:cubicBezTo>
                  <a:cubicBezTo>
                    <a:pt x="90" y="867"/>
                    <a:pt x="88" y="867"/>
                    <a:pt x="85" y="867"/>
                  </a:cubicBezTo>
                  <a:cubicBezTo>
                    <a:pt x="78" y="867"/>
                    <a:pt x="69" y="867"/>
                    <a:pt x="61" y="869"/>
                  </a:cubicBezTo>
                  <a:cubicBezTo>
                    <a:pt x="50" y="871"/>
                    <a:pt x="41" y="876"/>
                    <a:pt x="34" y="883"/>
                  </a:cubicBezTo>
                  <a:cubicBezTo>
                    <a:pt x="26" y="890"/>
                    <a:pt x="21" y="900"/>
                    <a:pt x="19" y="911"/>
                  </a:cubicBezTo>
                  <a:cubicBezTo>
                    <a:pt x="17" y="919"/>
                    <a:pt x="17" y="928"/>
                    <a:pt x="18" y="938"/>
                  </a:cubicBezTo>
                  <a:cubicBezTo>
                    <a:pt x="19" y="947"/>
                    <a:pt x="20" y="956"/>
                    <a:pt x="21" y="964"/>
                  </a:cubicBezTo>
                  <a:cubicBezTo>
                    <a:pt x="22" y="973"/>
                    <a:pt x="23" y="981"/>
                    <a:pt x="23" y="989"/>
                  </a:cubicBezTo>
                  <a:cubicBezTo>
                    <a:pt x="24" y="1007"/>
                    <a:pt x="22" y="1021"/>
                    <a:pt x="18" y="1031"/>
                  </a:cubicBezTo>
                  <a:cubicBezTo>
                    <a:pt x="17" y="1032"/>
                    <a:pt x="17" y="1032"/>
                    <a:pt x="17" y="1032"/>
                  </a:cubicBezTo>
                  <a:cubicBezTo>
                    <a:pt x="16" y="1036"/>
                    <a:pt x="14" y="1039"/>
                    <a:pt x="12" y="1043"/>
                  </a:cubicBezTo>
                  <a:cubicBezTo>
                    <a:pt x="9" y="1049"/>
                    <a:pt x="6" y="1055"/>
                    <a:pt x="4" y="1062"/>
                  </a:cubicBezTo>
                  <a:cubicBezTo>
                    <a:pt x="1" y="1068"/>
                    <a:pt x="0" y="1075"/>
                    <a:pt x="0" y="1082"/>
                  </a:cubicBezTo>
                  <a:cubicBezTo>
                    <a:pt x="0" y="1086"/>
                    <a:pt x="0" y="1096"/>
                    <a:pt x="5" y="1104"/>
                  </a:cubicBezTo>
                  <a:cubicBezTo>
                    <a:pt x="5" y="1105"/>
                    <a:pt x="5" y="1105"/>
                    <a:pt x="6" y="1106"/>
                  </a:cubicBezTo>
                  <a:cubicBezTo>
                    <a:pt x="11" y="1113"/>
                    <a:pt x="18" y="1119"/>
                    <a:pt x="28" y="1124"/>
                  </a:cubicBezTo>
                  <a:cubicBezTo>
                    <a:pt x="35" y="1128"/>
                    <a:pt x="43" y="1130"/>
                    <a:pt x="52" y="1132"/>
                  </a:cubicBezTo>
                  <a:cubicBezTo>
                    <a:pt x="57" y="1133"/>
                    <a:pt x="63" y="1135"/>
                    <a:pt x="69" y="1137"/>
                  </a:cubicBezTo>
                  <a:cubicBezTo>
                    <a:pt x="78" y="1140"/>
                    <a:pt x="86" y="1143"/>
                    <a:pt x="95" y="1145"/>
                  </a:cubicBezTo>
                  <a:cubicBezTo>
                    <a:pt x="114" y="1151"/>
                    <a:pt x="134" y="1156"/>
                    <a:pt x="154" y="1160"/>
                  </a:cubicBezTo>
                  <a:cubicBezTo>
                    <a:pt x="183" y="1166"/>
                    <a:pt x="211" y="1173"/>
                    <a:pt x="238" y="1183"/>
                  </a:cubicBezTo>
                  <a:cubicBezTo>
                    <a:pt x="244" y="1185"/>
                    <a:pt x="249" y="1187"/>
                    <a:pt x="255" y="1190"/>
                  </a:cubicBezTo>
                  <a:cubicBezTo>
                    <a:pt x="273" y="1198"/>
                    <a:pt x="292" y="1206"/>
                    <a:pt x="313" y="1207"/>
                  </a:cubicBezTo>
                  <a:cubicBezTo>
                    <a:pt x="314" y="1207"/>
                    <a:pt x="314" y="1207"/>
                    <a:pt x="314" y="1207"/>
                  </a:cubicBezTo>
                  <a:cubicBezTo>
                    <a:pt x="333" y="1207"/>
                    <a:pt x="351" y="1202"/>
                    <a:pt x="366" y="1193"/>
                  </a:cubicBezTo>
                  <a:cubicBezTo>
                    <a:pt x="382" y="1183"/>
                    <a:pt x="395" y="1170"/>
                    <a:pt x="404" y="1154"/>
                  </a:cubicBezTo>
                  <a:cubicBezTo>
                    <a:pt x="404" y="1154"/>
                    <a:pt x="404" y="1154"/>
                    <a:pt x="404" y="1153"/>
                  </a:cubicBezTo>
                  <a:cubicBezTo>
                    <a:pt x="409" y="1145"/>
                    <a:pt x="412" y="1135"/>
                    <a:pt x="414" y="1125"/>
                  </a:cubicBezTo>
                  <a:cubicBezTo>
                    <a:pt x="428" y="1122"/>
                    <a:pt x="442" y="1120"/>
                    <a:pt x="457" y="1119"/>
                  </a:cubicBezTo>
                  <a:cubicBezTo>
                    <a:pt x="461" y="1119"/>
                    <a:pt x="466" y="1119"/>
                    <a:pt x="471" y="1119"/>
                  </a:cubicBezTo>
                  <a:cubicBezTo>
                    <a:pt x="483" y="1120"/>
                    <a:pt x="496" y="1120"/>
                    <a:pt x="508" y="1120"/>
                  </a:cubicBezTo>
                  <a:cubicBezTo>
                    <a:pt x="509" y="1120"/>
                    <a:pt x="510" y="1120"/>
                    <a:pt x="511" y="1120"/>
                  </a:cubicBezTo>
                  <a:cubicBezTo>
                    <a:pt x="515" y="1120"/>
                    <a:pt x="518" y="1120"/>
                    <a:pt x="522" y="1121"/>
                  </a:cubicBezTo>
                  <a:cubicBezTo>
                    <a:pt x="544" y="1122"/>
                    <a:pt x="566" y="1124"/>
                    <a:pt x="588" y="1127"/>
                  </a:cubicBezTo>
                  <a:cubicBezTo>
                    <a:pt x="607" y="1130"/>
                    <a:pt x="626" y="1134"/>
                    <a:pt x="645" y="1139"/>
                  </a:cubicBezTo>
                  <a:cubicBezTo>
                    <a:pt x="648" y="1140"/>
                    <a:pt x="651" y="1140"/>
                    <a:pt x="654" y="1141"/>
                  </a:cubicBezTo>
                  <a:cubicBezTo>
                    <a:pt x="655" y="1150"/>
                    <a:pt x="658" y="1159"/>
                    <a:pt x="664" y="1167"/>
                  </a:cubicBezTo>
                  <a:cubicBezTo>
                    <a:pt x="674" y="1183"/>
                    <a:pt x="691" y="1192"/>
                    <a:pt x="703" y="1197"/>
                  </a:cubicBezTo>
                  <a:cubicBezTo>
                    <a:pt x="720" y="1204"/>
                    <a:pt x="737" y="1208"/>
                    <a:pt x="753" y="1208"/>
                  </a:cubicBezTo>
                  <a:cubicBezTo>
                    <a:pt x="758" y="1208"/>
                    <a:pt x="763" y="1208"/>
                    <a:pt x="768" y="1207"/>
                  </a:cubicBezTo>
                  <a:cubicBezTo>
                    <a:pt x="786" y="1205"/>
                    <a:pt x="803" y="1197"/>
                    <a:pt x="821" y="1185"/>
                  </a:cubicBezTo>
                  <a:cubicBezTo>
                    <a:pt x="830" y="1177"/>
                    <a:pt x="840" y="1169"/>
                    <a:pt x="848" y="1161"/>
                  </a:cubicBezTo>
                  <a:cubicBezTo>
                    <a:pt x="851" y="1158"/>
                    <a:pt x="854" y="1155"/>
                    <a:pt x="857" y="1153"/>
                  </a:cubicBezTo>
                  <a:cubicBezTo>
                    <a:pt x="869" y="1142"/>
                    <a:pt x="883" y="1129"/>
                    <a:pt x="899" y="1119"/>
                  </a:cubicBezTo>
                  <a:cubicBezTo>
                    <a:pt x="914" y="1110"/>
                    <a:pt x="930" y="1102"/>
                    <a:pt x="947" y="1093"/>
                  </a:cubicBezTo>
                  <a:cubicBezTo>
                    <a:pt x="955" y="1089"/>
                    <a:pt x="963" y="1085"/>
                    <a:pt x="971" y="1081"/>
                  </a:cubicBezTo>
                  <a:cubicBezTo>
                    <a:pt x="986" y="1074"/>
                    <a:pt x="1003" y="1065"/>
                    <a:pt x="1016" y="1049"/>
                  </a:cubicBezTo>
                  <a:cubicBezTo>
                    <a:pt x="1022" y="1042"/>
                    <a:pt x="1026" y="1035"/>
                    <a:pt x="1030" y="1026"/>
                  </a:cubicBezTo>
                  <a:cubicBezTo>
                    <a:pt x="1030" y="1026"/>
                    <a:pt x="1030" y="1025"/>
                    <a:pt x="1030" y="1025"/>
                  </a:cubicBezTo>
                  <a:cubicBezTo>
                    <a:pt x="1034" y="1014"/>
                    <a:pt x="1032" y="1003"/>
                    <a:pt x="1026" y="993"/>
                  </a:cubicBezTo>
                  <a:close/>
                  <a:moveTo>
                    <a:pt x="773" y="587"/>
                  </a:moveTo>
                  <a:cubicBezTo>
                    <a:pt x="799" y="606"/>
                    <a:pt x="817" y="635"/>
                    <a:pt x="822" y="667"/>
                  </a:cubicBezTo>
                  <a:cubicBezTo>
                    <a:pt x="827" y="692"/>
                    <a:pt x="827" y="713"/>
                    <a:pt x="820" y="742"/>
                  </a:cubicBezTo>
                  <a:cubicBezTo>
                    <a:pt x="815" y="761"/>
                    <a:pt x="808" y="779"/>
                    <a:pt x="801" y="798"/>
                  </a:cubicBezTo>
                  <a:cubicBezTo>
                    <a:pt x="808" y="798"/>
                    <a:pt x="814" y="798"/>
                    <a:pt x="821" y="799"/>
                  </a:cubicBezTo>
                  <a:cubicBezTo>
                    <a:pt x="828" y="801"/>
                    <a:pt x="835" y="802"/>
                    <a:pt x="842" y="803"/>
                  </a:cubicBezTo>
                  <a:cubicBezTo>
                    <a:pt x="844" y="803"/>
                    <a:pt x="846" y="804"/>
                    <a:pt x="848" y="804"/>
                  </a:cubicBezTo>
                  <a:cubicBezTo>
                    <a:pt x="851" y="805"/>
                    <a:pt x="853" y="805"/>
                    <a:pt x="856" y="806"/>
                  </a:cubicBezTo>
                  <a:cubicBezTo>
                    <a:pt x="851" y="805"/>
                    <a:pt x="846" y="805"/>
                    <a:pt x="842" y="805"/>
                  </a:cubicBezTo>
                  <a:cubicBezTo>
                    <a:pt x="836" y="805"/>
                    <a:pt x="831" y="805"/>
                    <a:pt x="826" y="805"/>
                  </a:cubicBezTo>
                  <a:cubicBezTo>
                    <a:pt x="820" y="805"/>
                    <a:pt x="814" y="805"/>
                    <a:pt x="808" y="806"/>
                  </a:cubicBezTo>
                  <a:cubicBezTo>
                    <a:pt x="804" y="806"/>
                    <a:pt x="801" y="807"/>
                    <a:pt x="797" y="807"/>
                  </a:cubicBezTo>
                  <a:cubicBezTo>
                    <a:pt x="795" y="808"/>
                    <a:pt x="792" y="808"/>
                    <a:pt x="790" y="809"/>
                  </a:cubicBezTo>
                  <a:cubicBezTo>
                    <a:pt x="790" y="810"/>
                    <a:pt x="790" y="810"/>
                    <a:pt x="790" y="809"/>
                  </a:cubicBezTo>
                  <a:cubicBezTo>
                    <a:pt x="788" y="810"/>
                    <a:pt x="785" y="811"/>
                    <a:pt x="783" y="812"/>
                  </a:cubicBezTo>
                  <a:cubicBezTo>
                    <a:pt x="776" y="815"/>
                    <a:pt x="771" y="819"/>
                    <a:pt x="765" y="823"/>
                  </a:cubicBezTo>
                  <a:cubicBezTo>
                    <a:pt x="764" y="824"/>
                    <a:pt x="762" y="824"/>
                    <a:pt x="761" y="825"/>
                  </a:cubicBezTo>
                  <a:cubicBezTo>
                    <a:pt x="764" y="820"/>
                    <a:pt x="768" y="814"/>
                    <a:pt x="773" y="810"/>
                  </a:cubicBezTo>
                  <a:cubicBezTo>
                    <a:pt x="779" y="804"/>
                    <a:pt x="786" y="800"/>
                    <a:pt x="794" y="799"/>
                  </a:cubicBezTo>
                  <a:cubicBezTo>
                    <a:pt x="794" y="799"/>
                    <a:pt x="794" y="799"/>
                    <a:pt x="794" y="799"/>
                  </a:cubicBezTo>
                  <a:cubicBezTo>
                    <a:pt x="800" y="781"/>
                    <a:pt x="806" y="762"/>
                    <a:pt x="811" y="743"/>
                  </a:cubicBezTo>
                  <a:cubicBezTo>
                    <a:pt x="816" y="719"/>
                    <a:pt x="819" y="694"/>
                    <a:pt x="815" y="670"/>
                  </a:cubicBezTo>
                  <a:cubicBezTo>
                    <a:pt x="810" y="640"/>
                    <a:pt x="795" y="610"/>
                    <a:pt x="770" y="590"/>
                  </a:cubicBezTo>
                  <a:cubicBezTo>
                    <a:pt x="757" y="579"/>
                    <a:pt x="740" y="571"/>
                    <a:pt x="726" y="560"/>
                  </a:cubicBezTo>
                  <a:cubicBezTo>
                    <a:pt x="742" y="569"/>
                    <a:pt x="758" y="576"/>
                    <a:pt x="773" y="587"/>
                  </a:cubicBezTo>
                  <a:close/>
                  <a:moveTo>
                    <a:pt x="575" y="143"/>
                  </a:moveTo>
                  <a:cubicBezTo>
                    <a:pt x="581" y="143"/>
                    <a:pt x="586" y="143"/>
                    <a:pt x="592" y="147"/>
                  </a:cubicBezTo>
                  <a:cubicBezTo>
                    <a:pt x="605" y="156"/>
                    <a:pt x="611" y="165"/>
                    <a:pt x="616" y="177"/>
                  </a:cubicBezTo>
                  <a:cubicBezTo>
                    <a:pt x="617" y="180"/>
                    <a:pt x="618" y="185"/>
                    <a:pt x="617" y="187"/>
                  </a:cubicBezTo>
                  <a:cubicBezTo>
                    <a:pt x="610" y="174"/>
                    <a:pt x="601" y="162"/>
                    <a:pt x="589" y="154"/>
                  </a:cubicBezTo>
                  <a:cubicBezTo>
                    <a:pt x="583" y="150"/>
                    <a:pt x="576" y="147"/>
                    <a:pt x="569" y="146"/>
                  </a:cubicBezTo>
                  <a:cubicBezTo>
                    <a:pt x="570" y="143"/>
                    <a:pt x="573" y="143"/>
                    <a:pt x="575" y="143"/>
                  </a:cubicBezTo>
                  <a:close/>
                  <a:moveTo>
                    <a:pt x="508" y="209"/>
                  </a:moveTo>
                  <a:cubicBezTo>
                    <a:pt x="513" y="196"/>
                    <a:pt x="522" y="186"/>
                    <a:pt x="533" y="178"/>
                  </a:cubicBezTo>
                  <a:cubicBezTo>
                    <a:pt x="536" y="176"/>
                    <a:pt x="540" y="174"/>
                    <a:pt x="544" y="172"/>
                  </a:cubicBezTo>
                  <a:cubicBezTo>
                    <a:pt x="551" y="169"/>
                    <a:pt x="558" y="169"/>
                    <a:pt x="566" y="170"/>
                  </a:cubicBezTo>
                  <a:cubicBezTo>
                    <a:pt x="573" y="171"/>
                    <a:pt x="580" y="173"/>
                    <a:pt x="586" y="177"/>
                  </a:cubicBezTo>
                  <a:cubicBezTo>
                    <a:pt x="598" y="185"/>
                    <a:pt x="607" y="198"/>
                    <a:pt x="612" y="212"/>
                  </a:cubicBezTo>
                  <a:cubicBezTo>
                    <a:pt x="616" y="225"/>
                    <a:pt x="618" y="238"/>
                    <a:pt x="617" y="252"/>
                  </a:cubicBezTo>
                  <a:cubicBezTo>
                    <a:pt x="616" y="263"/>
                    <a:pt x="615" y="273"/>
                    <a:pt x="610" y="283"/>
                  </a:cubicBezTo>
                  <a:cubicBezTo>
                    <a:pt x="608" y="288"/>
                    <a:pt x="605" y="293"/>
                    <a:pt x="601" y="297"/>
                  </a:cubicBezTo>
                  <a:cubicBezTo>
                    <a:pt x="596" y="296"/>
                    <a:pt x="592" y="295"/>
                    <a:pt x="589" y="294"/>
                  </a:cubicBezTo>
                  <a:cubicBezTo>
                    <a:pt x="582" y="292"/>
                    <a:pt x="575" y="290"/>
                    <a:pt x="569" y="288"/>
                  </a:cubicBezTo>
                  <a:cubicBezTo>
                    <a:pt x="573" y="287"/>
                    <a:pt x="576" y="286"/>
                    <a:pt x="580" y="284"/>
                  </a:cubicBezTo>
                  <a:cubicBezTo>
                    <a:pt x="584" y="281"/>
                    <a:pt x="587" y="277"/>
                    <a:pt x="590" y="272"/>
                  </a:cubicBezTo>
                  <a:cubicBezTo>
                    <a:pt x="592" y="268"/>
                    <a:pt x="594" y="263"/>
                    <a:pt x="594" y="258"/>
                  </a:cubicBezTo>
                  <a:cubicBezTo>
                    <a:pt x="595" y="249"/>
                    <a:pt x="594" y="239"/>
                    <a:pt x="590" y="231"/>
                  </a:cubicBezTo>
                  <a:cubicBezTo>
                    <a:pt x="586" y="223"/>
                    <a:pt x="579" y="216"/>
                    <a:pt x="570" y="213"/>
                  </a:cubicBezTo>
                  <a:cubicBezTo>
                    <a:pt x="567" y="212"/>
                    <a:pt x="563" y="211"/>
                    <a:pt x="559" y="212"/>
                  </a:cubicBezTo>
                  <a:cubicBezTo>
                    <a:pt x="554" y="212"/>
                    <a:pt x="550" y="213"/>
                    <a:pt x="547" y="216"/>
                  </a:cubicBezTo>
                  <a:cubicBezTo>
                    <a:pt x="543" y="218"/>
                    <a:pt x="540" y="221"/>
                    <a:pt x="538" y="224"/>
                  </a:cubicBezTo>
                  <a:cubicBezTo>
                    <a:pt x="533" y="231"/>
                    <a:pt x="531" y="240"/>
                    <a:pt x="531" y="248"/>
                  </a:cubicBezTo>
                  <a:cubicBezTo>
                    <a:pt x="530" y="254"/>
                    <a:pt x="531" y="261"/>
                    <a:pt x="533" y="267"/>
                  </a:cubicBezTo>
                  <a:cubicBezTo>
                    <a:pt x="534" y="269"/>
                    <a:pt x="535" y="272"/>
                    <a:pt x="536" y="274"/>
                  </a:cubicBezTo>
                  <a:cubicBezTo>
                    <a:pt x="532" y="272"/>
                    <a:pt x="529" y="269"/>
                    <a:pt x="525" y="267"/>
                  </a:cubicBezTo>
                  <a:cubicBezTo>
                    <a:pt x="522" y="266"/>
                    <a:pt x="519" y="264"/>
                    <a:pt x="516" y="263"/>
                  </a:cubicBezTo>
                  <a:cubicBezTo>
                    <a:pt x="515" y="260"/>
                    <a:pt x="514" y="257"/>
                    <a:pt x="512" y="254"/>
                  </a:cubicBezTo>
                  <a:cubicBezTo>
                    <a:pt x="511" y="251"/>
                    <a:pt x="508" y="247"/>
                    <a:pt x="506" y="244"/>
                  </a:cubicBezTo>
                  <a:cubicBezTo>
                    <a:pt x="504" y="232"/>
                    <a:pt x="504" y="220"/>
                    <a:pt x="508" y="209"/>
                  </a:cubicBezTo>
                  <a:close/>
                  <a:moveTo>
                    <a:pt x="562" y="229"/>
                  </a:moveTo>
                  <a:cubicBezTo>
                    <a:pt x="561" y="227"/>
                    <a:pt x="560" y="225"/>
                    <a:pt x="561" y="224"/>
                  </a:cubicBezTo>
                  <a:cubicBezTo>
                    <a:pt x="562" y="222"/>
                    <a:pt x="565" y="221"/>
                    <a:pt x="568" y="222"/>
                  </a:cubicBezTo>
                  <a:cubicBezTo>
                    <a:pt x="572" y="222"/>
                    <a:pt x="577" y="226"/>
                    <a:pt x="580" y="230"/>
                  </a:cubicBezTo>
                  <a:cubicBezTo>
                    <a:pt x="583" y="235"/>
                    <a:pt x="587" y="242"/>
                    <a:pt x="584" y="248"/>
                  </a:cubicBezTo>
                  <a:cubicBezTo>
                    <a:pt x="584" y="249"/>
                    <a:pt x="582" y="250"/>
                    <a:pt x="580" y="249"/>
                  </a:cubicBezTo>
                  <a:cubicBezTo>
                    <a:pt x="576" y="247"/>
                    <a:pt x="577" y="240"/>
                    <a:pt x="574" y="236"/>
                  </a:cubicBezTo>
                  <a:cubicBezTo>
                    <a:pt x="573" y="234"/>
                    <a:pt x="571" y="233"/>
                    <a:pt x="569" y="232"/>
                  </a:cubicBezTo>
                  <a:cubicBezTo>
                    <a:pt x="567" y="230"/>
                    <a:pt x="564" y="231"/>
                    <a:pt x="562" y="229"/>
                  </a:cubicBezTo>
                  <a:close/>
                  <a:moveTo>
                    <a:pt x="407" y="153"/>
                  </a:moveTo>
                  <a:cubicBezTo>
                    <a:pt x="408" y="153"/>
                    <a:pt x="409" y="152"/>
                    <a:pt x="409" y="153"/>
                  </a:cubicBezTo>
                  <a:cubicBezTo>
                    <a:pt x="415" y="153"/>
                    <a:pt x="420" y="154"/>
                    <a:pt x="424" y="156"/>
                  </a:cubicBezTo>
                  <a:cubicBezTo>
                    <a:pt x="430" y="158"/>
                    <a:pt x="435" y="162"/>
                    <a:pt x="440" y="165"/>
                  </a:cubicBezTo>
                  <a:cubicBezTo>
                    <a:pt x="442" y="167"/>
                    <a:pt x="444" y="168"/>
                    <a:pt x="445" y="170"/>
                  </a:cubicBezTo>
                  <a:cubicBezTo>
                    <a:pt x="449" y="176"/>
                    <a:pt x="451" y="182"/>
                    <a:pt x="452" y="189"/>
                  </a:cubicBezTo>
                  <a:cubicBezTo>
                    <a:pt x="448" y="180"/>
                    <a:pt x="442" y="172"/>
                    <a:pt x="433" y="165"/>
                  </a:cubicBezTo>
                  <a:cubicBezTo>
                    <a:pt x="429" y="161"/>
                    <a:pt x="424" y="158"/>
                    <a:pt x="418" y="156"/>
                  </a:cubicBezTo>
                  <a:cubicBezTo>
                    <a:pt x="414" y="154"/>
                    <a:pt x="410" y="153"/>
                    <a:pt x="406" y="153"/>
                  </a:cubicBezTo>
                  <a:lnTo>
                    <a:pt x="407" y="153"/>
                  </a:lnTo>
                  <a:close/>
                  <a:moveTo>
                    <a:pt x="377" y="205"/>
                  </a:moveTo>
                  <a:cubicBezTo>
                    <a:pt x="379" y="198"/>
                    <a:pt x="383" y="191"/>
                    <a:pt x="388" y="187"/>
                  </a:cubicBezTo>
                  <a:cubicBezTo>
                    <a:pt x="393" y="182"/>
                    <a:pt x="400" y="178"/>
                    <a:pt x="407" y="178"/>
                  </a:cubicBezTo>
                  <a:cubicBezTo>
                    <a:pt x="412" y="178"/>
                    <a:pt x="418" y="179"/>
                    <a:pt x="422" y="181"/>
                  </a:cubicBezTo>
                  <a:cubicBezTo>
                    <a:pt x="427" y="184"/>
                    <a:pt x="432" y="187"/>
                    <a:pt x="435" y="191"/>
                  </a:cubicBezTo>
                  <a:cubicBezTo>
                    <a:pt x="443" y="199"/>
                    <a:pt x="448" y="209"/>
                    <a:pt x="452" y="219"/>
                  </a:cubicBezTo>
                  <a:cubicBezTo>
                    <a:pt x="455" y="229"/>
                    <a:pt x="457" y="239"/>
                    <a:pt x="457" y="249"/>
                  </a:cubicBezTo>
                  <a:cubicBezTo>
                    <a:pt x="454" y="253"/>
                    <a:pt x="451" y="257"/>
                    <a:pt x="448" y="261"/>
                  </a:cubicBezTo>
                  <a:cubicBezTo>
                    <a:pt x="444" y="262"/>
                    <a:pt x="440" y="264"/>
                    <a:pt x="436" y="266"/>
                  </a:cubicBezTo>
                  <a:cubicBezTo>
                    <a:pt x="438" y="258"/>
                    <a:pt x="437" y="249"/>
                    <a:pt x="435" y="240"/>
                  </a:cubicBezTo>
                  <a:cubicBezTo>
                    <a:pt x="432" y="233"/>
                    <a:pt x="429" y="226"/>
                    <a:pt x="423" y="221"/>
                  </a:cubicBezTo>
                  <a:cubicBezTo>
                    <a:pt x="420" y="218"/>
                    <a:pt x="416" y="216"/>
                    <a:pt x="413" y="216"/>
                  </a:cubicBezTo>
                  <a:cubicBezTo>
                    <a:pt x="409" y="215"/>
                    <a:pt x="405" y="215"/>
                    <a:pt x="402" y="217"/>
                  </a:cubicBezTo>
                  <a:cubicBezTo>
                    <a:pt x="398" y="218"/>
                    <a:pt x="395" y="221"/>
                    <a:pt x="393" y="225"/>
                  </a:cubicBezTo>
                  <a:cubicBezTo>
                    <a:pt x="391" y="229"/>
                    <a:pt x="390" y="233"/>
                    <a:pt x="390" y="237"/>
                  </a:cubicBezTo>
                  <a:cubicBezTo>
                    <a:pt x="388" y="246"/>
                    <a:pt x="388" y="255"/>
                    <a:pt x="391" y="264"/>
                  </a:cubicBezTo>
                  <a:cubicBezTo>
                    <a:pt x="393" y="270"/>
                    <a:pt x="397" y="275"/>
                    <a:pt x="401" y="279"/>
                  </a:cubicBezTo>
                  <a:cubicBezTo>
                    <a:pt x="403" y="282"/>
                    <a:pt x="406" y="284"/>
                    <a:pt x="409" y="286"/>
                  </a:cubicBezTo>
                  <a:cubicBezTo>
                    <a:pt x="407" y="288"/>
                    <a:pt x="404" y="290"/>
                    <a:pt x="402" y="293"/>
                  </a:cubicBezTo>
                  <a:cubicBezTo>
                    <a:pt x="399" y="296"/>
                    <a:pt x="395" y="299"/>
                    <a:pt x="392" y="302"/>
                  </a:cubicBezTo>
                  <a:cubicBezTo>
                    <a:pt x="392" y="302"/>
                    <a:pt x="391" y="301"/>
                    <a:pt x="391" y="301"/>
                  </a:cubicBezTo>
                  <a:cubicBezTo>
                    <a:pt x="387" y="297"/>
                    <a:pt x="383" y="291"/>
                    <a:pt x="381" y="285"/>
                  </a:cubicBezTo>
                  <a:cubicBezTo>
                    <a:pt x="376" y="273"/>
                    <a:pt x="375" y="260"/>
                    <a:pt x="374" y="247"/>
                  </a:cubicBezTo>
                  <a:cubicBezTo>
                    <a:pt x="373" y="233"/>
                    <a:pt x="372" y="218"/>
                    <a:pt x="377" y="205"/>
                  </a:cubicBezTo>
                  <a:close/>
                  <a:moveTo>
                    <a:pt x="421" y="239"/>
                  </a:moveTo>
                  <a:cubicBezTo>
                    <a:pt x="421" y="237"/>
                    <a:pt x="419" y="236"/>
                    <a:pt x="418" y="234"/>
                  </a:cubicBezTo>
                  <a:cubicBezTo>
                    <a:pt x="416" y="232"/>
                    <a:pt x="414" y="232"/>
                    <a:pt x="413" y="229"/>
                  </a:cubicBezTo>
                  <a:cubicBezTo>
                    <a:pt x="413" y="228"/>
                    <a:pt x="412" y="226"/>
                    <a:pt x="413" y="225"/>
                  </a:cubicBezTo>
                  <a:cubicBezTo>
                    <a:pt x="415" y="224"/>
                    <a:pt x="418" y="225"/>
                    <a:pt x="420" y="226"/>
                  </a:cubicBezTo>
                  <a:cubicBezTo>
                    <a:pt x="424" y="228"/>
                    <a:pt x="427" y="232"/>
                    <a:pt x="428" y="236"/>
                  </a:cubicBezTo>
                  <a:cubicBezTo>
                    <a:pt x="430" y="241"/>
                    <a:pt x="430" y="248"/>
                    <a:pt x="427" y="252"/>
                  </a:cubicBezTo>
                  <a:cubicBezTo>
                    <a:pt x="426" y="253"/>
                    <a:pt x="424" y="253"/>
                    <a:pt x="423" y="252"/>
                  </a:cubicBezTo>
                  <a:cubicBezTo>
                    <a:pt x="420" y="249"/>
                    <a:pt x="423" y="243"/>
                    <a:pt x="421" y="239"/>
                  </a:cubicBezTo>
                  <a:close/>
                  <a:moveTo>
                    <a:pt x="371" y="342"/>
                  </a:moveTo>
                  <a:cubicBezTo>
                    <a:pt x="372" y="338"/>
                    <a:pt x="372" y="334"/>
                    <a:pt x="374" y="330"/>
                  </a:cubicBezTo>
                  <a:cubicBezTo>
                    <a:pt x="375" y="324"/>
                    <a:pt x="378" y="320"/>
                    <a:pt x="382" y="316"/>
                  </a:cubicBezTo>
                  <a:cubicBezTo>
                    <a:pt x="388" y="309"/>
                    <a:pt x="395" y="302"/>
                    <a:pt x="402" y="297"/>
                  </a:cubicBezTo>
                  <a:cubicBezTo>
                    <a:pt x="415" y="282"/>
                    <a:pt x="432" y="270"/>
                    <a:pt x="451" y="264"/>
                  </a:cubicBezTo>
                  <a:cubicBezTo>
                    <a:pt x="467" y="258"/>
                    <a:pt x="486" y="257"/>
                    <a:pt x="503" y="262"/>
                  </a:cubicBezTo>
                  <a:cubicBezTo>
                    <a:pt x="510" y="264"/>
                    <a:pt x="518" y="268"/>
                    <a:pt x="525" y="271"/>
                  </a:cubicBezTo>
                  <a:cubicBezTo>
                    <a:pt x="531" y="275"/>
                    <a:pt x="538" y="279"/>
                    <a:pt x="545" y="282"/>
                  </a:cubicBezTo>
                  <a:cubicBezTo>
                    <a:pt x="559" y="289"/>
                    <a:pt x="573" y="294"/>
                    <a:pt x="589" y="298"/>
                  </a:cubicBezTo>
                  <a:cubicBezTo>
                    <a:pt x="593" y="299"/>
                    <a:pt x="598" y="300"/>
                    <a:pt x="603" y="302"/>
                  </a:cubicBezTo>
                  <a:cubicBezTo>
                    <a:pt x="606" y="304"/>
                    <a:pt x="610" y="306"/>
                    <a:pt x="612" y="309"/>
                  </a:cubicBezTo>
                  <a:cubicBezTo>
                    <a:pt x="612" y="309"/>
                    <a:pt x="612" y="310"/>
                    <a:pt x="612" y="310"/>
                  </a:cubicBezTo>
                  <a:cubicBezTo>
                    <a:pt x="612" y="310"/>
                    <a:pt x="613" y="311"/>
                    <a:pt x="613" y="311"/>
                  </a:cubicBezTo>
                  <a:cubicBezTo>
                    <a:pt x="614" y="314"/>
                    <a:pt x="615" y="317"/>
                    <a:pt x="616" y="319"/>
                  </a:cubicBezTo>
                  <a:cubicBezTo>
                    <a:pt x="616" y="322"/>
                    <a:pt x="616" y="325"/>
                    <a:pt x="616" y="328"/>
                  </a:cubicBezTo>
                  <a:cubicBezTo>
                    <a:pt x="615" y="334"/>
                    <a:pt x="613" y="340"/>
                    <a:pt x="613" y="346"/>
                  </a:cubicBezTo>
                  <a:cubicBezTo>
                    <a:pt x="612" y="350"/>
                    <a:pt x="612" y="355"/>
                    <a:pt x="610" y="359"/>
                  </a:cubicBezTo>
                  <a:cubicBezTo>
                    <a:pt x="608" y="363"/>
                    <a:pt x="604" y="366"/>
                    <a:pt x="600" y="368"/>
                  </a:cubicBezTo>
                  <a:cubicBezTo>
                    <a:pt x="596" y="370"/>
                    <a:pt x="591" y="372"/>
                    <a:pt x="586" y="373"/>
                  </a:cubicBezTo>
                  <a:cubicBezTo>
                    <a:pt x="566" y="381"/>
                    <a:pt x="551" y="397"/>
                    <a:pt x="532" y="409"/>
                  </a:cubicBezTo>
                  <a:cubicBezTo>
                    <a:pt x="522" y="415"/>
                    <a:pt x="512" y="419"/>
                    <a:pt x="501" y="423"/>
                  </a:cubicBezTo>
                  <a:cubicBezTo>
                    <a:pt x="489" y="426"/>
                    <a:pt x="476" y="428"/>
                    <a:pt x="464" y="427"/>
                  </a:cubicBezTo>
                  <a:cubicBezTo>
                    <a:pt x="454" y="426"/>
                    <a:pt x="443" y="422"/>
                    <a:pt x="435" y="416"/>
                  </a:cubicBezTo>
                  <a:cubicBezTo>
                    <a:pt x="423" y="408"/>
                    <a:pt x="415" y="395"/>
                    <a:pt x="405" y="383"/>
                  </a:cubicBezTo>
                  <a:cubicBezTo>
                    <a:pt x="400" y="376"/>
                    <a:pt x="394" y="369"/>
                    <a:pt x="387" y="363"/>
                  </a:cubicBezTo>
                  <a:cubicBezTo>
                    <a:pt x="389" y="364"/>
                    <a:pt x="392" y="366"/>
                    <a:pt x="395" y="369"/>
                  </a:cubicBezTo>
                  <a:cubicBezTo>
                    <a:pt x="399" y="372"/>
                    <a:pt x="402" y="376"/>
                    <a:pt x="406" y="379"/>
                  </a:cubicBezTo>
                  <a:cubicBezTo>
                    <a:pt x="416" y="387"/>
                    <a:pt x="429" y="392"/>
                    <a:pt x="446" y="392"/>
                  </a:cubicBezTo>
                  <a:cubicBezTo>
                    <a:pt x="448" y="392"/>
                    <a:pt x="450" y="392"/>
                    <a:pt x="452" y="392"/>
                  </a:cubicBezTo>
                  <a:cubicBezTo>
                    <a:pt x="464" y="392"/>
                    <a:pt x="475" y="390"/>
                    <a:pt x="486" y="387"/>
                  </a:cubicBezTo>
                  <a:cubicBezTo>
                    <a:pt x="498" y="385"/>
                    <a:pt x="509" y="381"/>
                    <a:pt x="517" y="379"/>
                  </a:cubicBezTo>
                  <a:cubicBezTo>
                    <a:pt x="534" y="372"/>
                    <a:pt x="548" y="363"/>
                    <a:pt x="560" y="353"/>
                  </a:cubicBezTo>
                  <a:cubicBezTo>
                    <a:pt x="562" y="351"/>
                    <a:pt x="562" y="351"/>
                    <a:pt x="562" y="351"/>
                  </a:cubicBezTo>
                  <a:cubicBezTo>
                    <a:pt x="567" y="347"/>
                    <a:pt x="572" y="343"/>
                    <a:pt x="576" y="340"/>
                  </a:cubicBezTo>
                  <a:cubicBezTo>
                    <a:pt x="576" y="340"/>
                    <a:pt x="577" y="340"/>
                    <a:pt x="577" y="340"/>
                  </a:cubicBezTo>
                  <a:cubicBezTo>
                    <a:pt x="580" y="337"/>
                    <a:pt x="583" y="336"/>
                    <a:pt x="587" y="334"/>
                  </a:cubicBezTo>
                  <a:cubicBezTo>
                    <a:pt x="589" y="333"/>
                    <a:pt x="591" y="332"/>
                    <a:pt x="593" y="331"/>
                  </a:cubicBezTo>
                  <a:cubicBezTo>
                    <a:pt x="593" y="331"/>
                    <a:pt x="594" y="331"/>
                    <a:pt x="594" y="330"/>
                  </a:cubicBezTo>
                  <a:cubicBezTo>
                    <a:pt x="595" y="329"/>
                    <a:pt x="595" y="329"/>
                    <a:pt x="595" y="329"/>
                  </a:cubicBezTo>
                  <a:cubicBezTo>
                    <a:pt x="595" y="329"/>
                    <a:pt x="596" y="329"/>
                    <a:pt x="596" y="329"/>
                  </a:cubicBezTo>
                  <a:cubicBezTo>
                    <a:pt x="596" y="329"/>
                    <a:pt x="596" y="328"/>
                    <a:pt x="596" y="328"/>
                  </a:cubicBezTo>
                  <a:cubicBezTo>
                    <a:pt x="598" y="327"/>
                    <a:pt x="599" y="324"/>
                    <a:pt x="599" y="322"/>
                  </a:cubicBezTo>
                  <a:cubicBezTo>
                    <a:pt x="597" y="322"/>
                    <a:pt x="596" y="322"/>
                    <a:pt x="595" y="322"/>
                  </a:cubicBezTo>
                  <a:cubicBezTo>
                    <a:pt x="592" y="321"/>
                    <a:pt x="588" y="321"/>
                    <a:pt x="584" y="322"/>
                  </a:cubicBezTo>
                  <a:cubicBezTo>
                    <a:pt x="582" y="323"/>
                    <a:pt x="580" y="324"/>
                    <a:pt x="578" y="326"/>
                  </a:cubicBezTo>
                  <a:cubicBezTo>
                    <a:pt x="576" y="327"/>
                    <a:pt x="574" y="329"/>
                    <a:pt x="573" y="331"/>
                  </a:cubicBezTo>
                  <a:cubicBezTo>
                    <a:pt x="568" y="336"/>
                    <a:pt x="562" y="340"/>
                    <a:pt x="556" y="344"/>
                  </a:cubicBezTo>
                  <a:cubicBezTo>
                    <a:pt x="543" y="354"/>
                    <a:pt x="530" y="363"/>
                    <a:pt x="515" y="369"/>
                  </a:cubicBezTo>
                  <a:cubicBezTo>
                    <a:pt x="506" y="372"/>
                    <a:pt x="496" y="375"/>
                    <a:pt x="485" y="377"/>
                  </a:cubicBezTo>
                  <a:cubicBezTo>
                    <a:pt x="473" y="379"/>
                    <a:pt x="460" y="381"/>
                    <a:pt x="447" y="381"/>
                  </a:cubicBezTo>
                  <a:cubicBezTo>
                    <a:pt x="434" y="380"/>
                    <a:pt x="421" y="377"/>
                    <a:pt x="410" y="370"/>
                  </a:cubicBezTo>
                  <a:cubicBezTo>
                    <a:pt x="405" y="367"/>
                    <a:pt x="400" y="363"/>
                    <a:pt x="395" y="360"/>
                  </a:cubicBezTo>
                  <a:cubicBezTo>
                    <a:pt x="390" y="357"/>
                    <a:pt x="385" y="354"/>
                    <a:pt x="379" y="353"/>
                  </a:cubicBezTo>
                  <a:cubicBezTo>
                    <a:pt x="378" y="353"/>
                    <a:pt x="377" y="353"/>
                    <a:pt x="375" y="353"/>
                  </a:cubicBezTo>
                  <a:cubicBezTo>
                    <a:pt x="375" y="353"/>
                    <a:pt x="374" y="352"/>
                    <a:pt x="374" y="352"/>
                  </a:cubicBezTo>
                  <a:cubicBezTo>
                    <a:pt x="374" y="353"/>
                    <a:pt x="374" y="353"/>
                    <a:pt x="374" y="353"/>
                  </a:cubicBezTo>
                  <a:cubicBezTo>
                    <a:pt x="374" y="354"/>
                    <a:pt x="374" y="354"/>
                    <a:pt x="374" y="355"/>
                  </a:cubicBezTo>
                  <a:cubicBezTo>
                    <a:pt x="373" y="354"/>
                    <a:pt x="373" y="353"/>
                    <a:pt x="372" y="352"/>
                  </a:cubicBezTo>
                  <a:cubicBezTo>
                    <a:pt x="371" y="351"/>
                    <a:pt x="371" y="350"/>
                    <a:pt x="371" y="349"/>
                  </a:cubicBezTo>
                  <a:cubicBezTo>
                    <a:pt x="370" y="348"/>
                    <a:pt x="370" y="347"/>
                    <a:pt x="370" y="347"/>
                  </a:cubicBezTo>
                  <a:cubicBezTo>
                    <a:pt x="370" y="345"/>
                    <a:pt x="371" y="343"/>
                    <a:pt x="371" y="342"/>
                  </a:cubicBezTo>
                  <a:close/>
                  <a:moveTo>
                    <a:pt x="390" y="1142"/>
                  </a:moveTo>
                  <a:cubicBezTo>
                    <a:pt x="382" y="1156"/>
                    <a:pt x="372" y="1168"/>
                    <a:pt x="358" y="1176"/>
                  </a:cubicBezTo>
                  <a:cubicBezTo>
                    <a:pt x="345" y="1184"/>
                    <a:pt x="330" y="1188"/>
                    <a:pt x="314" y="1187"/>
                  </a:cubicBezTo>
                  <a:cubicBezTo>
                    <a:pt x="290" y="1186"/>
                    <a:pt x="268" y="1174"/>
                    <a:pt x="245" y="1165"/>
                  </a:cubicBezTo>
                  <a:cubicBezTo>
                    <a:pt x="198" y="1146"/>
                    <a:pt x="148" y="1141"/>
                    <a:pt x="100" y="1126"/>
                  </a:cubicBezTo>
                  <a:cubicBezTo>
                    <a:pt x="86" y="1122"/>
                    <a:pt x="71" y="1117"/>
                    <a:pt x="57" y="1113"/>
                  </a:cubicBezTo>
                  <a:cubicBezTo>
                    <a:pt x="50" y="1111"/>
                    <a:pt x="43" y="1109"/>
                    <a:pt x="37" y="1106"/>
                  </a:cubicBezTo>
                  <a:cubicBezTo>
                    <a:pt x="31" y="1104"/>
                    <a:pt x="25" y="1099"/>
                    <a:pt x="22" y="1094"/>
                  </a:cubicBezTo>
                  <a:cubicBezTo>
                    <a:pt x="19" y="1089"/>
                    <a:pt x="18" y="1084"/>
                    <a:pt x="18" y="1078"/>
                  </a:cubicBezTo>
                  <a:cubicBezTo>
                    <a:pt x="18" y="1073"/>
                    <a:pt x="19" y="1068"/>
                    <a:pt x="21" y="1063"/>
                  </a:cubicBezTo>
                  <a:cubicBezTo>
                    <a:pt x="25" y="1053"/>
                    <a:pt x="30" y="1044"/>
                    <a:pt x="34" y="1034"/>
                  </a:cubicBezTo>
                  <a:cubicBezTo>
                    <a:pt x="41" y="1018"/>
                    <a:pt x="42" y="1001"/>
                    <a:pt x="41" y="984"/>
                  </a:cubicBezTo>
                  <a:cubicBezTo>
                    <a:pt x="40" y="966"/>
                    <a:pt x="37" y="949"/>
                    <a:pt x="36" y="932"/>
                  </a:cubicBezTo>
                  <a:cubicBezTo>
                    <a:pt x="36" y="925"/>
                    <a:pt x="35" y="917"/>
                    <a:pt x="37" y="909"/>
                  </a:cubicBezTo>
                  <a:cubicBezTo>
                    <a:pt x="38" y="902"/>
                    <a:pt x="42" y="894"/>
                    <a:pt x="47" y="889"/>
                  </a:cubicBezTo>
                  <a:cubicBezTo>
                    <a:pt x="52" y="884"/>
                    <a:pt x="59" y="881"/>
                    <a:pt x="66" y="880"/>
                  </a:cubicBezTo>
                  <a:cubicBezTo>
                    <a:pt x="73" y="878"/>
                    <a:pt x="80" y="878"/>
                    <a:pt x="87" y="879"/>
                  </a:cubicBezTo>
                  <a:cubicBezTo>
                    <a:pt x="94" y="879"/>
                    <a:pt x="101" y="879"/>
                    <a:pt x="108" y="878"/>
                  </a:cubicBezTo>
                  <a:cubicBezTo>
                    <a:pt x="115" y="878"/>
                    <a:pt x="122" y="876"/>
                    <a:pt x="129" y="873"/>
                  </a:cubicBezTo>
                  <a:cubicBezTo>
                    <a:pt x="134" y="869"/>
                    <a:pt x="139" y="864"/>
                    <a:pt x="143" y="859"/>
                  </a:cubicBezTo>
                  <a:cubicBezTo>
                    <a:pt x="147" y="854"/>
                    <a:pt x="150" y="848"/>
                    <a:pt x="154" y="842"/>
                  </a:cubicBezTo>
                  <a:cubicBezTo>
                    <a:pt x="157" y="836"/>
                    <a:pt x="160" y="830"/>
                    <a:pt x="165" y="825"/>
                  </a:cubicBezTo>
                  <a:cubicBezTo>
                    <a:pt x="169" y="820"/>
                    <a:pt x="174" y="815"/>
                    <a:pt x="180" y="813"/>
                  </a:cubicBezTo>
                  <a:cubicBezTo>
                    <a:pt x="187" y="810"/>
                    <a:pt x="194" y="809"/>
                    <a:pt x="201" y="811"/>
                  </a:cubicBezTo>
                  <a:cubicBezTo>
                    <a:pt x="208" y="812"/>
                    <a:pt x="214" y="815"/>
                    <a:pt x="220" y="819"/>
                  </a:cubicBezTo>
                  <a:cubicBezTo>
                    <a:pt x="231" y="827"/>
                    <a:pt x="240" y="838"/>
                    <a:pt x="248" y="849"/>
                  </a:cubicBezTo>
                  <a:cubicBezTo>
                    <a:pt x="266" y="875"/>
                    <a:pt x="284" y="901"/>
                    <a:pt x="301" y="928"/>
                  </a:cubicBezTo>
                  <a:cubicBezTo>
                    <a:pt x="314" y="951"/>
                    <a:pt x="326" y="974"/>
                    <a:pt x="341" y="994"/>
                  </a:cubicBezTo>
                  <a:cubicBezTo>
                    <a:pt x="351" y="1008"/>
                    <a:pt x="363" y="1020"/>
                    <a:pt x="373" y="1034"/>
                  </a:cubicBezTo>
                  <a:cubicBezTo>
                    <a:pt x="383" y="1048"/>
                    <a:pt x="392" y="1062"/>
                    <a:pt x="396" y="1078"/>
                  </a:cubicBezTo>
                  <a:cubicBezTo>
                    <a:pt x="402" y="1100"/>
                    <a:pt x="400" y="1123"/>
                    <a:pt x="390" y="1142"/>
                  </a:cubicBezTo>
                  <a:close/>
                  <a:moveTo>
                    <a:pt x="584" y="1049"/>
                  </a:moveTo>
                  <a:cubicBezTo>
                    <a:pt x="529" y="1078"/>
                    <a:pt x="462" y="1081"/>
                    <a:pt x="404" y="1058"/>
                  </a:cubicBezTo>
                  <a:cubicBezTo>
                    <a:pt x="400" y="1048"/>
                    <a:pt x="394" y="1038"/>
                    <a:pt x="386" y="1028"/>
                  </a:cubicBezTo>
                  <a:cubicBezTo>
                    <a:pt x="380" y="1021"/>
                    <a:pt x="375" y="1015"/>
                    <a:pt x="369" y="1008"/>
                  </a:cubicBezTo>
                  <a:cubicBezTo>
                    <a:pt x="364" y="1002"/>
                    <a:pt x="359" y="996"/>
                    <a:pt x="354" y="989"/>
                  </a:cubicBezTo>
                  <a:cubicBezTo>
                    <a:pt x="345" y="977"/>
                    <a:pt x="337" y="964"/>
                    <a:pt x="329" y="950"/>
                  </a:cubicBezTo>
                  <a:cubicBezTo>
                    <a:pt x="324" y="942"/>
                    <a:pt x="319" y="933"/>
                    <a:pt x="314" y="925"/>
                  </a:cubicBezTo>
                  <a:cubicBezTo>
                    <a:pt x="299" y="901"/>
                    <a:pt x="283" y="876"/>
                    <a:pt x="260" y="845"/>
                  </a:cubicBezTo>
                  <a:cubicBezTo>
                    <a:pt x="257" y="841"/>
                    <a:pt x="254" y="836"/>
                    <a:pt x="250" y="832"/>
                  </a:cubicBezTo>
                  <a:cubicBezTo>
                    <a:pt x="249" y="828"/>
                    <a:pt x="249" y="824"/>
                    <a:pt x="249" y="820"/>
                  </a:cubicBezTo>
                  <a:cubicBezTo>
                    <a:pt x="244" y="815"/>
                    <a:pt x="239" y="809"/>
                    <a:pt x="236" y="803"/>
                  </a:cubicBezTo>
                  <a:cubicBezTo>
                    <a:pt x="230" y="794"/>
                    <a:pt x="227" y="783"/>
                    <a:pt x="225" y="772"/>
                  </a:cubicBezTo>
                  <a:cubicBezTo>
                    <a:pt x="219" y="743"/>
                    <a:pt x="221" y="712"/>
                    <a:pt x="231" y="684"/>
                  </a:cubicBezTo>
                  <a:cubicBezTo>
                    <a:pt x="235" y="673"/>
                    <a:pt x="240" y="662"/>
                    <a:pt x="245" y="652"/>
                  </a:cubicBezTo>
                  <a:cubicBezTo>
                    <a:pt x="254" y="633"/>
                    <a:pt x="262" y="615"/>
                    <a:pt x="273" y="598"/>
                  </a:cubicBezTo>
                  <a:cubicBezTo>
                    <a:pt x="274" y="597"/>
                    <a:pt x="275" y="595"/>
                    <a:pt x="276" y="594"/>
                  </a:cubicBezTo>
                  <a:cubicBezTo>
                    <a:pt x="269" y="614"/>
                    <a:pt x="262" y="634"/>
                    <a:pt x="254" y="653"/>
                  </a:cubicBezTo>
                  <a:cubicBezTo>
                    <a:pt x="249" y="665"/>
                    <a:pt x="243" y="676"/>
                    <a:pt x="239" y="688"/>
                  </a:cubicBezTo>
                  <a:cubicBezTo>
                    <a:pt x="229" y="715"/>
                    <a:pt x="226" y="746"/>
                    <a:pt x="234" y="774"/>
                  </a:cubicBezTo>
                  <a:cubicBezTo>
                    <a:pt x="237" y="785"/>
                    <a:pt x="241" y="796"/>
                    <a:pt x="247" y="806"/>
                  </a:cubicBezTo>
                  <a:cubicBezTo>
                    <a:pt x="248" y="807"/>
                    <a:pt x="248" y="808"/>
                    <a:pt x="249" y="808"/>
                  </a:cubicBezTo>
                  <a:cubicBezTo>
                    <a:pt x="248" y="795"/>
                    <a:pt x="249" y="782"/>
                    <a:pt x="250" y="769"/>
                  </a:cubicBezTo>
                  <a:cubicBezTo>
                    <a:pt x="254" y="726"/>
                    <a:pt x="266" y="684"/>
                    <a:pt x="284" y="644"/>
                  </a:cubicBezTo>
                  <a:cubicBezTo>
                    <a:pt x="295" y="618"/>
                    <a:pt x="309" y="593"/>
                    <a:pt x="326" y="569"/>
                  </a:cubicBezTo>
                  <a:cubicBezTo>
                    <a:pt x="324" y="554"/>
                    <a:pt x="325" y="539"/>
                    <a:pt x="330" y="524"/>
                  </a:cubicBezTo>
                  <a:cubicBezTo>
                    <a:pt x="337" y="500"/>
                    <a:pt x="351" y="480"/>
                    <a:pt x="366" y="459"/>
                  </a:cubicBezTo>
                  <a:cubicBezTo>
                    <a:pt x="374" y="448"/>
                    <a:pt x="383" y="436"/>
                    <a:pt x="387" y="422"/>
                  </a:cubicBezTo>
                  <a:cubicBezTo>
                    <a:pt x="390" y="409"/>
                    <a:pt x="389" y="395"/>
                    <a:pt x="390" y="382"/>
                  </a:cubicBezTo>
                  <a:cubicBezTo>
                    <a:pt x="390" y="382"/>
                    <a:pt x="390" y="382"/>
                    <a:pt x="390" y="382"/>
                  </a:cubicBezTo>
                  <a:cubicBezTo>
                    <a:pt x="394" y="385"/>
                    <a:pt x="397" y="389"/>
                    <a:pt x="400" y="393"/>
                  </a:cubicBezTo>
                  <a:cubicBezTo>
                    <a:pt x="401" y="393"/>
                    <a:pt x="401" y="393"/>
                    <a:pt x="401" y="393"/>
                  </a:cubicBezTo>
                  <a:cubicBezTo>
                    <a:pt x="404" y="396"/>
                    <a:pt x="407" y="400"/>
                    <a:pt x="410" y="404"/>
                  </a:cubicBezTo>
                  <a:cubicBezTo>
                    <a:pt x="416" y="411"/>
                    <a:pt x="423" y="419"/>
                    <a:pt x="432" y="424"/>
                  </a:cubicBezTo>
                  <a:cubicBezTo>
                    <a:pt x="441" y="430"/>
                    <a:pt x="451" y="434"/>
                    <a:pt x="464" y="435"/>
                  </a:cubicBezTo>
                  <a:cubicBezTo>
                    <a:pt x="466" y="435"/>
                    <a:pt x="468" y="435"/>
                    <a:pt x="470" y="435"/>
                  </a:cubicBezTo>
                  <a:cubicBezTo>
                    <a:pt x="480" y="435"/>
                    <a:pt x="491" y="434"/>
                    <a:pt x="503" y="431"/>
                  </a:cubicBezTo>
                  <a:cubicBezTo>
                    <a:pt x="513" y="428"/>
                    <a:pt x="524" y="424"/>
                    <a:pt x="535" y="418"/>
                  </a:cubicBezTo>
                  <a:cubicBezTo>
                    <a:pt x="535" y="418"/>
                    <a:pt x="535" y="418"/>
                    <a:pt x="535" y="418"/>
                  </a:cubicBezTo>
                  <a:cubicBezTo>
                    <a:pt x="541" y="414"/>
                    <a:pt x="547" y="410"/>
                    <a:pt x="553" y="406"/>
                  </a:cubicBezTo>
                  <a:cubicBezTo>
                    <a:pt x="565" y="397"/>
                    <a:pt x="575" y="389"/>
                    <a:pt x="588" y="386"/>
                  </a:cubicBezTo>
                  <a:cubicBezTo>
                    <a:pt x="588" y="386"/>
                    <a:pt x="588" y="386"/>
                    <a:pt x="588" y="386"/>
                  </a:cubicBezTo>
                  <a:cubicBezTo>
                    <a:pt x="593" y="384"/>
                    <a:pt x="596" y="383"/>
                    <a:pt x="601" y="382"/>
                  </a:cubicBezTo>
                  <a:cubicBezTo>
                    <a:pt x="602" y="382"/>
                    <a:pt x="602" y="382"/>
                    <a:pt x="603" y="381"/>
                  </a:cubicBezTo>
                  <a:cubicBezTo>
                    <a:pt x="604" y="381"/>
                    <a:pt x="605" y="380"/>
                    <a:pt x="607" y="379"/>
                  </a:cubicBezTo>
                  <a:cubicBezTo>
                    <a:pt x="607" y="378"/>
                    <a:pt x="608" y="378"/>
                    <a:pt x="609" y="377"/>
                  </a:cubicBezTo>
                  <a:cubicBezTo>
                    <a:pt x="611" y="376"/>
                    <a:pt x="612" y="375"/>
                    <a:pt x="613" y="373"/>
                  </a:cubicBezTo>
                  <a:cubicBezTo>
                    <a:pt x="617" y="380"/>
                    <a:pt x="620" y="388"/>
                    <a:pt x="623" y="395"/>
                  </a:cubicBezTo>
                  <a:cubicBezTo>
                    <a:pt x="632" y="416"/>
                    <a:pt x="644" y="436"/>
                    <a:pt x="653" y="457"/>
                  </a:cubicBezTo>
                  <a:cubicBezTo>
                    <a:pt x="666" y="485"/>
                    <a:pt x="675" y="516"/>
                    <a:pt x="680" y="547"/>
                  </a:cubicBezTo>
                  <a:cubicBezTo>
                    <a:pt x="697" y="564"/>
                    <a:pt x="711" y="585"/>
                    <a:pt x="722" y="607"/>
                  </a:cubicBezTo>
                  <a:cubicBezTo>
                    <a:pt x="753" y="672"/>
                    <a:pt x="753" y="747"/>
                    <a:pt x="745" y="819"/>
                  </a:cubicBezTo>
                  <a:cubicBezTo>
                    <a:pt x="745" y="821"/>
                    <a:pt x="745" y="823"/>
                    <a:pt x="744" y="824"/>
                  </a:cubicBezTo>
                  <a:cubicBezTo>
                    <a:pt x="741" y="824"/>
                    <a:pt x="738" y="823"/>
                    <a:pt x="735" y="823"/>
                  </a:cubicBezTo>
                  <a:cubicBezTo>
                    <a:pt x="729" y="822"/>
                    <a:pt x="729" y="822"/>
                    <a:pt x="729" y="822"/>
                  </a:cubicBezTo>
                  <a:cubicBezTo>
                    <a:pt x="724" y="821"/>
                    <a:pt x="717" y="820"/>
                    <a:pt x="710" y="821"/>
                  </a:cubicBezTo>
                  <a:cubicBezTo>
                    <a:pt x="701" y="821"/>
                    <a:pt x="692" y="824"/>
                    <a:pt x="685" y="829"/>
                  </a:cubicBezTo>
                  <a:cubicBezTo>
                    <a:pt x="685" y="829"/>
                    <a:pt x="685" y="829"/>
                    <a:pt x="685" y="830"/>
                  </a:cubicBezTo>
                  <a:cubicBezTo>
                    <a:pt x="675" y="838"/>
                    <a:pt x="672" y="849"/>
                    <a:pt x="671" y="856"/>
                  </a:cubicBezTo>
                  <a:cubicBezTo>
                    <a:pt x="670" y="864"/>
                    <a:pt x="670" y="871"/>
                    <a:pt x="671" y="879"/>
                  </a:cubicBezTo>
                  <a:cubicBezTo>
                    <a:pt x="673" y="914"/>
                    <a:pt x="673" y="948"/>
                    <a:pt x="670" y="980"/>
                  </a:cubicBezTo>
                  <a:cubicBezTo>
                    <a:pt x="669" y="981"/>
                    <a:pt x="668" y="982"/>
                    <a:pt x="667" y="983"/>
                  </a:cubicBezTo>
                  <a:cubicBezTo>
                    <a:pt x="642" y="1008"/>
                    <a:pt x="615" y="1032"/>
                    <a:pt x="584" y="1049"/>
                  </a:cubicBezTo>
                  <a:close/>
                  <a:moveTo>
                    <a:pt x="1014" y="1016"/>
                  </a:moveTo>
                  <a:cubicBezTo>
                    <a:pt x="1011" y="1023"/>
                    <a:pt x="1008" y="1029"/>
                    <a:pt x="1003" y="1035"/>
                  </a:cubicBezTo>
                  <a:cubicBezTo>
                    <a:pt x="992" y="1047"/>
                    <a:pt x="978" y="1056"/>
                    <a:pt x="963" y="1063"/>
                  </a:cubicBezTo>
                  <a:cubicBezTo>
                    <a:pt x="938" y="1076"/>
                    <a:pt x="913" y="1087"/>
                    <a:pt x="889" y="1102"/>
                  </a:cubicBezTo>
                  <a:cubicBezTo>
                    <a:pt x="874" y="1112"/>
                    <a:pt x="860" y="1124"/>
                    <a:pt x="846" y="1137"/>
                  </a:cubicBezTo>
                  <a:cubicBezTo>
                    <a:pt x="835" y="1148"/>
                    <a:pt x="824" y="1160"/>
                    <a:pt x="811" y="1169"/>
                  </a:cubicBezTo>
                  <a:cubicBezTo>
                    <a:pt x="798" y="1178"/>
                    <a:pt x="783" y="1185"/>
                    <a:pt x="767" y="1188"/>
                  </a:cubicBezTo>
                  <a:cubicBezTo>
                    <a:pt x="747" y="1190"/>
                    <a:pt x="727" y="1187"/>
                    <a:pt x="710" y="1179"/>
                  </a:cubicBezTo>
                  <a:cubicBezTo>
                    <a:pt x="697" y="1173"/>
                    <a:pt x="685" y="1166"/>
                    <a:pt x="678" y="1154"/>
                  </a:cubicBezTo>
                  <a:cubicBezTo>
                    <a:pt x="670" y="1142"/>
                    <a:pt x="669" y="1128"/>
                    <a:pt x="669" y="1114"/>
                  </a:cubicBezTo>
                  <a:cubicBezTo>
                    <a:pt x="669" y="1090"/>
                    <a:pt x="673" y="1066"/>
                    <a:pt x="677" y="1042"/>
                  </a:cubicBezTo>
                  <a:cubicBezTo>
                    <a:pt x="681" y="1022"/>
                    <a:pt x="684" y="1002"/>
                    <a:pt x="687" y="982"/>
                  </a:cubicBezTo>
                  <a:cubicBezTo>
                    <a:pt x="690" y="946"/>
                    <a:pt x="690" y="909"/>
                    <a:pt x="688" y="872"/>
                  </a:cubicBezTo>
                  <a:cubicBezTo>
                    <a:pt x="687" y="866"/>
                    <a:pt x="687" y="860"/>
                    <a:pt x="688" y="854"/>
                  </a:cubicBezTo>
                  <a:cubicBezTo>
                    <a:pt x="689" y="848"/>
                    <a:pt x="691" y="842"/>
                    <a:pt x="696" y="838"/>
                  </a:cubicBezTo>
                  <a:cubicBezTo>
                    <a:pt x="700" y="834"/>
                    <a:pt x="706" y="832"/>
                    <a:pt x="712" y="832"/>
                  </a:cubicBezTo>
                  <a:cubicBezTo>
                    <a:pt x="717" y="832"/>
                    <a:pt x="723" y="832"/>
                    <a:pt x="729" y="833"/>
                  </a:cubicBezTo>
                  <a:cubicBezTo>
                    <a:pt x="742" y="835"/>
                    <a:pt x="755" y="837"/>
                    <a:pt x="768" y="840"/>
                  </a:cubicBezTo>
                  <a:cubicBezTo>
                    <a:pt x="776" y="842"/>
                    <a:pt x="784" y="845"/>
                    <a:pt x="792" y="847"/>
                  </a:cubicBezTo>
                  <a:cubicBezTo>
                    <a:pt x="806" y="851"/>
                    <a:pt x="820" y="853"/>
                    <a:pt x="834" y="851"/>
                  </a:cubicBezTo>
                  <a:cubicBezTo>
                    <a:pt x="849" y="849"/>
                    <a:pt x="864" y="844"/>
                    <a:pt x="879" y="844"/>
                  </a:cubicBezTo>
                  <a:cubicBezTo>
                    <a:pt x="885" y="844"/>
                    <a:pt x="892" y="845"/>
                    <a:pt x="898" y="847"/>
                  </a:cubicBezTo>
                  <a:cubicBezTo>
                    <a:pt x="904" y="849"/>
                    <a:pt x="910" y="852"/>
                    <a:pt x="914" y="856"/>
                  </a:cubicBezTo>
                  <a:cubicBezTo>
                    <a:pt x="917" y="860"/>
                    <a:pt x="920" y="864"/>
                    <a:pt x="922" y="869"/>
                  </a:cubicBezTo>
                  <a:cubicBezTo>
                    <a:pt x="924" y="875"/>
                    <a:pt x="926" y="883"/>
                    <a:pt x="926" y="890"/>
                  </a:cubicBezTo>
                  <a:cubicBezTo>
                    <a:pt x="927" y="896"/>
                    <a:pt x="927" y="903"/>
                    <a:pt x="928" y="909"/>
                  </a:cubicBezTo>
                  <a:cubicBezTo>
                    <a:pt x="930" y="919"/>
                    <a:pt x="935" y="928"/>
                    <a:pt x="942" y="937"/>
                  </a:cubicBezTo>
                  <a:cubicBezTo>
                    <a:pt x="949" y="945"/>
                    <a:pt x="957" y="951"/>
                    <a:pt x="965" y="958"/>
                  </a:cubicBezTo>
                  <a:cubicBezTo>
                    <a:pt x="973" y="965"/>
                    <a:pt x="981" y="972"/>
                    <a:pt x="989" y="977"/>
                  </a:cubicBezTo>
                  <a:cubicBezTo>
                    <a:pt x="993" y="980"/>
                    <a:pt x="998" y="983"/>
                    <a:pt x="1002" y="986"/>
                  </a:cubicBezTo>
                  <a:cubicBezTo>
                    <a:pt x="1005" y="989"/>
                    <a:pt x="1009" y="992"/>
                    <a:pt x="1011" y="997"/>
                  </a:cubicBezTo>
                  <a:cubicBezTo>
                    <a:pt x="1015" y="1003"/>
                    <a:pt x="1016" y="1010"/>
                    <a:pt x="1014" y="10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grpSp>
        <p:nvGrpSpPr>
          <p:cNvPr id="65" name="Group 64">
            <a:extLst>
              <a:ext uri="{FF2B5EF4-FFF2-40B4-BE49-F238E27FC236}">
                <a16:creationId xmlns:a16="http://schemas.microsoft.com/office/drawing/2014/main" id="{84A5F6C9-7A8A-45CE-90A6-D26A6F4C658B}"/>
              </a:ext>
            </a:extLst>
          </p:cNvPr>
          <p:cNvGrpSpPr/>
          <p:nvPr/>
        </p:nvGrpSpPr>
        <p:grpSpPr>
          <a:xfrm>
            <a:off x="6018996" y="5401888"/>
            <a:ext cx="2165787" cy="362938"/>
            <a:chOff x="1814286" y="7761330"/>
            <a:chExt cx="9662611" cy="1619249"/>
          </a:xfrm>
          <a:solidFill>
            <a:schemeClr val="accent1"/>
          </a:solidFill>
        </p:grpSpPr>
        <p:sp>
          <p:nvSpPr>
            <p:cNvPr id="66" name="Freeform: Shape 65">
              <a:extLst>
                <a:ext uri="{FF2B5EF4-FFF2-40B4-BE49-F238E27FC236}">
                  <a16:creationId xmlns:a16="http://schemas.microsoft.com/office/drawing/2014/main" id="{761BAEE0-E8C8-43FD-866A-373C349F4404}"/>
                </a:ext>
              </a:extLst>
            </p:cNvPr>
            <p:cNvSpPr/>
            <p:nvPr/>
          </p:nvSpPr>
          <p:spPr>
            <a:xfrm>
              <a:off x="1814286" y="7761330"/>
              <a:ext cx="1685626" cy="1619249"/>
            </a:xfrm>
            <a:custGeom>
              <a:avLst/>
              <a:gdLst>
                <a:gd name="connsiteX0" fmla="*/ 829296 w 1685626"/>
                <a:gd name="connsiteY0" fmla="*/ 1034895 h 1619249"/>
                <a:gd name="connsiteX1" fmla="*/ 850017 w 1685626"/>
                <a:gd name="connsiteY1" fmla="*/ 1038247 h 1619249"/>
                <a:gd name="connsiteX2" fmla="*/ 865438 w 1685626"/>
                <a:gd name="connsiteY2" fmla="*/ 1051656 h 1619249"/>
                <a:gd name="connsiteX3" fmla="*/ 957962 w 1685626"/>
                <a:gd name="connsiteY3" fmla="*/ 1218312 h 1619249"/>
                <a:gd name="connsiteX4" fmla="*/ 921338 w 1685626"/>
                <a:gd name="connsiteY4" fmla="*/ 1225974 h 1619249"/>
                <a:gd name="connsiteX5" fmla="*/ 838451 w 1685626"/>
                <a:gd name="connsiteY5" fmla="*/ 1235552 h 1619249"/>
                <a:gd name="connsiteX6" fmla="*/ 717013 w 1685626"/>
                <a:gd name="connsiteY6" fmla="*/ 1216397 h 1619249"/>
                <a:gd name="connsiteX7" fmla="*/ 811465 w 1685626"/>
                <a:gd name="connsiteY7" fmla="*/ 1045910 h 1619249"/>
                <a:gd name="connsiteX8" fmla="*/ 829296 w 1685626"/>
                <a:gd name="connsiteY8" fmla="*/ 1034895 h 1619249"/>
                <a:gd name="connsiteX9" fmla="*/ 674606 w 1685626"/>
                <a:gd name="connsiteY9" fmla="*/ 955877 h 1619249"/>
                <a:gd name="connsiteX10" fmla="*/ 707375 w 1685626"/>
                <a:gd name="connsiteY10" fmla="*/ 980780 h 1619249"/>
                <a:gd name="connsiteX11" fmla="*/ 705448 w 1685626"/>
                <a:gd name="connsiteY11" fmla="*/ 999936 h 1619249"/>
                <a:gd name="connsiteX12" fmla="*/ 632199 w 1685626"/>
                <a:gd name="connsiteY12" fmla="*/ 1176169 h 1619249"/>
                <a:gd name="connsiteX13" fmla="*/ 483775 w 1685626"/>
                <a:gd name="connsiteY13" fmla="*/ 988442 h 1619249"/>
                <a:gd name="connsiteX14" fmla="*/ 1000369 w 1685626"/>
                <a:gd name="connsiteY14" fmla="*/ 953962 h 1619249"/>
                <a:gd name="connsiteX15" fmla="*/ 1193128 w 1685626"/>
                <a:gd name="connsiteY15" fmla="*/ 986527 h 1619249"/>
                <a:gd name="connsiteX16" fmla="*/ 1156504 w 1685626"/>
                <a:gd name="connsiteY16" fmla="*/ 1059319 h 1619249"/>
                <a:gd name="connsiteX17" fmla="*/ 1040848 w 1685626"/>
                <a:gd name="connsiteY17" fmla="*/ 1174254 h 1619249"/>
                <a:gd name="connsiteX18" fmla="*/ 965672 w 1685626"/>
                <a:gd name="connsiteY18" fmla="*/ 994189 h 1619249"/>
                <a:gd name="connsiteX19" fmla="*/ 983021 w 1685626"/>
                <a:gd name="connsiteY19" fmla="*/ 957793 h 1619249"/>
                <a:gd name="connsiteX20" fmla="*/ 1000369 w 1685626"/>
                <a:gd name="connsiteY20" fmla="*/ 953962 h 1619249"/>
                <a:gd name="connsiteX21" fmla="*/ 809538 w 1685626"/>
                <a:gd name="connsiteY21" fmla="*/ 800714 h 1619249"/>
                <a:gd name="connsiteX22" fmla="*/ 867365 w 1685626"/>
                <a:gd name="connsiteY22" fmla="*/ 800714 h 1619249"/>
                <a:gd name="connsiteX23" fmla="*/ 903989 w 1685626"/>
                <a:gd name="connsiteY23" fmla="*/ 846688 h 1619249"/>
                <a:gd name="connsiteX24" fmla="*/ 890496 w 1685626"/>
                <a:gd name="connsiteY24" fmla="*/ 902241 h 1619249"/>
                <a:gd name="connsiteX25" fmla="*/ 838451 w 1685626"/>
                <a:gd name="connsiteY25" fmla="*/ 927143 h 1619249"/>
                <a:gd name="connsiteX26" fmla="*/ 786407 w 1685626"/>
                <a:gd name="connsiteY26" fmla="*/ 902241 h 1619249"/>
                <a:gd name="connsiteX27" fmla="*/ 772913 w 1685626"/>
                <a:gd name="connsiteY27" fmla="*/ 846688 h 1619249"/>
                <a:gd name="connsiteX28" fmla="*/ 1158431 w 1685626"/>
                <a:gd name="connsiteY28" fmla="*/ 664708 h 1619249"/>
                <a:gd name="connsiteX29" fmla="*/ 1204693 w 1685626"/>
                <a:gd name="connsiteY29" fmla="*/ 777728 h 1619249"/>
                <a:gd name="connsiteX30" fmla="*/ 1212404 w 1685626"/>
                <a:gd name="connsiteY30" fmla="*/ 898410 h 1619249"/>
                <a:gd name="connsiteX31" fmla="*/ 1029283 w 1685626"/>
                <a:gd name="connsiteY31" fmla="*/ 846688 h 1619249"/>
                <a:gd name="connsiteX32" fmla="*/ 1006152 w 1685626"/>
                <a:gd name="connsiteY32" fmla="*/ 808376 h 1619249"/>
                <a:gd name="connsiteX33" fmla="*/ 1013862 w 1685626"/>
                <a:gd name="connsiteY33" fmla="*/ 794968 h 1619249"/>
                <a:gd name="connsiteX34" fmla="*/ 516544 w 1685626"/>
                <a:gd name="connsiteY34" fmla="*/ 664708 h 1619249"/>
                <a:gd name="connsiteX35" fmla="*/ 659186 w 1685626"/>
                <a:gd name="connsiteY35" fmla="*/ 791136 h 1619249"/>
                <a:gd name="connsiteX36" fmla="*/ 663041 w 1685626"/>
                <a:gd name="connsiteY36" fmla="*/ 835194 h 1619249"/>
                <a:gd name="connsiteX37" fmla="*/ 647620 w 1685626"/>
                <a:gd name="connsiteY37" fmla="*/ 844772 h 1619249"/>
                <a:gd name="connsiteX38" fmla="*/ 460644 w 1685626"/>
                <a:gd name="connsiteY38" fmla="*/ 898410 h 1619249"/>
                <a:gd name="connsiteX39" fmla="*/ 516544 w 1685626"/>
                <a:gd name="connsiteY39" fmla="*/ 664708 h 1619249"/>
                <a:gd name="connsiteX40" fmla="*/ 882786 w 1685626"/>
                <a:gd name="connsiteY40" fmla="*/ 490389 h 1619249"/>
                <a:gd name="connsiteX41" fmla="*/ 1100604 w 1685626"/>
                <a:gd name="connsiteY41" fmla="*/ 593832 h 1619249"/>
                <a:gd name="connsiteX42" fmla="*/ 942541 w 1685626"/>
                <a:gd name="connsiteY42" fmla="*/ 704935 h 1619249"/>
                <a:gd name="connsiteX43" fmla="*/ 900134 w 1685626"/>
                <a:gd name="connsiteY43" fmla="*/ 697272 h 1619249"/>
                <a:gd name="connsiteX44" fmla="*/ 894352 w 1685626"/>
                <a:gd name="connsiteY44" fmla="*/ 683863 h 1619249"/>
                <a:gd name="connsiteX45" fmla="*/ 790262 w 1685626"/>
                <a:gd name="connsiteY45" fmla="*/ 488474 h 1619249"/>
                <a:gd name="connsiteX46" fmla="*/ 780624 w 1685626"/>
                <a:gd name="connsiteY46" fmla="*/ 680032 h 1619249"/>
                <a:gd name="connsiteX47" fmla="*/ 747855 w 1685626"/>
                <a:gd name="connsiteY47" fmla="*/ 710681 h 1619249"/>
                <a:gd name="connsiteX48" fmla="*/ 732434 w 1685626"/>
                <a:gd name="connsiteY48" fmla="*/ 706850 h 1619249"/>
                <a:gd name="connsiteX49" fmla="*/ 572444 w 1685626"/>
                <a:gd name="connsiteY49" fmla="*/ 593832 h 1619249"/>
                <a:gd name="connsiteX50" fmla="*/ 751710 w 1685626"/>
                <a:gd name="connsiteY50" fmla="*/ 496136 h 1619249"/>
                <a:gd name="connsiteX51" fmla="*/ 844234 w 1685626"/>
                <a:gd name="connsiteY51" fmla="*/ 204967 h 1619249"/>
                <a:gd name="connsiteX52" fmla="*/ 811465 w 1685626"/>
                <a:gd name="connsiteY52" fmla="*/ 218377 h 1619249"/>
                <a:gd name="connsiteX53" fmla="*/ 799900 w 1685626"/>
                <a:gd name="connsiteY53" fmla="*/ 245195 h 1619249"/>
                <a:gd name="connsiteX54" fmla="*/ 799900 w 1685626"/>
                <a:gd name="connsiteY54" fmla="*/ 254773 h 1619249"/>
                <a:gd name="connsiteX55" fmla="*/ 803755 w 1685626"/>
                <a:gd name="connsiteY55" fmla="*/ 277760 h 1619249"/>
                <a:gd name="connsiteX56" fmla="*/ 805682 w 1685626"/>
                <a:gd name="connsiteY56" fmla="*/ 289253 h 1619249"/>
                <a:gd name="connsiteX57" fmla="*/ 805682 w 1685626"/>
                <a:gd name="connsiteY57" fmla="*/ 291169 h 1619249"/>
                <a:gd name="connsiteX58" fmla="*/ 809538 w 1685626"/>
                <a:gd name="connsiteY58" fmla="*/ 356299 h 1619249"/>
                <a:gd name="connsiteX59" fmla="*/ 799900 w 1685626"/>
                <a:gd name="connsiteY59" fmla="*/ 371623 h 1619249"/>
                <a:gd name="connsiteX60" fmla="*/ 799900 w 1685626"/>
                <a:gd name="connsiteY60" fmla="*/ 375454 h 1619249"/>
                <a:gd name="connsiteX61" fmla="*/ 797972 w 1685626"/>
                <a:gd name="connsiteY61" fmla="*/ 390779 h 1619249"/>
                <a:gd name="connsiteX62" fmla="*/ 732434 w 1685626"/>
                <a:gd name="connsiteY62" fmla="*/ 400357 h 1619249"/>
                <a:gd name="connsiteX63" fmla="*/ 495341 w 1685626"/>
                <a:gd name="connsiteY63" fmla="*/ 534449 h 1619249"/>
                <a:gd name="connsiteX64" fmla="*/ 483775 w 1685626"/>
                <a:gd name="connsiteY64" fmla="*/ 526787 h 1619249"/>
                <a:gd name="connsiteX65" fmla="*/ 481848 w 1685626"/>
                <a:gd name="connsiteY65" fmla="*/ 526787 h 1619249"/>
                <a:gd name="connsiteX66" fmla="*/ 474137 w 1685626"/>
                <a:gd name="connsiteY66" fmla="*/ 528702 h 1619249"/>
                <a:gd name="connsiteX67" fmla="*/ 462572 w 1685626"/>
                <a:gd name="connsiteY67" fmla="*/ 524871 h 1619249"/>
                <a:gd name="connsiteX68" fmla="*/ 414382 w 1685626"/>
                <a:gd name="connsiteY68" fmla="*/ 480812 h 1619249"/>
                <a:gd name="connsiteX69" fmla="*/ 406672 w 1685626"/>
                <a:gd name="connsiteY69" fmla="*/ 473149 h 1619249"/>
                <a:gd name="connsiteX70" fmla="*/ 391251 w 1685626"/>
                <a:gd name="connsiteY70" fmla="*/ 455909 h 1619249"/>
                <a:gd name="connsiteX71" fmla="*/ 385468 w 1685626"/>
                <a:gd name="connsiteY71" fmla="*/ 452078 h 1619249"/>
                <a:gd name="connsiteX72" fmla="*/ 383540 w 1685626"/>
                <a:gd name="connsiteY72" fmla="*/ 450162 h 1619249"/>
                <a:gd name="connsiteX73" fmla="*/ 356554 w 1685626"/>
                <a:gd name="connsiteY73" fmla="*/ 440584 h 1619249"/>
                <a:gd name="connsiteX74" fmla="*/ 329568 w 1685626"/>
                <a:gd name="connsiteY74" fmla="*/ 453993 h 1619249"/>
                <a:gd name="connsiteX75" fmla="*/ 337278 w 1685626"/>
                <a:gd name="connsiteY75" fmla="*/ 507630 h 1619249"/>
                <a:gd name="connsiteX76" fmla="*/ 339206 w 1685626"/>
                <a:gd name="connsiteY76" fmla="*/ 509545 h 1619249"/>
                <a:gd name="connsiteX77" fmla="*/ 344989 w 1685626"/>
                <a:gd name="connsiteY77" fmla="*/ 513376 h 1619249"/>
                <a:gd name="connsiteX78" fmla="*/ 366192 w 1685626"/>
                <a:gd name="connsiteY78" fmla="*/ 524871 h 1619249"/>
                <a:gd name="connsiteX79" fmla="*/ 377758 w 1685626"/>
                <a:gd name="connsiteY79" fmla="*/ 530618 h 1619249"/>
                <a:gd name="connsiteX80" fmla="*/ 431730 w 1685626"/>
                <a:gd name="connsiteY80" fmla="*/ 568929 h 1619249"/>
                <a:gd name="connsiteX81" fmla="*/ 437513 w 1685626"/>
                <a:gd name="connsiteY81" fmla="*/ 586170 h 1619249"/>
                <a:gd name="connsiteX82" fmla="*/ 437513 w 1685626"/>
                <a:gd name="connsiteY82" fmla="*/ 584254 h 1619249"/>
                <a:gd name="connsiteX83" fmla="*/ 449078 w 1685626"/>
                <a:gd name="connsiteY83" fmla="*/ 595748 h 1619249"/>
                <a:gd name="connsiteX84" fmla="*/ 443296 w 1685626"/>
                <a:gd name="connsiteY84" fmla="*/ 605325 h 1619249"/>
                <a:gd name="connsiteX85" fmla="*/ 375830 w 1685626"/>
                <a:gd name="connsiteY85" fmla="*/ 919481 h 1619249"/>
                <a:gd name="connsiteX86" fmla="*/ 360409 w 1685626"/>
                <a:gd name="connsiteY86" fmla="*/ 923312 h 1619249"/>
                <a:gd name="connsiteX87" fmla="*/ 358482 w 1685626"/>
                <a:gd name="connsiteY87" fmla="*/ 925228 h 1619249"/>
                <a:gd name="connsiteX88" fmla="*/ 344989 w 1685626"/>
                <a:gd name="connsiteY88" fmla="*/ 938637 h 1619249"/>
                <a:gd name="connsiteX89" fmla="*/ 279451 w 1685626"/>
                <a:gd name="connsiteY89" fmla="*/ 950130 h 1619249"/>
                <a:gd name="connsiteX90" fmla="*/ 267885 w 1685626"/>
                <a:gd name="connsiteY90" fmla="*/ 952046 h 1619249"/>
                <a:gd name="connsiteX91" fmla="*/ 244754 w 1685626"/>
                <a:gd name="connsiteY91" fmla="*/ 953962 h 1619249"/>
                <a:gd name="connsiteX92" fmla="*/ 237044 w 1685626"/>
                <a:gd name="connsiteY92" fmla="*/ 955877 h 1619249"/>
                <a:gd name="connsiteX93" fmla="*/ 233189 w 1685626"/>
                <a:gd name="connsiteY93" fmla="*/ 957793 h 1619249"/>
                <a:gd name="connsiteX94" fmla="*/ 202347 w 1685626"/>
                <a:gd name="connsiteY94" fmla="*/ 1001851 h 1619249"/>
                <a:gd name="connsiteX95" fmla="*/ 240899 w 1685626"/>
                <a:gd name="connsiteY95" fmla="*/ 1028669 h 1619249"/>
                <a:gd name="connsiteX96" fmla="*/ 250537 w 1685626"/>
                <a:gd name="connsiteY96" fmla="*/ 1026754 h 1619249"/>
                <a:gd name="connsiteX97" fmla="*/ 252464 w 1685626"/>
                <a:gd name="connsiteY97" fmla="*/ 1024838 h 1619249"/>
                <a:gd name="connsiteX98" fmla="*/ 260175 w 1685626"/>
                <a:gd name="connsiteY98" fmla="*/ 1024838 h 1619249"/>
                <a:gd name="connsiteX99" fmla="*/ 281378 w 1685626"/>
                <a:gd name="connsiteY99" fmla="*/ 1017176 h 1619249"/>
                <a:gd name="connsiteX100" fmla="*/ 292944 w 1685626"/>
                <a:gd name="connsiteY100" fmla="*/ 1013345 h 1619249"/>
                <a:gd name="connsiteX101" fmla="*/ 294871 w 1685626"/>
                <a:gd name="connsiteY101" fmla="*/ 1013345 h 1619249"/>
                <a:gd name="connsiteX102" fmla="*/ 358482 w 1685626"/>
                <a:gd name="connsiteY102" fmla="*/ 996104 h 1619249"/>
                <a:gd name="connsiteX103" fmla="*/ 360409 w 1685626"/>
                <a:gd name="connsiteY103" fmla="*/ 996104 h 1619249"/>
                <a:gd name="connsiteX104" fmla="*/ 375830 w 1685626"/>
                <a:gd name="connsiteY104" fmla="*/ 1001851 h 1619249"/>
                <a:gd name="connsiteX105" fmla="*/ 377758 w 1685626"/>
                <a:gd name="connsiteY105" fmla="*/ 1003767 h 1619249"/>
                <a:gd name="connsiteX106" fmla="*/ 395106 w 1685626"/>
                <a:gd name="connsiteY106" fmla="*/ 1001851 h 1619249"/>
                <a:gd name="connsiteX107" fmla="*/ 553168 w 1685626"/>
                <a:gd name="connsiteY107" fmla="*/ 1225974 h 1619249"/>
                <a:gd name="connsiteX108" fmla="*/ 605213 w 1685626"/>
                <a:gd name="connsiteY108" fmla="*/ 1260455 h 1619249"/>
                <a:gd name="connsiteX109" fmla="*/ 595575 w 1685626"/>
                <a:gd name="connsiteY109" fmla="*/ 1273864 h 1619249"/>
                <a:gd name="connsiteX110" fmla="*/ 597503 w 1685626"/>
                <a:gd name="connsiteY110" fmla="*/ 1275780 h 1619249"/>
                <a:gd name="connsiteX111" fmla="*/ 599430 w 1685626"/>
                <a:gd name="connsiteY111" fmla="*/ 1294935 h 1619249"/>
                <a:gd name="connsiteX112" fmla="*/ 568589 w 1685626"/>
                <a:gd name="connsiteY112" fmla="*/ 1350487 h 1619249"/>
                <a:gd name="connsiteX113" fmla="*/ 568589 w 1685626"/>
                <a:gd name="connsiteY113" fmla="*/ 1352403 h 1619249"/>
                <a:gd name="connsiteX114" fmla="*/ 560879 w 1685626"/>
                <a:gd name="connsiteY114" fmla="*/ 1361981 h 1619249"/>
                <a:gd name="connsiteX115" fmla="*/ 547386 w 1685626"/>
                <a:gd name="connsiteY115" fmla="*/ 1381137 h 1619249"/>
                <a:gd name="connsiteX116" fmla="*/ 543530 w 1685626"/>
                <a:gd name="connsiteY116" fmla="*/ 1386884 h 1619249"/>
                <a:gd name="connsiteX117" fmla="*/ 541603 w 1685626"/>
                <a:gd name="connsiteY117" fmla="*/ 1388799 h 1619249"/>
                <a:gd name="connsiteX118" fmla="*/ 557023 w 1685626"/>
                <a:gd name="connsiteY118" fmla="*/ 1440520 h 1619249"/>
                <a:gd name="connsiteX119" fmla="*/ 570517 w 1685626"/>
                <a:gd name="connsiteY119" fmla="*/ 1444351 h 1619249"/>
                <a:gd name="connsiteX120" fmla="*/ 607141 w 1685626"/>
                <a:gd name="connsiteY120" fmla="*/ 1421364 h 1619249"/>
                <a:gd name="connsiteX121" fmla="*/ 609068 w 1685626"/>
                <a:gd name="connsiteY121" fmla="*/ 1419448 h 1619249"/>
                <a:gd name="connsiteX122" fmla="*/ 612924 w 1685626"/>
                <a:gd name="connsiteY122" fmla="*/ 1413702 h 1619249"/>
                <a:gd name="connsiteX123" fmla="*/ 620634 w 1685626"/>
                <a:gd name="connsiteY123" fmla="*/ 1392630 h 1619249"/>
                <a:gd name="connsiteX124" fmla="*/ 624489 w 1685626"/>
                <a:gd name="connsiteY124" fmla="*/ 1381137 h 1619249"/>
                <a:gd name="connsiteX125" fmla="*/ 649548 w 1685626"/>
                <a:gd name="connsiteY125" fmla="*/ 1321754 h 1619249"/>
                <a:gd name="connsiteX126" fmla="*/ 664968 w 1685626"/>
                <a:gd name="connsiteY126" fmla="*/ 1310260 h 1619249"/>
                <a:gd name="connsiteX127" fmla="*/ 666896 w 1685626"/>
                <a:gd name="connsiteY127" fmla="*/ 1308345 h 1619249"/>
                <a:gd name="connsiteX128" fmla="*/ 674606 w 1685626"/>
                <a:gd name="connsiteY128" fmla="*/ 1293020 h 1619249"/>
                <a:gd name="connsiteX129" fmla="*/ 842307 w 1685626"/>
                <a:gd name="connsiteY129" fmla="*/ 1323669 h 1619249"/>
                <a:gd name="connsiteX130" fmla="*/ 946396 w 1685626"/>
                <a:gd name="connsiteY130" fmla="*/ 1310260 h 1619249"/>
                <a:gd name="connsiteX131" fmla="*/ 1008079 w 1685626"/>
                <a:gd name="connsiteY131" fmla="*/ 1293020 h 1619249"/>
                <a:gd name="connsiteX132" fmla="*/ 1015790 w 1685626"/>
                <a:gd name="connsiteY132" fmla="*/ 1306429 h 1619249"/>
                <a:gd name="connsiteX133" fmla="*/ 1017717 w 1685626"/>
                <a:gd name="connsiteY133" fmla="*/ 1308345 h 1619249"/>
                <a:gd name="connsiteX134" fmla="*/ 1033138 w 1685626"/>
                <a:gd name="connsiteY134" fmla="*/ 1319838 h 1619249"/>
                <a:gd name="connsiteX135" fmla="*/ 1058197 w 1685626"/>
                <a:gd name="connsiteY135" fmla="*/ 1379221 h 1619249"/>
                <a:gd name="connsiteX136" fmla="*/ 1058197 w 1685626"/>
                <a:gd name="connsiteY136" fmla="*/ 1381137 h 1619249"/>
                <a:gd name="connsiteX137" fmla="*/ 1062052 w 1685626"/>
                <a:gd name="connsiteY137" fmla="*/ 1392630 h 1619249"/>
                <a:gd name="connsiteX138" fmla="*/ 1069762 w 1685626"/>
                <a:gd name="connsiteY138" fmla="*/ 1413702 h 1619249"/>
                <a:gd name="connsiteX139" fmla="*/ 1073617 w 1685626"/>
                <a:gd name="connsiteY139" fmla="*/ 1419448 h 1619249"/>
                <a:gd name="connsiteX140" fmla="*/ 1075545 w 1685626"/>
                <a:gd name="connsiteY140" fmla="*/ 1421364 h 1619249"/>
                <a:gd name="connsiteX141" fmla="*/ 1112169 w 1685626"/>
                <a:gd name="connsiteY141" fmla="*/ 1444351 h 1619249"/>
                <a:gd name="connsiteX142" fmla="*/ 1127590 w 1685626"/>
                <a:gd name="connsiteY142" fmla="*/ 1440520 h 1619249"/>
                <a:gd name="connsiteX143" fmla="*/ 1144938 w 1685626"/>
                <a:gd name="connsiteY143" fmla="*/ 1419448 h 1619249"/>
                <a:gd name="connsiteX144" fmla="*/ 1143011 w 1685626"/>
                <a:gd name="connsiteY144" fmla="*/ 1390715 h 1619249"/>
                <a:gd name="connsiteX145" fmla="*/ 1141083 w 1685626"/>
                <a:gd name="connsiteY145" fmla="*/ 1388799 h 1619249"/>
                <a:gd name="connsiteX146" fmla="*/ 1137228 w 1685626"/>
                <a:gd name="connsiteY146" fmla="*/ 1383052 h 1619249"/>
                <a:gd name="connsiteX147" fmla="*/ 1123735 w 1685626"/>
                <a:gd name="connsiteY147" fmla="*/ 1363896 h 1619249"/>
                <a:gd name="connsiteX148" fmla="*/ 1116024 w 1685626"/>
                <a:gd name="connsiteY148" fmla="*/ 1354319 h 1619249"/>
                <a:gd name="connsiteX149" fmla="*/ 1116024 w 1685626"/>
                <a:gd name="connsiteY149" fmla="*/ 1350487 h 1619249"/>
                <a:gd name="connsiteX150" fmla="*/ 1085183 w 1685626"/>
                <a:gd name="connsiteY150" fmla="*/ 1294935 h 1619249"/>
                <a:gd name="connsiteX151" fmla="*/ 1087110 w 1685626"/>
                <a:gd name="connsiteY151" fmla="*/ 1275780 h 1619249"/>
                <a:gd name="connsiteX152" fmla="*/ 1089038 w 1685626"/>
                <a:gd name="connsiteY152" fmla="*/ 1273864 h 1619249"/>
                <a:gd name="connsiteX153" fmla="*/ 1083255 w 1685626"/>
                <a:gd name="connsiteY153" fmla="*/ 1258539 h 1619249"/>
                <a:gd name="connsiteX154" fmla="*/ 1291435 w 1685626"/>
                <a:gd name="connsiteY154" fmla="*/ 998020 h 1619249"/>
                <a:gd name="connsiteX155" fmla="*/ 1306856 w 1685626"/>
                <a:gd name="connsiteY155" fmla="*/ 999936 h 1619249"/>
                <a:gd name="connsiteX156" fmla="*/ 1308783 w 1685626"/>
                <a:gd name="connsiteY156" fmla="*/ 998020 h 1619249"/>
                <a:gd name="connsiteX157" fmla="*/ 1324204 w 1685626"/>
                <a:gd name="connsiteY157" fmla="*/ 992273 h 1619249"/>
                <a:gd name="connsiteX158" fmla="*/ 1326132 w 1685626"/>
                <a:gd name="connsiteY158" fmla="*/ 992273 h 1619249"/>
                <a:gd name="connsiteX159" fmla="*/ 1387814 w 1685626"/>
                <a:gd name="connsiteY159" fmla="*/ 1009514 h 1619249"/>
                <a:gd name="connsiteX160" fmla="*/ 1389742 w 1685626"/>
                <a:gd name="connsiteY160" fmla="*/ 1009514 h 1619249"/>
                <a:gd name="connsiteX161" fmla="*/ 1401307 w 1685626"/>
                <a:gd name="connsiteY161" fmla="*/ 1013345 h 1619249"/>
                <a:gd name="connsiteX162" fmla="*/ 1422511 w 1685626"/>
                <a:gd name="connsiteY162" fmla="*/ 1022923 h 1619249"/>
                <a:gd name="connsiteX163" fmla="*/ 1430221 w 1685626"/>
                <a:gd name="connsiteY163" fmla="*/ 1024838 h 1619249"/>
                <a:gd name="connsiteX164" fmla="*/ 1434077 w 1685626"/>
                <a:gd name="connsiteY164" fmla="*/ 1026754 h 1619249"/>
                <a:gd name="connsiteX165" fmla="*/ 1443714 w 1685626"/>
                <a:gd name="connsiteY165" fmla="*/ 1028669 h 1619249"/>
                <a:gd name="connsiteX166" fmla="*/ 1482266 w 1685626"/>
                <a:gd name="connsiteY166" fmla="*/ 1001851 h 1619249"/>
                <a:gd name="connsiteX167" fmla="*/ 1447570 w 1685626"/>
                <a:gd name="connsiteY167" fmla="*/ 961624 h 1619249"/>
                <a:gd name="connsiteX168" fmla="*/ 1443714 w 1685626"/>
                <a:gd name="connsiteY168" fmla="*/ 959708 h 1619249"/>
                <a:gd name="connsiteX169" fmla="*/ 1436004 w 1685626"/>
                <a:gd name="connsiteY169" fmla="*/ 957793 h 1619249"/>
                <a:gd name="connsiteX170" fmla="*/ 1412873 w 1685626"/>
                <a:gd name="connsiteY170" fmla="*/ 955877 h 1619249"/>
                <a:gd name="connsiteX171" fmla="*/ 1401307 w 1685626"/>
                <a:gd name="connsiteY171" fmla="*/ 953962 h 1619249"/>
                <a:gd name="connsiteX172" fmla="*/ 1399380 w 1685626"/>
                <a:gd name="connsiteY172" fmla="*/ 953962 h 1619249"/>
                <a:gd name="connsiteX173" fmla="*/ 1333842 w 1685626"/>
                <a:gd name="connsiteY173" fmla="*/ 942468 h 1619249"/>
                <a:gd name="connsiteX174" fmla="*/ 1320349 w 1685626"/>
                <a:gd name="connsiteY174" fmla="*/ 929059 h 1619249"/>
                <a:gd name="connsiteX175" fmla="*/ 1304928 w 1685626"/>
                <a:gd name="connsiteY175" fmla="*/ 925228 h 1619249"/>
                <a:gd name="connsiteX176" fmla="*/ 1297218 w 1685626"/>
                <a:gd name="connsiteY176" fmla="*/ 756656 h 1619249"/>
                <a:gd name="connsiteX177" fmla="*/ 1229752 w 1685626"/>
                <a:gd name="connsiteY177" fmla="*/ 599579 h 1619249"/>
                <a:gd name="connsiteX178" fmla="*/ 1241318 w 1685626"/>
                <a:gd name="connsiteY178" fmla="*/ 588085 h 1619249"/>
                <a:gd name="connsiteX179" fmla="*/ 1241318 w 1685626"/>
                <a:gd name="connsiteY179" fmla="*/ 586170 h 1619249"/>
                <a:gd name="connsiteX180" fmla="*/ 1247100 w 1685626"/>
                <a:gd name="connsiteY180" fmla="*/ 568929 h 1619249"/>
                <a:gd name="connsiteX181" fmla="*/ 1301073 w 1685626"/>
                <a:gd name="connsiteY181" fmla="*/ 530618 h 1619249"/>
                <a:gd name="connsiteX182" fmla="*/ 1312638 w 1685626"/>
                <a:gd name="connsiteY182" fmla="*/ 524871 h 1619249"/>
                <a:gd name="connsiteX183" fmla="*/ 1333842 w 1685626"/>
                <a:gd name="connsiteY183" fmla="*/ 513376 h 1619249"/>
                <a:gd name="connsiteX184" fmla="*/ 1339625 w 1685626"/>
                <a:gd name="connsiteY184" fmla="*/ 509545 h 1619249"/>
                <a:gd name="connsiteX185" fmla="*/ 1339625 w 1685626"/>
                <a:gd name="connsiteY185" fmla="*/ 505714 h 1619249"/>
                <a:gd name="connsiteX186" fmla="*/ 1347335 w 1685626"/>
                <a:gd name="connsiteY186" fmla="*/ 452078 h 1619249"/>
                <a:gd name="connsiteX187" fmla="*/ 1320349 w 1685626"/>
                <a:gd name="connsiteY187" fmla="*/ 438669 h 1619249"/>
                <a:gd name="connsiteX188" fmla="*/ 1293362 w 1685626"/>
                <a:gd name="connsiteY188" fmla="*/ 448247 h 1619249"/>
                <a:gd name="connsiteX189" fmla="*/ 1291435 w 1685626"/>
                <a:gd name="connsiteY189" fmla="*/ 450162 h 1619249"/>
                <a:gd name="connsiteX190" fmla="*/ 1285652 w 1685626"/>
                <a:gd name="connsiteY190" fmla="*/ 453993 h 1619249"/>
                <a:gd name="connsiteX191" fmla="*/ 1270231 w 1685626"/>
                <a:gd name="connsiteY191" fmla="*/ 471234 h 1619249"/>
                <a:gd name="connsiteX192" fmla="*/ 1262521 w 1685626"/>
                <a:gd name="connsiteY192" fmla="*/ 478896 h 1619249"/>
                <a:gd name="connsiteX193" fmla="*/ 1214331 w 1685626"/>
                <a:gd name="connsiteY193" fmla="*/ 521040 h 1619249"/>
                <a:gd name="connsiteX194" fmla="*/ 1202766 w 1685626"/>
                <a:gd name="connsiteY194" fmla="*/ 524871 h 1619249"/>
                <a:gd name="connsiteX195" fmla="*/ 1195055 w 1685626"/>
                <a:gd name="connsiteY195" fmla="*/ 522955 h 1619249"/>
                <a:gd name="connsiteX196" fmla="*/ 1193128 w 1685626"/>
                <a:gd name="connsiteY196" fmla="*/ 522955 h 1619249"/>
                <a:gd name="connsiteX197" fmla="*/ 1177707 w 1685626"/>
                <a:gd name="connsiteY197" fmla="*/ 532533 h 1619249"/>
                <a:gd name="connsiteX198" fmla="*/ 1129517 w 1685626"/>
                <a:gd name="connsiteY198" fmla="*/ 486558 h 1619249"/>
                <a:gd name="connsiteX199" fmla="*/ 878931 w 1685626"/>
                <a:gd name="connsiteY199" fmla="*/ 386948 h 1619249"/>
                <a:gd name="connsiteX200" fmla="*/ 877003 w 1685626"/>
                <a:gd name="connsiteY200" fmla="*/ 371623 h 1619249"/>
                <a:gd name="connsiteX201" fmla="*/ 877003 w 1685626"/>
                <a:gd name="connsiteY201" fmla="*/ 373539 h 1619249"/>
                <a:gd name="connsiteX202" fmla="*/ 867365 w 1685626"/>
                <a:gd name="connsiteY202" fmla="*/ 358214 h 1619249"/>
                <a:gd name="connsiteX203" fmla="*/ 871221 w 1685626"/>
                <a:gd name="connsiteY203" fmla="*/ 293084 h 1619249"/>
                <a:gd name="connsiteX204" fmla="*/ 871221 w 1685626"/>
                <a:gd name="connsiteY204" fmla="*/ 291169 h 1619249"/>
                <a:gd name="connsiteX205" fmla="*/ 873148 w 1685626"/>
                <a:gd name="connsiteY205" fmla="*/ 279675 h 1619249"/>
                <a:gd name="connsiteX206" fmla="*/ 877003 w 1685626"/>
                <a:gd name="connsiteY206" fmla="*/ 256688 h 1619249"/>
                <a:gd name="connsiteX207" fmla="*/ 877003 w 1685626"/>
                <a:gd name="connsiteY207" fmla="*/ 245195 h 1619249"/>
                <a:gd name="connsiteX208" fmla="*/ 844234 w 1685626"/>
                <a:gd name="connsiteY208" fmla="*/ 204967 h 1619249"/>
                <a:gd name="connsiteX209" fmla="*/ 840379 w 1685626"/>
                <a:gd name="connsiteY209" fmla="*/ 0 h 1619249"/>
                <a:gd name="connsiteX210" fmla="*/ 888569 w 1685626"/>
                <a:gd name="connsiteY210" fmla="*/ 9578 h 1619249"/>
                <a:gd name="connsiteX211" fmla="*/ 1476483 w 1685626"/>
                <a:gd name="connsiteY211" fmla="*/ 289254 h 1619249"/>
                <a:gd name="connsiteX212" fmla="*/ 1538166 w 1685626"/>
                <a:gd name="connsiteY212" fmla="*/ 360130 h 1619249"/>
                <a:gd name="connsiteX213" fmla="*/ 1684663 w 1685626"/>
                <a:gd name="connsiteY213" fmla="*/ 986527 h 1619249"/>
                <a:gd name="connsiteX214" fmla="*/ 1661532 w 1685626"/>
                <a:gd name="connsiteY214" fmla="*/ 1078475 h 1619249"/>
                <a:gd name="connsiteX215" fmla="*/ 1254811 w 1685626"/>
                <a:gd name="connsiteY215" fmla="*/ 1578442 h 1619249"/>
                <a:gd name="connsiteX216" fmla="*/ 1166142 w 1685626"/>
                <a:gd name="connsiteY216" fmla="*/ 1618669 h 1619249"/>
                <a:gd name="connsiteX217" fmla="*/ 518472 w 1685626"/>
                <a:gd name="connsiteY217" fmla="*/ 1618669 h 1619249"/>
                <a:gd name="connsiteX218" fmla="*/ 429803 w 1685626"/>
                <a:gd name="connsiteY218" fmla="*/ 1578442 h 1619249"/>
                <a:gd name="connsiteX219" fmla="*/ 23081 w 1685626"/>
                <a:gd name="connsiteY219" fmla="*/ 1078475 h 1619249"/>
                <a:gd name="connsiteX220" fmla="*/ 1878 w 1685626"/>
                <a:gd name="connsiteY220" fmla="*/ 986527 h 1619249"/>
                <a:gd name="connsiteX221" fmla="*/ 146447 w 1685626"/>
                <a:gd name="connsiteY221" fmla="*/ 356299 h 1619249"/>
                <a:gd name="connsiteX222" fmla="*/ 204275 w 1685626"/>
                <a:gd name="connsiteY222" fmla="*/ 285422 h 1619249"/>
                <a:gd name="connsiteX223" fmla="*/ 792189 w 1685626"/>
                <a:gd name="connsiteY223" fmla="*/ 3832 h 1619249"/>
                <a:gd name="connsiteX224" fmla="*/ 840379 w 1685626"/>
                <a:gd name="connsiteY224" fmla="*/ 0 h 1619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Lst>
              <a:rect l="l" t="t" r="r" b="b"/>
              <a:pathLst>
                <a:path w="1685626" h="1619249">
                  <a:moveTo>
                    <a:pt x="829296" y="1034895"/>
                  </a:moveTo>
                  <a:cubicBezTo>
                    <a:pt x="836042" y="1033458"/>
                    <a:pt x="843271" y="1034416"/>
                    <a:pt x="850017" y="1038247"/>
                  </a:cubicBezTo>
                  <a:cubicBezTo>
                    <a:pt x="855800" y="1042078"/>
                    <a:pt x="859655" y="1045910"/>
                    <a:pt x="865438" y="1051656"/>
                  </a:cubicBezTo>
                  <a:lnTo>
                    <a:pt x="957962" y="1218312"/>
                  </a:lnTo>
                  <a:cubicBezTo>
                    <a:pt x="946396" y="1220228"/>
                    <a:pt x="934831" y="1222143"/>
                    <a:pt x="921338" y="1225974"/>
                  </a:cubicBezTo>
                  <a:cubicBezTo>
                    <a:pt x="894352" y="1231721"/>
                    <a:pt x="867365" y="1235552"/>
                    <a:pt x="838451" y="1235552"/>
                  </a:cubicBezTo>
                  <a:cubicBezTo>
                    <a:pt x="797972" y="1235552"/>
                    <a:pt x="755565" y="1227890"/>
                    <a:pt x="717013" y="1216397"/>
                  </a:cubicBezTo>
                  <a:lnTo>
                    <a:pt x="811465" y="1045910"/>
                  </a:lnTo>
                  <a:cubicBezTo>
                    <a:pt x="816284" y="1040163"/>
                    <a:pt x="822549" y="1036332"/>
                    <a:pt x="829296" y="1034895"/>
                  </a:cubicBezTo>
                  <a:close/>
                  <a:moveTo>
                    <a:pt x="674606" y="955877"/>
                  </a:moveTo>
                  <a:cubicBezTo>
                    <a:pt x="690027" y="955877"/>
                    <a:pt x="705448" y="965455"/>
                    <a:pt x="707375" y="980780"/>
                  </a:cubicBezTo>
                  <a:cubicBezTo>
                    <a:pt x="709303" y="986527"/>
                    <a:pt x="709303" y="994189"/>
                    <a:pt x="705448" y="999936"/>
                  </a:cubicBezTo>
                  <a:lnTo>
                    <a:pt x="632199" y="1176169"/>
                  </a:lnTo>
                  <a:cubicBezTo>
                    <a:pt x="564734" y="1132111"/>
                    <a:pt x="510761" y="1065065"/>
                    <a:pt x="483775" y="988442"/>
                  </a:cubicBezTo>
                  <a:close/>
                  <a:moveTo>
                    <a:pt x="1000369" y="953962"/>
                  </a:moveTo>
                  <a:lnTo>
                    <a:pt x="1193128" y="986527"/>
                  </a:lnTo>
                  <a:cubicBezTo>
                    <a:pt x="1183490" y="1013345"/>
                    <a:pt x="1171924" y="1038247"/>
                    <a:pt x="1156504" y="1059319"/>
                  </a:cubicBezTo>
                  <a:cubicBezTo>
                    <a:pt x="1127590" y="1105293"/>
                    <a:pt x="1087110" y="1145520"/>
                    <a:pt x="1040848" y="1174254"/>
                  </a:cubicBezTo>
                  <a:lnTo>
                    <a:pt x="965672" y="994189"/>
                  </a:lnTo>
                  <a:cubicBezTo>
                    <a:pt x="961817" y="978864"/>
                    <a:pt x="969528" y="963540"/>
                    <a:pt x="983021" y="957793"/>
                  </a:cubicBezTo>
                  <a:cubicBezTo>
                    <a:pt x="988803" y="955877"/>
                    <a:pt x="994586" y="953962"/>
                    <a:pt x="1000369" y="953962"/>
                  </a:cubicBezTo>
                  <a:close/>
                  <a:moveTo>
                    <a:pt x="809538" y="800714"/>
                  </a:moveTo>
                  <a:lnTo>
                    <a:pt x="867365" y="800714"/>
                  </a:lnTo>
                  <a:lnTo>
                    <a:pt x="903989" y="846688"/>
                  </a:lnTo>
                  <a:lnTo>
                    <a:pt x="890496" y="902241"/>
                  </a:lnTo>
                  <a:lnTo>
                    <a:pt x="838451" y="927143"/>
                  </a:lnTo>
                  <a:lnTo>
                    <a:pt x="786407" y="902241"/>
                  </a:lnTo>
                  <a:lnTo>
                    <a:pt x="772913" y="846688"/>
                  </a:lnTo>
                  <a:close/>
                  <a:moveTo>
                    <a:pt x="1158431" y="664708"/>
                  </a:moveTo>
                  <a:cubicBezTo>
                    <a:pt x="1179635" y="699188"/>
                    <a:pt x="1195055" y="737500"/>
                    <a:pt x="1204693" y="777728"/>
                  </a:cubicBezTo>
                  <a:cubicBezTo>
                    <a:pt x="1214331" y="817954"/>
                    <a:pt x="1216259" y="858182"/>
                    <a:pt x="1212404" y="898410"/>
                  </a:cubicBezTo>
                  <a:lnTo>
                    <a:pt x="1029283" y="846688"/>
                  </a:lnTo>
                  <a:cubicBezTo>
                    <a:pt x="1011934" y="842858"/>
                    <a:pt x="1002297" y="825616"/>
                    <a:pt x="1006152" y="808376"/>
                  </a:cubicBezTo>
                  <a:cubicBezTo>
                    <a:pt x="1008079" y="802630"/>
                    <a:pt x="1010007" y="798798"/>
                    <a:pt x="1013862" y="794968"/>
                  </a:cubicBezTo>
                  <a:close/>
                  <a:moveTo>
                    <a:pt x="516544" y="664708"/>
                  </a:moveTo>
                  <a:lnTo>
                    <a:pt x="659186" y="791136"/>
                  </a:lnTo>
                  <a:cubicBezTo>
                    <a:pt x="672679" y="802630"/>
                    <a:pt x="674606" y="821786"/>
                    <a:pt x="663041" y="835194"/>
                  </a:cubicBezTo>
                  <a:cubicBezTo>
                    <a:pt x="659186" y="840942"/>
                    <a:pt x="655331" y="842858"/>
                    <a:pt x="647620" y="844772"/>
                  </a:cubicBezTo>
                  <a:lnTo>
                    <a:pt x="460644" y="898410"/>
                  </a:lnTo>
                  <a:cubicBezTo>
                    <a:pt x="454861" y="817954"/>
                    <a:pt x="474137" y="735584"/>
                    <a:pt x="516544" y="664708"/>
                  </a:cubicBezTo>
                  <a:close/>
                  <a:moveTo>
                    <a:pt x="882786" y="490389"/>
                  </a:moveTo>
                  <a:cubicBezTo>
                    <a:pt x="967600" y="499967"/>
                    <a:pt x="1042776" y="536364"/>
                    <a:pt x="1100604" y="593832"/>
                  </a:cubicBezTo>
                  <a:lnTo>
                    <a:pt x="942541" y="704935"/>
                  </a:lnTo>
                  <a:cubicBezTo>
                    <a:pt x="929048" y="712597"/>
                    <a:pt x="909772" y="710681"/>
                    <a:pt x="900134" y="697272"/>
                  </a:cubicBezTo>
                  <a:cubicBezTo>
                    <a:pt x="896279" y="693441"/>
                    <a:pt x="894352" y="689610"/>
                    <a:pt x="894352" y="683863"/>
                  </a:cubicBezTo>
                  <a:close/>
                  <a:moveTo>
                    <a:pt x="790262" y="488474"/>
                  </a:moveTo>
                  <a:lnTo>
                    <a:pt x="780624" y="680032"/>
                  </a:lnTo>
                  <a:cubicBezTo>
                    <a:pt x="780624" y="697272"/>
                    <a:pt x="765203" y="710681"/>
                    <a:pt x="747855" y="710681"/>
                  </a:cubicBezTo>
                  <a:cubicBezTo>
                    <a:pt x="742072" y="710681"/>
                    <a:pt x="738217" y="708766"/>
                    <a:pt x="732434" y="706850"/>
                  </a:cubicBezTo>
                  <a:lnTo>
                    <a:pt x="572444" y="593832"/>
                  </a:lnTo>
                  <a:cubicBezTo>
                    <a:pt x="622561" y="545942"/>
                    <a:pt x="684244" y="511461"/>
                    <a:pt x="751710" y="496136"/>
                  </a:cubicBezTo>
                  <a:close/>
                  <a:moveTo>
                    <a:pt x="844234" y="204967"/>
                  </a:moveTo>
                  <a:cubicBezTo>
                    <a:pt x="832669" y="203052"/>
                    <a:pt x="821103" y="208799"/>
                    <a:pt x="811465" y="218377"/>
                  </a:cubicBezTo>
                  <a:cubicBezTo>
                    <a:pt x="803755" y="226039"/>
                    <a:pt x="799900" y="235617"/>
                    <a:pt x="799900" y="245195"/>
                  </a:cubicBezTo>
                  <a:lnTo>
                    <a:pt x="799900" y="254773"/>
                  </a:lnTo>
                  <a:cubicBezTo>
                    <a:pt x="799900" y="262435"/>
                    <a:pt x="801827" y="270097"/>
                    <a:pt x="803755" y="277760"/>
                  </a:cubicBezTo>
                  <a:cubicBezTo>
                    <a:pt x="805682" y="281591"/>
                    <a:pt x="805682" y="285422"/>
                    <a:pt x="805682" y="289253"/>
                  </a:cubicBezTo>
                  <a:lnTo>
                    <a:pt x="805682" y="291169"/>
                  </a:lnTo>
                  <a:cubicBezTo>
                    <a:pt x="809538" y="312240"/>
                    <a:pt x="809538" y="333312"/>
                    <a:pt x="809538" y="356299"/>
                  </a:cubicBezTo>
                  <a:cubicBezTo>
                    <a:pt x="807610" y="362045"/>
                    <a:pt x="805682" y="367792"/>
                    <a:pt x="799900" y="371623"/>
                  </a:cubicBezTo>
                  <a:lnTo>
                    <a:pt x="799900" y="375454"/>
                  </a:lnTo>
                  <a:lnTo>
                    <a:pt x="797972" y="390779"/>
                  </a:lnTo>
                  <a:cubicBezTo>
                    <a:pt x="776769" y="392695"/>
                    <a:pt x="755565" y="396526"/>
                    <a:pt x="732434" y="400357"/>
                  </a:cubicBezTo>
                  <a:cubicBezTo>
                    <a:pt x="641837" y="419513"/>
                    <a:pt x="558951" y="467402"/>
                    <a:pt x="495341" y="534449"/>
                  </a:cubicBezTo>
                  <a:lnTo>
                    <a:pt x="483775" y="526787"/>
                  </a:lnTo>
                  <a:lnTo>
                    <a:pt x="481848" y="526787"/>
                  </a:lnTo>
                  <a:cubicBezTo>
                    <a:pt x="479920" y="526787"/>
                    <a:pt x="477992" y="528702"/>
                    <a:pt x="474137" y="528702"/>
                  </a:cubicBezTo>
                  <a:cubicBezTo>
                    <a:pt x="470282" y="528702"/>
                    <a:pt x="466427" y="526787"/>
                    <a:pt x="462572" y="524871"/>
                  </a:cubicBezTo>
                  <a:cubicBezTo>
                    <a:pt x="445223" y="511461"/>
                    <a:pt x="427875" y="496136"/>
                    <a:pt x="414382" y="480812"/>
                  </a:cubicBezTo>
                  <a:cubicBezTo>
                    <a:pt x="412454" y="476980"/>
                    <a:pt x="408599" y="475065"/>
                    <a:pt x="406672" y="473149"/>
                  </a:cubicBezTo>
                  <a:cubicBezTo>
                    <a:pt x="400889" y="467402"/>
                    <a:pt x="397034" y="461656"/>
                    <a:pt x="391251" y="455909"/>
                  </a:cubicBezTo>
                  <a:cubicBezTo>
                    <a:pt x="389323" y="453993"/>
                    <a:pt x="387396" y="453993"/>
                    <a:pt x="385468" y="452078"/>
                  </a:cubicBezTo>
                  <a:cubicBezTo>
                    <a:pt x="383540" y="450162"/>
                    <a:pt x="383540" y="450162"/>
                    <a:pt x="383540" y="450162"/>
                  </a:cubicBezTo>
                  <a:cubicBezTo>
                    <a:pt x="375830" y="444415"/>
                    <a:pt x="366192" y="440584"/>
                    <a:pt x="356554" y="440584"/>
                  </a:cubicBezTo>
                  <a:cubicBezTo>
                    <a:pt x="344989" y="440584"/>
                    <a:pt x="335351" y="444415"/>
                    <a:pt x="329568" y="453993"/>
                  </a:cubicBezTo>
                  <a:cubicBezTo>
                    <a:pt x="318002" y="471234"/>
                    <a:pt x="321858" y="494221"/>
                    <a:pt x="337278" y="507630"/>
                  </a:cubicBezTo>
                  <a:cubicBezTo>
                    <a:pt x="339206" y="507630"/>
                    <a:pt x="339206" y="509545"/>
                    <a:pt x="339206" y="509545"/>
                  </a:cubicBezTo>
                  <a:cubicBezTo>
                    <a:pt x="339206" y="509545"/>
                    <a:pt x="343061" y="513376"/>
                    <a:pt x="344989" y="513376"/>
                  </a:cubicBezTo>
                  <a:cubicBezTo>
                    <a:pt x="350771" y="517209"/>
                    <a:pt x="358482" y="521040"/>
                    <a:pt x="366192" y="524871"/>
                  </a:cubicBezTo>
                  <a:cubicBezTo>
                    <a:pt x="370047" y="526787"/>
                    <a:pt x="373903" y="528702"/>
                    <a:pt x="377758" y="530618"/>
                  </a:cubicBezTo>
                  <a:cubicBezTo>
                    <a:pt x="397034" y="542111"/>
                    <a:pt x="416309" y="553605"/>
                    <a:pt x="431730" y="568929"/>
                  </a:cubicBezTo>
                  <a:cubicBezTo>
                    <a:pt x="435585" y="572761"/>
                    <a:pt x="439441" y="580423"/>
                    <a:pt x="437513" y="586170"/>
                  </a:cubicBezTo>
                  <a:lnTo>
                    <a:pt x="437513" y="584254"/>
                  </a:lnTo>
                  <a:lnTo>
                    <a:pt x="449078" y="595748"/>
                  </a:lnTo>
                  <a:cubicBezTo>
                    <a:pt x="447151" y="599579"/>
                    <a:pt x="445223" y="601494"/>
                    <a:pt x="443296" y="605325"/>
                  </a:cubicBezTo>
                  <a:cubicBezTo>
                    <a:pt x="383540" y="699188"/>
                    <a:pt x="358482" y="810292"/>
                    <a:pt x="375830" y="919481"/>
                  </a:cubicBezTo>
                  <a:lnTo>
                    <a:pt x="360409" y="923312"/>
                  </a:lnTo>
                  <a:cubicBezTo>
                    <a:pt x="360409" y="925228"/>
                    <a:pt x="358482" y="925228"/>
                    <a:pt x="358482" y="925228"/>
                  </a:cubicBezTo>
                  <a:cubicBezTo>
                    <a:pt x="356554" y="930975"/>
                    <a:pt x="350771" y="934806"/>
                    <a:pt x="344989" y="938637"/>
                  </a:cubicBezTo>
                  <a:cubicBezTo>
                    <a:pt x="323785" y="944384"/>
                    <a:pt x="302582" y="948215"/>
                    <a:pt x="279451" y="950130"/>
                  </a:cubicBezTo>
                  <a:cubicBezTo>
                    <a:pt x="275595" y="950130"/>
                    <a:pt x="271740" y="950130"/>
                    <a:pt x="267885" y="952046"/>
                  </a:cubicBezTo>
                  <a:cubicBezTo>
                    <a:pt x="260175" y="952046"/>
                    <a:pt x="252464" y="953962"/>
                    <a:pt x="244754" y="953962"/>
                  </a:cubicBezTo>
                  <a:cubicBezTo>
                    <a:pt x="242826" y="953962"/>
                    <a:pt x="240899" y="955877"/>
                    <a:pt x="237044" y="955877"/>
                  </a:cubicBezTo>
                  <a:cubicBezTo>
                    <a:pt x="235116" y="955877"/>
                    <a:pt x="235116" y="955877"/>
                    <a:pt x="233189" y="957793"/>
                  </a:cubicBezTo>
                  <a:cubicBezTo>
                    <a:pt x="211985" y="961624"/>
                    <a:pt x="198492" y="980780"/>
                    <a:pt x="202347" y="1001851"/>
                  </a:cubicBezTo>
                  <a:cubicBezTo>
                    <a:pt x="206202" y="1019091"/>
                    <a:pt x="223551" y="1030585"/>
                    <a:pt x="240899" y="1028669"/>
                  </a:cubicBezTo>
                  <a:cubicBezTo>
                    <a:pt x="244754" y="1028669"/>
                    <a:pt x="246682" y="1028669"/>
                    <a:pt x="250537" y="1026754"/>
                  </a:cubicBezTo>
                  <a:cubicBezTo>
                    <a:pt x="252464" y="1026754"/>
                    <a:pt x="252464" y="1026754"/>
                    <a:pt x="252464" y="1024838"/>
                  </a:cubicBezTo>
                  <a:cubicBezTo>
                    <a:pt x="252464" y="1022923"/>
                    <a:pt x="258247" y="1024838"/>
                    <a:pt x="260175" y="1024838"/>
                  </a:cubicBezTo>
                  <a:cubicBezTo>
                    <a:pt x="267885" y="1022923"/>
                    <a:pt x="275595" y="1019091"/>
                    <a:pt x="281378" y="1017176"/>
                  </a:cubicBezTo>
                  <a:cubicBezTo>
                    <a:pt x="285233" y="1015260"/>
                    <a:pt x="289089" y="1013345"/>
                    <a:pt x="292944" y="1013345"/>
                  </a:cubicBezTo>
                  <a:lnTo>
                    <a:pt x="294871" y="1013345"/>
                  </a:lnTo>
                  <a:cubicBezTo>
                    <a:pt x="316075" y="1005682"/>
                    <a:pt x="335351" y="999936"/>
                    <a:pt x="358482" y="996104"/>
                  </a:cubicBezTo>
                  <a:lnTo>
                    <a:pt x="360409" y="996104"/>
                  </a:lnTo>
                  <a:cubicBezTo>
                    <a:pt x="366192" y="996104"/>
                    <a:pt x="371975" y="998020"/>
                    <a:pt x="375830" y="1001851"/>
                  </a:cubicBezTo>
                  <a:cubicBezTo>
                    <a:pt x="377758" y="1001851"/>
                    <a:pt x="377758" y="1003767"/>
                    <a:pt x="377758" y="1003767"/>
                  </a:cubicBezTo>
                  <a:lnTo>
                    <a:pt x="395106" y="1001851"/>
                  </a:lnTo>
                  <a:cubicBezTo>
                    <a:pt x="424020" y="1089968"/>
                    <a:pt x="477992" y="1168507"/>
                    <a:pt x="553168" y="1225974"/>
                  </a:cubicBezTo>
                  <a:cubicBezTo>
                    <a:pt x="570517" y="1239384"/>
                    <a:pt x="585937" y="1250877"/>
                    <a:pt x="605213" y="1260455"/>
                  </a:cubicBezTo>
                  <a:lnTo>
                    <a:pt x="595575" y="1273864"/>
                  </a:lnTo>
                  <a:cubicBezTo>
                    <a:pt x="595575" y="1275780"/>
                    <a:pt x="597503" y="1275780"/>
                    <a:pt x="597503" y="1275780"/>
                  </a:cubicBezTo>
                  <a:cubicBezTo>
                    <a:pt x="601358" y="1281526"/>
                    <a:pt x="601358" y="1289189"/>
                    <a:pt x="599430" y="1294935"/>
                  </a:cubicBezTo>
                  <a:cubicBezTo>
                    <a:pt x="591720" y="1314091"/>
                    <a:pt x="580155" y="1333247"/>
                    <a:pt x="568589" y="1350487"/>
                  </a:cubicBezTo>
                  <a:lnTo>
                    <a:pt x="568589" y="1352403"/>
                  </a:lnTo>
                  <a:cubicBezTo>
                    <a:pt x="566661" y="1356234"/>
                    <a:pt x="564734" y="1358150"/>
                    <a:pt x="560879" y="1361981"/>
                  </a:cubicBezTo>
                  <a:cubicBezTo>
                    <a:pt x="557023" y="1365812"/>
                    <a:pt x="553168" y="1373474"/>
                    <a:pt x="547386" y="1381137"/>
                  </a:cubicBezTo>
                  <a:cubicBezTo>
                    <a:pt x="545458" y="1383052"/>
                    <a:pt x="545458" y="1384968"/>
                    <a:pt x="543530" y="1386884"/>
                  </a:cubicBezTo>
                  <a:cubicBezTo>
                    <a:pt x="543530" y="1386884"/>
                    <a:pt x="543530" y="1388799"/>
                    <a:pt x="541603" y="1388799"/>
                  </a:cubicBezTo>
                  <a:cubicBezTo>
                    <a:pt x="531965" y="1407955"/>
                    <a:pt x="539675" y="1430942"/>
                    <a:pt x="557023" y="1440520"/>
                  </a:cubicBezTo>
                  <a:cubicBezTo>
                    <a:pt x="560879" y="1442435"/>
                    <a:pt x="566661" y="1444351"/>
                    <a:pt x="570517" y="1444351"/>
                  </a:cubicBezTo>
                  <a:cubicBezTo>
                    <a:pt x="585937" y="1444351"/>
                    <a:pt x="599430" y="1434773"/>
                    <a:pt x="607141" y="1421364"/>
                  </a:cubicBezTo>
                  <a:cubicBezTo>
                    <a:pt x="607141" y="1421364"/>
                    <a:pt x="607141" y="1419448"/>
                    <a:pt x="609068" y="1419448"/>
                  </a:cubicBezTo>
                  <a:cubicBezTo>
                    <a:pt x="609068" y="1417533"/>
                    <a:pt x="610996" y="1415617"/>
                    <a:pt x="612924" y="1413702"/>
                  </a:cubicBezTo>
                  <a:cubicBezTo>
                    <a:pt x="614851" y="1406039"/>
                    <a:pt x="618706" y="1400293"/>
                    <a:pt x="620634" y="1392630"/>
                  </a:cubicBezTo>
                  <a:lnTo>
                    <a:pt x="624489" y="1381137"/>
                  </a:lnTo>
                  <a:cubicBezTo>
                    <a:pt x="630272" y="1360065"/>
                    <a:pt x="639910" y="1340909"/>
                    <a:pt x="649548" y="1321754"/>
                  </a:cubicBezTo>
                  <a:cubicBezTo>
                    <a:pt x="653403" y="1316007"/>
                    <a:pt x="659186" y="1312176"/>
                    <a:pt x="664968" y="1310260"/>
                  </a:cubicBezTo>
                  <a:cubicBezTo>
                    <a:pt x="666896" y="1310260"/>
                    <a:pt x="666896" y="1310260"/>
                    <a:pt x="666896" y="1308345"/>
                  </a:cubicBezTo>
                  <a:lnTo>
                    <a:pt x="674606" y="1293020"/>
                  </a:lnTo>
                  <a:cubicBezTo>
                    <a:pt x="728579" y="1314091"/>
                    <a:pt x="784479" y="1323669"/>
                    <a:pt x="842307" y="1323669"/>
                  </a:cubicBezTo>
                  <a:cubicBezTo>
                    <a:pt x="877003" y="1323669"/>
                    <a:pt x="911700" y="1319838"/>
                    <a:pt x="946396" y="1310260"/>
                  </a:cubicBezTo>
                  <a:cubicBezTo>
                    <a:pt x="967600" y="1306429"/>
                    <a:pt x="988803" y="1298767"/>
                    <a:pt x="1008079" y="1293020"/>
                  </a:cubicBezTo>
                  <a:lnTo>
                    <a:pt x="1015790" y="1306429"/>
                  </a:lnTo>
                  <a:cubicBezTo>
                    <a:pt x="1017717" y="1306429"/>
                    <a:pt x="1017717" y="1306429"/>
                    <a:pt x="1017717" y="1308345"/>
                  </a:cubicBezTo>
                  <a:cubicBezTo>
                    <a:pt x="1023500" y="1310260"/>
                    <a:pt x="1029283" y="1314091"/>
                    <a:pt x="1033138" y="1319838"/>
                  </a:cubicBezTo>
                  <a:cubicBezTo>
                    <a:pt x="1042776" y="1338994"/>
                    <a:pt x="1052414" y="1358150"/>
                    <a:pt x="1058197" y="1379221"/>
                  </a:cubicBezTo>
                  <a:lnTo>
                    <a:pt x="1058197" y="1381137"/>
                  </a:lnTo>
                  <a:lnTo>
                    <a:pt x="1062052" y="1392630"/>
                  </a:lnTo>
                  <a:cubicBezTo>
                    <a:pt x="1063979" y="1400293"/>
                    <a:pt x="1065907" y="1407955"/>
                    <a:pt x="1069762" y="1413702"/>
                  </a:cubicBezTo>
                  <a:cubicBezTo>
                    <a:pt x="1071690" y="1415617"/>
                    <a:pt x="1071690" y="1417533"/>
                    <a:pt x="1073617" y="1419448"/>
                  </a:cubicBezTo>
                  <a:cubicBezTo>
                    <a:pt x="1073617" y="1419448"/>
                    <a:pt x="1073617" y="1421364"/>
                    <a:pt x="1075545" y="1421364"/>
                  </a:cubicBezTo>
                  <a:cubicBezTo>
                    <a:pt x="1083255" y="1434773"/>
                    <a:pt x="1096748" y="1444351"/>
                    <a:pt x="1112169" y="1444351"/>
                  </a:cubicBezTo>
                  <a:cubicBezTo>
                    <a:pt x="1117952" y="1444351"/>
                    <a:pt x="1121807" y="1442435"/>
                    <a:pt x="1127590" y="1440520"/>
                  </a:cubicBezTo>
                  <a:cubicBezTo>
                    <a:pt x="1135300" y="1436689"/>
                    <a:pt x="1143011" y="1429026"/>
                    <a:pt x="1144938" y="1419448"/>
                  </a:cubicBezTo>
                  <a:cubicBezTo>
                    <a:pt x="1146866" y="1409870"/>
                    <a:pt x="1146866" y="1400293"/>
                    <a:pt x="1143011" y="1390715"/>
                  </a:cubicBezTo>
                  <a:cubicBezTo>
                    <a:pt x="1143011" y="1388799"/>
                    <a:pt x="1141083" y="1388799"/>
                    <a:pt x="1141083" y="1388799"/>
                  </a:cubicBezTo>
                  <a:cubicBezTo>
                    <a:pt x="1141083" y="1386884"/>
                    <a:pt x="1139155" y="1384968"/>
                    <a:pt x="1137228" y="1383052"/>
                  </a:cubicBezTo>
                  <a:cubicBezTo>
                    <a:pt x="1133373" y="1375390"/>
                    <a:pt x="1129517" y="1369643"/>
                    <a:pt x="1123735" y="1363896"/>
                  </a:cubicBezTo>
                  <a:cubicBezTo>
                    <a:pt x="1121807" y="1360065"/>
                    <a:pt x="1119879" y="1358150"/>
                    <a:pt x="1116024" y="1354319"/>
                  </a:cubicBezTo>
                  <a:lnTo>
                    <a:pt x="1116024" y="1350487"/>
                  </a:lnTo>
                  <a:cubicBezTo>
                    <a:pt x="1102531" y="1333247"/>
                    <a:pt x="1092893" y="1314091"/>
                    <a:pt x="1085183" y="1294935"/>
                  </a:cubicBezTo>
                  <a:cubicBezTo>
                    <a:pt x="1083255" y="1289189"/>
                    <a:pt x="1083255" y="1281526"/>
                    <a:pt x="1087110" y="1275780"/>
                  </a:cubicBezTo>
                  <a:cubicBezTo>
                    <a:pt x="1087110" y="1273864"/>
                    <a:pt x="1089038" y="1273864"/>
                    <a:pt x="1089038" y="1273864"/>
                  </a:cubicBezTo>
                  <a:lnTo>
                    <a:pt x="1083255" y="1258539"/>
                  </a:lnTo>
                  <a:cubicBezTo>
                    <a:pt x="1181562" y="1199156"/>
                    <a:pt x="1256738" y="1107208"/>
                    <a:pt x="1291435" y="998020"/>
                  </a:cubicBezTo>
                  <a:lnTo>
                    <a:pt x="1306856" y="999936"/>
                  </a:lnTo>
                  <a:cubicBezTo>
                    <a:pt x="1308783" y="999936"/>
                    <a:pt x="1308783" y="998020"/>
                    <a:pt x="1308783" y="998020"/>
                  </a:cubicBezTo>
                  <a:cubicBezTo>
                    <a:pt x="1312638" y="994189"/>
                    <a:pt x="1318421" y="992273"/>
                    <a:pt x="1324204" y="992273"/>
                  </a:cubicBezTo>
                  <a:lnTo>
                    <a:pt x="1326132" y="992273"/>
                  </a:lnTo>
                  <a:cubicBezTo>
                    <a:pt x="1347335" y="996104"/>
                    <a:pt x="1368538" y="1001851"/>
                    <a:pt x="1387814" y="1009514"/>
                  </a:cubicBezTo>
                  <a:lnTo>
                    <a:pt x="1389742" y="1009514"/>
                  </a:lnTo>
                  <a:cubicBezTo>
                    <a:pt x="1393597" y="1011429"/>
                    <a:pt x="1397452" y="1013345"/>
                    <a:pt x="1401307" y="1013345"/>
                  </a:cubicBezTo>
                  <a:cubicBezTo>
                    <a:pt x="1409018" y="1017176"/>
                    <a:pt x="1414801" y="1021007"/>
                    <a:pt x="1422511" y="1022923"/>
                  </a:cubicBezTo>
                  <a:cubicBezTo>
                    <a:pt x="1424439" y="1022923"/>
                    <a:pt x="1426366" y="1024838"/>
                    <a:pt x="1430221" y="1024838"/>
                  </a:cubicBezTo>
                  <a:cubicBezTo>
                    <a:pt x="1432149" y="1024838"/>
                    <a:pt x="1432149" y="1024838"/>
                    <a:pt x="1434077" y="1026754"/>
                  </a:cubicBezTo>
                  <a:cubicBezTo>
                    <a:pt x="1437932" y="1028669"/>
                    <a:pt x="1439859" y="1028669"/>
                    <a:pt x="1443714" y="1028669"/>
                  </a:cubicBezTo>
                  <a:cubicBezTo>
                    <a:pt x="1461063" y="1028669"/>
                    <a:pt x="1476483" y="1017176"/>
                    <a:pt x="1482266" y="1001851"/>
                  </a:cubicBezTo>
                  <a:cubicBezTo>
                    <a:pt x="1480339" y="980780"/>
                    <a:pt x="1464918" y="965455"/>
                    <a:pt x="1447570" y="961624"/>
                  </a:cubicBezTo>
                  <a:cubicBezTo>
                    <a:pt x="1445642" y="961624"/>
                    <a:pt x="1443714" y="961624"/>
                    <a:pt x="1443714" y="959708"/>
                  </a:cubicBezTo>
                  <a:cubicBezTo>
                    <a:pt x="1443714" y="957793"/>
                    <a:pt x="1439859" y="957793"/>
                    <a:pt x="1436004" y="957793"/>
                  </a:cubicBezTo>
                  <a:cubicBezTo>
                    <a:pt x="1428294" y="955877"/>
                    <a:pt x="1420583" y="955877"/>
                    <a:pt x="1412873" y="955877"/>
                  </a:cubicBezTo>
                  <a:cubicBezTo>
                    <a:pt x="1409018" y="955877"/>
                    <a:pt x="1405163" y="955877"/>
                    <a:pt x="1401307" y="953962"/>
                  </a:cubicBezTo>
                  <a:lnTo>
                    <a:pt x="1399380" y="953962"/>
                  </a:lnTo>
                  <a:cubicBezTo>
                    <a:pt x="1378176" y="952046"/>
                    <a:pt x="1355045" y="948215"/>
                    <a:pt x="1333842" y="942468"/>
                  </a:cubicBezTo>
                  <a:cubicBezTo>
                    <a:pt x="1328059" y="940552"/>
                    <a:pt x="1322276" y="934806"/>
                    <a:pt x="1320349" y="929059"/>
                  </a:cubicBezTo>
                  <a:lnTo>
                    <a:pt x="1304928" y="925228"/>
                  </a:lnTo>
                  <a:cubicBezTo>
                    <a:pt x="1312638" y="869676"/>
                    <a:pt x="1308783" y="812208"/>
                    <a:pt x="1297218" y="756656"/>
                  </a:cubicBezTo>
                  <a:cubicBezTo>
                    <a:pt x="1283725" y="701104"/>
                    <a:pt x="1260594" y="647467"/>
                    <a:pt x="1229752" y="599579"/>
                  </a:cubicBezTo>
                  <a:lnTo>
                    <a:pt x="1241318" y="588085"/>
                  </a:lnTo>
                  <a:lnTo>
                    <a:pt x="1241318" y="586170"/>
                  </a:lnTo>
                  <a:cubicBezTo>
                    <a:pt x="1241318" y="580423"/>
                    <a:pt x="1243245" y="572761"/>
                    <a:pt x="1247100" y="568929"/>
                  </a:cubicBezTo>
                  <a:cubicBezTo>
                    <a:pt x="1264449" y="553605"/>
                    <a:pt x="1281797" y="542111"/>
                    <a:pt x="1301073" y="530618"/>
                  </a:cubicBezTo>
                  <a:cubicBezTo>
                    <a:pt x="1304928" y="528702"/>
                    <a:pt x="1308783" y="526787"/>
                    <a:pt x="1312638" y="524871"/>
                  </a:cubicBezTo>
                  <a:cubicBezTo>
                    <a:pt x="1320349" y="521040"/>
                    <a:pt x="1326132" y="517209"/>
                    <a:pt x="1333842" y="513376"/>
                  </a:cubicBezTo>
                  <a:cubicBezTo>
                    <a:pt x="1335770" y="511461"/>
                    <a:pt x="1337697" y="511461"/>
                    <a:pt x="1339625" y="509545"/>
                  </a:cubicBezTo>
                  <a:cubicBezTo>
                    <a:pt x="1341552" y="507630"/>
                    <a:pt x="1339625" y="507630"/>
                    <a:pt x="1339625" y="505714"/>
                  </a:cubicBezTo>
                  <a:cubicBezTo>
                    <a:pt x="1356973" y="492305"/>
                    <a:pt x="1360828" y="469318"/>
                    <a:pt x="1347335" y="452078"/>
                  </a:cubicBezTo>
                  <a:cubicBezTo>
                    <a:pt x="1341552" y="444415"/>
                    <a:pt x="1329987" y="438669"/>
                    <a:pt x="1320349" y="438669"/>
                  </a:cubicBezTo>
                  <a:cubicBezTo>
                    <a:pt x="1310711" y="438669"/>
                    <a:pt x="1301073" y="442500"/>
                    <a:pt x="1293362" y="448247"/>
                  </a:cubicBezTo>
                  <a:lnTo>
                    <a:pt x="1291435" y="450162"/>
                  </a:lnTo>
                  <a:cubicBezTo>
                    <a:pt x="1289507" y="452078"/>
                    <a:pt x="1287580" y="453993"/>
                    <a:pt x="1285652" y="453993"/>
                  </a:cubicBezTo>
                  <a:cubicBezTo>
                    <a:pt x="1279869" y="459740"/>
                    <a:pt x="1274087" y="465487"/>
                    <a:pt x="1270231" y="471234"/>
                  </a:cubicBezTo>
                  <a:cubicBezTo>
                    <a:pt x="1268304" y="475065"/>
                    <a:pt x="1264449" y="476980"/>
                    <a:pt x="1262521" y="478896"/>
                  </a:cubicBezTo>
                  <a:cubicBezTo>
                    <a:pt x="1249028" y="494221"/>
                    <a:pt x="1231680" y="509545"/>
                    <a:pt x="1214331" y="521040"/>
                  </a:cubicBezTo>
                  <a:cubicBezTo>
                    <a:pt x="1210476" y="522955"/>
                    <a:pt x="1206621" y="524871"/>
                    <a:pt x="1202766" y="524871"/>
                  </a:cubicBezTo>
                  <a:cubicBezTo>
                    <a:pt x="1200838" y="524871"/>
                    <a:pt x="1196983" y="524871"/>
                    <a:pt x="1195055" y="522955"/>
                  </a:cubicBezTo>
                  <a:lnTo>
                    <a:pt x="1193128" y="522955"/>
                  </a:lnTo>
                  <a:lnTo>
                    <a:pt x="1177707" y="532533"/>
                  </a:lnTo>
                  <a:cubicBezTo>
                    <a:pt x="1162286" y="517209"/>
                    <a:pt x="1144938" y="501883"/>
                    <a:pt x="1129517" y="486558"/>
                  </a:cubicBezTo>
                  <a:cubicBezTo>
                    <a:pt x="1058197" y="431006"/>
                    <a:pt x="969528" y="396526"/>
                    <a:pt x="878931" y="386948"/>
                  </a:cubicBezTo>
                  <a:lnTo>
                    <a:pt x="877003" y="371623"/>
                  </a:lnTo>
                  <a:lnTo>
                    <a:pt x="877003" y="373539"/>
                  </a:lnTo>
                  <a:cubicBezTo>
                    <a:pt x="871221" y="369708"/>
                    <a:pt x="869293" y="363961"/>
                    <a:pt x="867365" y="358214"/>
                  </a:cubicBezTo>
                  <a:cubicBezTo>
                    <a:pt x="867365" y="337143"/>
                    <a:pt x="867365" y="316071"/>
                    <a:pt x="871221" y="293084"/>
                  </a:cubicBezTo>
                  <a:lnTo>
                    <a:pt x="871221" y="291169"/>
                  </a:lnTo>
                  <a:cubicBezTo>
                    <a:pt x="871221" y="287338"/>
                    <a:pt x="873148" y="283506"/>
                    <a:pt x="873148" y="279675"/>
                  </a:cubicBezTo>
                  <a:cubicBezTo>
                    <a:pt x="875076" y="272013"/>
                    <a:pt x="875076" y="264351"/>
                    <a:pt x="877003" y="256688"/>
                  </a:cubicBezTo>
                  <a:lnTo>
                    <a:pt x="877003" y="245195"/>
                  </a:lnTo>
                  <a:cubicBezTo>
                    <a:pt x="878931" y="226039"/>
                    <a:pt x="863510" y="206883"/>
                    <a:pt x="844234" y="204967"/>
                  </a:cubicBezTo>
                  <a:close/>
                  <a:moveTo>
                    <a:pt x="840379" y="0"/>
                  </a:moveTo>
                  <a:cubicBezTo>
                    <a:pt x="855800" y="0"/>
                    <a:pt x="873148" y="1916"/>
                    <a:pt x="888569" y="9578"/>
                  </a:cubicBezTo>
                  <a:lnTo>
                    <a:pt x="1476483" y="289254"/>
                  </a:lnTo>
                  <a:cubicBezTo>
                    <a:pt x="1505397" y="304578"/>
                    <a:pt x="1528528" y="329481"/>
                    <a:pt x="1538166" y="360130"/>
                  </a:cubicBezTo>
                  <a:lnTo>
                    <a:pt x="1684663" y="986527"/>
                  </a:lnTo>
                  <a:cubicBezTo>
                    <a:pt x="1688518" y="1019092"/>
                    <a:pt x="1680808" y="1051657"/>
                    <a:pt x="1661532" y="1078475"/>
                  </a:cubicBezTo>
                  <a:lnTo>
                    <a:pt x="1254811" y="1578442"/>
                  </a:lnTo>
                  <a:cubicBezTo>
                    <a:pt x="1233607" y="1607176"/>
                    <a:pt x="1200838" y="1622501"/>
                    <a:pt x="1166142" y="1618669"/>
                  </a:cubicBezTo>
                  <a:lnTo>
                    <a:pt x="518472" y="1618669"/>
                  </a:lnTo>
                  <a:cubicBezTo>
                    <a:pt x="485703" y="1616754"/>
                    <a:pt x="452934" y="1601429"/>
                    <a:pt x="429803" y="1578442"/>
                  </a:cubicBezTo>
                  <a:lnTo>
                    <a:pt x="23081" y="1078475"/>
                  </a:lnTo>
                  <a:cubicBezTo>
                    <a:pt x="3805" y="1051657"/>
                    <a:pt x="-3905" y="1019092"/>
                    <a:pt x="1878" y="986527"/>
                  </a:cubicBezTo>
                  <a:lnTo>
                    <a:pt x="146447" y="356299"/>
                  </a:lnTo>
                  <a:cubicBezTo>
                    <a:pt x="154157" y="323734"/>
                    <a:pt x="175361" y="298831"/>
                    <a:pt x="204275" y="285422"/>
                  </a:cubicBezTo>
                  <a:lnTo>
                    <a:pt x="792189" y="3832"/>
                  </a:lnTo>
                  <a:cubicBezTo>
                    <a:pt x="807610" y="0"/>
                    <a:pt x="824958" y="0"/>
                    <a:pt x="840379" y="0"/>
                  </a:cubicBezTo>
                  <a:close/>
                </a:path>
              </a:pathLst>
            </a:custGeom>
            <a:grpFill/>
            <a:ln w="19276" cap="flat">
              <a:noFill/>
              <a:prstDash val="solid"/>
              <a:miter/>
            </a:ln>
          </p:spPr>
          <p:txBody>
            <a:bodyPr rtlCol="0" anchor="ctr"/>
            <a:lstStyle/>
            <a:p>
              <a:endParaRPr lang="en-US" dirty="0">
                <a:solidFill>
                  <a:srgbClr val="000000"/>
                </a:solidFill>
                <a:latin typeface="Segoe UI"/>
              </a:endParaRPr>
            </a:p>
          </p:txBody>
        </p:sp>
        <p:sp>
          <p:nvSpPr>
            <p:cNvPr id="67" name="Freeform: Shape 66">
              <a:extLst>
                <a:ext uri="{FF2B5EF4-FFF2-40B4-BE49-F238E27FC236}">
                  <a16:creationId xmlns:a16="http://schemas.microsoft.com/office/drawing/2014/main" id="{BA082D20-5E7D-490F-A285-9B691C8F3338}"/>
                </a:ext>
              </a:extLst>
            </p:cNvPr>
            <p:cNvSpPr/>
            <p:nvPr/>
          </p:nvSpPr>
          <p:spPr>
            <a:xfrm>
              <a:off x="3997852" y="8000437"/>
              <a:ext cx="7479045" cy="1149350"/>
            </a:xfrm>
            <a:custGeom>
              <a:avLst/>
              <a:gdLst>
                <a:gd name="connsiteX0" fmla="*/ 7155553 w 7479045"/>
                <a:gd name="connsiteY0" fmla="*/ 958132 h 1149350"/>
                <a:gd name="connsiteX1" fmla="*/ 7236512 w 7479045"/>
                <a:gd name="connsiteY1" fmla="*/ 946639 h 1149350"/>
                <a:gd name="connsiteX2" fmla="*/ 7259643 w 7479045"/>
                <a:gd name="connsiteY2" fmla="*/ 904496 h 1149350"/>
                <a:gd name="connsiteX3" fmla="*/ 7228802 w 7479045"/>
                <a:gd name="connsiteY3" fmla="*/ 862353 h 1149350"/>
                <a:gd name="connsiteX4" fmla="*/ 7134350 w 7479045"/>
                <a:gd name="connsiteY4" fmla="*/ 820210 h 1149350"/>
                <a:gd name="connsiteX5" fmla="*/ 7045681 w 7479045"/>
                <a:gd name="connsiteY5" fmla="*/ 781899 h 1149350"/>
                <a:gd name="connsiteX6" fmla="*/ 6978215 w 7479045"/>
                <a:gd name="connsiteY6" fmla="*/ 735925 h 1149350"/>
                <a:gd name="connsiteX7" fmla="*/ 6935808 w 7479045"/>
                <a:gd name="connsiteY7" fmla="*/ 670795 h 1149350"/>
                <a:gd name="connsiteX8" fmla="*/ 6920388 w 7479045"/>
                <a:gd name="connsiteY8" fmla="*/ 580762 h 1149350"/>
                <a:gd name="connsiteX9" fmla="*/ 6997491 w 7479045"/>
                <a:gd name="connsiteY9" fmla="*/ 417938 h 1149350"/>
                <a:gd name="connsiteX10" fmla="*/ 7207598 w 7479045"/>
                <a:gd name="connsiteY10" fmla="*/ 358555 h 1149350"/>
                <a:gd name="connsiteX11" fmla="*/ 7336746 w 7479045"/>
                <a:gd name="connsiteY11" fmla="*/ 371964 h 1149350"/>
                <a:gd name="connsiteX12" fmla="*/ 7435054 w 7479045"/>
                <a:gd name="connsiteY12" fmla="*/ 396866 h 1149350"/>
                <a:gd name="connsiteX13" fmla="*/ 7398429 w 7479045"/>
                <a:gd name="connsiteY13" fmla="*/ 559691 h 1149350"/>
                <a:gd name="connsiteX14" fmla="*/ 7319398 w 7479045"/>
                <a:gd name="connsiteY14" fmla="*/ 536704 h 1149350"/>
                <a:gd name="connsiteX15" fmla="*/ 7224946 w 7479045"/>
                <a:gd name="connsiteY15" fmla="*/ 527126 h 1149350"/>
                <a:gd name="connsiteX16" fmla="*/ 7126639 w 7479045"/>
                <a:gd name="connsiteY16" fmla="*/ 580762 h 1149350"/>
                <a:gd name="connsiteX17" fmla="*/ 7130495 w 7479045"/>
                <a:gd name="connsiteY17" fmla="*/ 603749 h 1149350"/>
                <a:gd name="connsiteX18" fmla="*/ 7147843 w 7479045"/>
                <a:gd name="connsiteY18" fmla="*/ 622905 h 1149350"/>
                <a:gd name="connsiteX19" fmla="*/ 7180612 w 7479045"/>
                <a:gd name="connsiteY19" fmla="*/ 642061 h 1149350"/>
                <a:gd name="connsiteX20" fmla="*/ 7236512 w 7479045"/>
                <a:gd name="connsiteY20" fmla="*/ 665048 h 1149350"/>
                <a:gd name="connsiteX21" fmla="*/ 7348312 w 7479045"/>
                <a:gd name="connsiteY21" fmla="*/ 714853 h 1149350"/>
                <a:gd name="connsiteX22" fmla="*/ 7417705 w 7479045"/>
                <a:gd name="connsiteY22" fmla="*/ 768490 h 1149350"/>
                <a:gd name="connsiteX23" fmla="*/ 7454329 w 7479045"/>
                <a:gd name="connsiteY23" fmla="*/ 831704 h 1149350"/>
                <a:gd name="connsiteX24" fmla="*/ 7465895 w 7479045"/>
                <a:gd name="connsiteY24" fmla="*/ 912158 h 1149350"/>
                <a:gd name="connsiteX25" fmla="*/ 7383009 w 7479045"/>
                <a:gd name="connsiteY25" fmla="*/ 1076899 h 1149350"/>
                <a:gd name="connsiteX26" fmla="*/ 7151698 w 7479045"/>
                <a:gd name="connsiteY26" fmla="*/ 1132451 h 1149350"/>
                <a:gd name="connsiteX27" fmla="*/ 6987853 w 7479045"/>
                <a:gd name="connsiteY27" fmla="*/ 1115210 h 1149350"/>
                <a:gd name="connsiteX28" fmla="*/ 6899184 w 7479045"/>
                <a:gd name="connsiteY28" fmla="*/ 1088392 h 1149350"/>
                <a:gd name="connsiteX29" fmla="*/ 6933880 w 7479045"/>
                <a:gd name="connsiteY29" fmla="*/ 919821 h 1149350"/>
                <a:gd name="connsiteX30" fmla="*/ 7041826 w 7479045"/>
                <a:gd name="connsiteY30" fmla="*/ 952386 h 1149350"/>
                <a:gd name="connsiteX31" fmla="*/ 7155553 w 7479045"/>
                <a:gd name="connsiteY31" fmla="*/ 958132 h 1149350"/>
                <a:gd name="connsiteX32" fmla="*/ 6093452 w 7479045"/>
                <a:gd name="connsiteY32" fmla="*/ 747418 h 1149350"/>
                <a:gd name="connsiteX33" fmla="*/ 6122365 w 7479045"/>
                <a:gd name="connsiteY33" fmla="*/ 578847 h 1149350"/>
                <a:gd name="connsiteX34" fmla="*/ 6201397 w 7479045"/>
                <a:gd name="connsiteY34" fmla="*/ 456250 h 1149350"/>
                <a:gd name="connsiteX35" fmla="*/ 6313197 w 7479045"/>
                <a:gd name="connsiteY35" fmla="*/ 383457 h 1149350"/>
                <a:gd name="connsiteX36" fmla="*/ 6444273 w 7479045"/>
                <a:gd name="connsiteY36" fmla="*/ 358555 h 1149350"/>
                <a:gd name="connsiteX37" fmla="*/ 6691004 w 7479045"/>
                <a:gd name="connsiteY37" fmla="*/ 454334 h 1149350"/>
                <a:gd name="connsiteX38" fmla="*/ 6781601 w 7479045"/>
                <a:gd name="connsiteY38" fmla="*/ 734009 h 1149350"/>
                <a:gd name="connsiteX39" fmla="*/ 6779673 w 7479045"/>
                <a:gd name="connsiteY39" fmla="*/ 774236 h 1149350"/>
                <a:gd name="connsiteX40" fmla="*/ 6777746 w 7479045"/>
                <a:gd name="connsiteY40" fmla="*/ 812548 h 1149350"/>
                <a:gd name="connsiteX41" fmla="*/ 6307414 w 7479045"/>
                <a:gd name="connsiteY41" fmla="*/ 812548 h 1149350"/>
                <a:gd name="connsiteX42" fmla="*/ 6367169 w 7479045"/>
                <a:gd name="connsiteY42" fmla="*/ 914074 h 1149350"/>
                <a:gd name="connsiteX43" fmla="*/ 6509811 w 7479045"/>
                <a:gd name="connsiteY43" fmla="*/ 952386 h 1149350"/>
                <a:gd name="connsiteX44" fmla="*/ 6621611 w 7479045"/>
                <a:gd name="connsiteY44" fmla="*/ 942808 h 1149350"/>
                <a:gd name="connsiteX45" fmla="*/ 6712208 w 7479045"/>
                <a:gd name="connsiteY45" fmla="*/ 914074 h 1149350"/>
                <a:gd name="connsiteX46" fmla="*/ 6741122 w 7479045"/>
                <a:gd name="connsiteY46" fmla="*/ 1082645 h 1149350"/>
                <a:gd name="connsiteX47" fmla="*/ 6696787 w 7479045"/>
                <a:gd name="connsiteY47" fmla="*/ 1099886 h 1149350"/>
                <a:gd name="connsiteX48" fmla="*/ 6633176 w 7479045"/>
                <a:gd name="connsiteY48" fmla="*/ 1113295 h 1149350"/>
                <a:gd name="connsiteX49" fmla="*/ 6559928 w 7479045"/>
                <a:gd name="connsiteY49" fmla="*/ 1124788 h 1149350"/>
                <a:gd name="connsiteX50" fmla="*/ 6480897 w 7479045"/>
                <a:gd name="connsiteY50" fmla="*/ 1128619 h 1149350"/>
                <a:gd name="connsiteX51" fmla="*/ 6307414 w 7479045"/>
                <a:gd name="connsiteY51" fmla="*/ 1099886 h 1149350"/>
                <a:gd name="connsiteX52" fmla="*/ 6185976 w 7479045"/>
                <a:gd name="connsiteY52" fmla="*/ 1021347 h 1149350"/>
                <a:gd name="connsiteX53" fmla="*/ 6114655 w 7479045"/>
                <a:gd name="connsiteY53" fmla="*/ 900665 h 1149350"/>
                <a:gd name="connsiteX54" fmla="*/ 6093452 w 7479045"/>
                <a:gd name="connsiteY54" fmla="*/ 747418 h 1149350"/>
                <a:gd name="connsiteX55" fmla="*/ 6581132 w 7479045"/>
                <a:gd name="connsiteY55" fmla="*/ 668879 h 1149350"/>
                <a:gd name="connsiteX56" fmla="*/ 6571494 w 7479045"/>
                <a:gd name="connsiteY56" fmla="*/ 617159 h 1149350"/>
                <a:gd name="connsiteX57" fmla="*/ 6548363 w 7479045"/>
                <a:gd name="connsiteY57" fmla="*/ 573100 h 1149350"/>
                <a:gd name="connsiteX58" fmla="*/ 6507883 w 7479045"/>
                <a:gd name="connsiteY58" fmla="*/ 540535 h 1149350"/>
                <a:gd name="connsiteX59" fmla="*/ 6448128 w 7479045"/>
                <a:gd name="connsiteY59" fmla="*/ 527126 h 1149350"/>
                <a:gd name="connsiteX60" fmla="*/ 6388373 w 7479045"/>
                <a:gd name="connsiteY60" fmla="*/ 540535 h 1149350"/>
                <a:gd name="connsiteX61" fmla="*/ 6345966 w 7479045"/>
                <a:gd name="connsiteY61" fmla="*/ 571185 h 1149350"/>
                <a:gd name="connsiteX62" fmla="*/ 6318980 w 7479045"/>
                <a:gd name="connsiteY62" fmla="*/ 617159 h 1149350"/>
                <a:gd name="connsiteX63" fmla="*/ 6307414 w 7479045"/>
                <a:gd name="connsiteY63" fmla="*/ 668879 h 1149350"/>
                <a:gd name="connsiteX64" fmla="*/ 6581132 w 7479045"/>
                <a:gd name="connsiteY64" fmla="*/ 668879 h 1149350"/>
                <a:gd name="connsiteX65" fmla="*/ 5528668 w 7479045"/>
                <a:gd name="connsiteY65" fmla="*/ 193815 h 1149350"/>
                <a:gd name="connsiteX66" fmla="*/ 5736848 w 7479045"/>
                <a:gd name="connsiteY66" fmla="*/ 161250 h 1149350"/>
                <a:gd name="connsiteX67" fmla="*/ 5736848 w 7479045"/>
                <a:gd name="connsiteY67" fmla="*/ 375795 h 1149350"/>
                <a:gd name="connsiteX68" fmla="*/ 5987434 w 7479045"/>
                <a:gd name="connsiteY68" fmla="*/ 375795 h 1149350"/>
                <a:gd name="connsiteX69" fmla="*/ 5987434 w 7479045"/>
                <a:gd name="connsiteY69" fmla="*/ 548198 h 1149350"/>
                <a:gd name="connsiteX70" fmla="*/ 5736848 w 7479045"/>
                <a:gd name="connsiteY70" fmla="*/ 548198 h 1149350"/>
                <a:gd name="connsiteX71" fmla="*/ 5736848 w 7479045"/>
                <a:gd name="connsiteY71" fmla="*/ 804886 h 1149350"/>
                <a:gd name="connsiteX72" fmla="*/ 5759979 w 7479045"/>
                <a:gd name="connsiteY72" fmla="*/ 908327 h 1149350"/>
                <a:gd name="connsiteX73" fmla="*/ 5854431 w 7479045"/>
                <a:gd name="connsiteY73" fmla="*/ 946639 h 1149350"/>
                <a:gd name="connsiteX74" fmla="*/ 5921896 w 7479045"/>
                <a:gd name="connsiteY74" fmla="*/ 940892 h 1149350"/>
                <a:gd name="connsiteX75" fmla="*/ 5987434 w 7479045"/>
                <a:gd name="connsiteY75" fmla="*/ 923652 h 1149350"/>
                <a:gd name="connsiteX76" fmla="*/ 6016348 w 7479045"/>
                <a:gd name="connsiteY76" fmla="*/ 1084561 h 1149350"/>
                <a:gd name="connsiteX77" fmla="*/ 5931534 w 7479045"/>
                <a:gd name="connsiteY77" fmla="*/ 1111379 h 1149350"/>
                <a:gd name="connsiteX78" fmla="*/ 5817807 w 7479045"/>
                <a:gd name="connsiteY78" fmla="*/ 1122873 h 1149350"/>
                <a:gd name="connsiteX79" fmla="*/ 5677093 w 7479045"/>
                <a:gd name="connsiteY79" fmla="*/ 1099886 h 1149350"/>
                <a:gd name="connsiteX80" fmla="*/ 5588424 w 7479045"/>
                <a:gd name="connsiteY80" fmla="*/ 1036671 h 1149350"/>
                <a:gd name="connsiteX81" fmla="*/ 5540234 w 7479045"/>
                <a:gd name="connsiteY81" fmla="*/ 937061 h 1149350"/>
                <a:gd name="connsiteX82" fmla="*/ 5528668 w 7479045"/>
                <a:gd name="connsiteY82" fmla="*/ 808717 h 1149350"/>
                <a:gd name="connsiteX83" fmla="*/ 5528668 w 7479045"/>
                <a:gd name="connsiteY83" fmla="*/ 193815 h 1149350"/>
                <a:gd name="connsiteX84" fmla="*/ 4686312 w 7479045"/>
                <a:gd name="connsiteY84" fmla="*/ 747418 h 1149350"/>
                <a:gd name="connsiteX85" fmla="*/ 4715225 w 7479045"/>
                <a:gd name="connsiteY85" fmla="*/ 578847 h 1149350"/>
                <a:gd name="connsiteX86" fmla="*/ 4794257 w 7479045"/>
                <a:gd name="connsiteY86" fmla="*/ 456250 h 1149350"/>
                <a:gd name="connsiteX87" fmla="*/ 4906057 w 7479045"/>
                <a:gd name="connsiteY87" fmla="*/ 383457 h 1149350"/>
                <a:gd name="connsiteX88" fmla="*/ 5037133 w 7479045"/>
                <a:gd name="connsiteY88" fmla="*/ 358555 h 1149350"/>
                <a:gd name="connsiteX89" fmla="*/ 5283864 w 7479045"/>
                <a:gd name="connsiteY89" fmla="*/ 454334 h 1149350"/>
                <a:gd name="connsiteX90" fmla="*/ 5374461 w 7479045"/>
                <a:gd name="connsiteY90" fmla="*/ 734009 h 1149350"/>
                <a:gd name="connsiteX91" fmla="*/ 5372533 w 7479045"/>
                <a:gd name="connsiteY91" fmla="*/ 774236 h 1149350"/>
                <a:gd name="connsiteX92" fmla="*/ 5370606 w 7479045"/>
                <a:gd name="connsiteY92" fmla="*/ 812548 h 1149350"/>
                <a:gd name="connsiteX93" fmla="*/ 4898346 w 7479045"/>
                <a:gd name="connsiteY93" fmla="*/ 812548 h 1149350"/>
                <a:gd name="connsiteX94" fmla="*/ 4958102 w 7479045"/>
                <a:gd name="connsiteY94" fmla="*/ 914074 h 1149350"/>
                <a:gd name="connsiteX95" fmla="*/ 5100743 w 7479045"/>
                <a:gd name="connsiteY95" fmla="*/ 952386 h 1149350"/>
                <a:gd name="connsiteX96" fmla="*/ 5212544 w 7479045"/>
                <a:gd name="connsiteY96" fmla="*/ 942808 h 1149350"/>
                <a:gd name="connsiteX97" fmla="*/ 5305068 w 7479045"/>
                <a:gd name="connsiteY97" fmla="*/ 914074 h 1149350"/>
                <a:gd name="connsiteX98" fmla="*/ 5333982 w 7479045"/>
                <a:gd name="connsiteY98" fmla="*/ 1082645 h 1149350"/>
                <a:gd name="connsiteX99" fmla="*/ 5289647 w 7479045"/>
                <a:gd name="connsiteY99" fmla="*/ 1099886 h 1149350"/>
                <a:gd name="connsiteX100" fmla="*/ 5226037 w 7479045"/>
                <a:gd name="connsiteY100" fmla="*/ 1113295 h 1149350"/>
                <a:gd name="connsiteX101" fmla="*/ 5152788 w 7479045"/>
                <a:gd name="connsiteY101" fmla="*/ 1124788 h 1149350"/>
                <a:gd name="connsiteX102" fmla="*/ 5073757 w 7479045"/>
                <a:gd name="connsiteY102" fmla="*/ 1128619 h 1149350"/>
                <a:gd name="connsiteX103" fmla="*/ 4900274 w 7479045"/>
                <a:gd name="connsiteY103" fmla="*/ 1099886 h 1149350"/>
                <a:gd name="connsiteX104" fmla="*/ 4778836 w 7479045"/>
                <a:gd name="connsiteY104" fmla="*/ 1021347 h 1149350"/>
                <a:gd name="connsiteX105" fmla="*/ 4707515 w 7479045"/>
                <a:gd name="connsiteY105" fmla="*/ 900665 h 1149350"/>
                <a:gd name="connsiteX106" fmla="*/ 4686312 w 7479045"/>
                <a:gd name="connsiteY106" fmla="*/ 747418 h 1149350"/>
                <a:gd name="connsiteX107" fmla="*/ 5173992 w 7479045"/>
                <a:gd name="connsiteY107" fmla="*/ 668879 h 1149350"/>
                <a:gd name="connsiteX108" fmla="*/ 5164354 w 7479045"/>
                <a:gd name="connsiteY108" fmla="*/ 617159 h 1149350"/>
                <a:gd name="connsiteX109" fmla="*/ 5141223 w 7479045"/>
                <a:gd name="connsiteY109" fmla="*/ 573100 h 1149350"/>
                <a:gd name="connsiteX110" fmla="*/ 5100743 w 7479045"/>
                <a:gd name="connsiteY110" fmla="*/ 540535 h 1149350"/>
                <a:gd name="connsiteX111" fmla="*/ 5040988 w 7479045"/>
                <a:gd name="connsiteY111" fmla="*/ 527126 h 1149350"/>
                <a:gd name="connsiteX112" fmla="*/ 4981233 w 7479045"/>
                <a:gd name="connsiteY112" fmla="*/ 540535 h 1149350"/>
                <a:gd name="connsiteX113" fmla="*/ 4940754 w 7479045"/>
                <a:gd name="connsiteY113" fmla="*/ 571185 h 1149350"/>
                <a:gd name="connsiteX114" fmla="*/ 4913767 w 7479045"/>
                <a:gd name="connsiteY114" fmla="*/ 617159 h 1149350"/>
                <a:gd name="connsiteX115" fmla="*/ 4902202 w 7479045"/>
                <a:gd name="connsiteY115" fmla="*/ 668879 h 1149350"/>
                <a:gd name="connsiteX116" fmla="*/ 5173992 w 7479045"/>
                <a:gd name="connsiteY116" fmla="*/ 668879 h 1149350"/>
                <a:gd name="connsiteX117" fmla="*/ 3896000 w 7479045"/>
                <a:gd name="connsiteY117" fmla="*/ 400698 h 1149350"/>
                <a:gd name="connsiteX118" fmla="*/ 4032859 w 7479045"/>
                <a:gd name="connsiteY118" fmla="*/ 371964 h 1149350"/>
                <a:gd name="connsiteX119" fmla="*/ 4208270 w 7479045"/>
                <a:gd name="connsiteY119" fmla="*/ 358555 h 1149350"/>
                <a:gd name="connsiteX120" fmla="*/ 4362477 w 7479045"/>
                <a:gd name="connsiteY120" fmla="*/ 383457 h 1149350"/>
                <a:gd name="connsiteX121" fmla="*/ 4460784 w 7479045"/>
                <a:gd name="connsiteY121" fmla="*/ 450503 h 1149350"/>
                <a:gd name="connsiteX122" fmla="*/ 4512829 w 7479045"/>
                <a:gd name="connsiteY122" fmla="*/ 555860 h 1149350"/>
                <a:gd name="connsiteX123" fmla="*/ 4528250 w 7479045"/>
                <a:gd name="connsiteY123" fmla="*/ 691866 h 1149350"/>
                <a:gd name="connsiteX124" fmla="*/ 4528250 w 7479045"/>
                <a:gd name="connsiteY124" fmla="*/ 1103717 h 1149350"/>
                <a:gd name="connsiteX125" fmla="*/ 4321997 w 7479045"/>
                <a:gd name="connsiteY125" fmla="*/ 1103717 h 1149350"/>
                <a:gd name="connsiteX126" fmla="*/ 4321997 w 7479045"/>
                <a:gd name="connsiteY126" fmla="*/ 718684 h 1149350"/>
                <a:gd name="connsiteX127" fmla="*/ 4295011 w 7479045"/>
                <a:gd name="connsiteY127" fmla="*/ 576931 h 1149350"/>
                <a:gd name="connsiteX128" fmla="*/ 4196704 w 7479045"/>
                <a:gd name="connsiteY128" fmla="*/ 534789 h 1149350"/>
                <a:gd name="connsiteX129" fmla="*/ 4148514 w 7479045"/>
                <a:gd name="connsiteY129" fmla="*/ 536704 h 1149350"/>
                <a:gd name="connsiteX130" fmla="*/ 4104180 w 7479045"/>
                <a:gd name="connsiteY130" fmla="*/ 540535 h 1149350"/>
                <a:gd name="connsiteX131" fmla="*/ 4104180 w 7479045"/>
                <a:gd name="connsiteY131" fmla="*/ 1103717 h 1149350"/>
                <a:gd name="connsiteX132" fmla="*/ 3896000 w 7479045"/>
                <a:gd name="connsiteY132" fmla="*/ 1103717 h 1149350"/>
                <a:gd name="connsiteX133" fmla="*/ 3896000 w 7479045"/>
                <a:gd name="connsiteY133" fmla="*/ 400698 h 1149350"/>
                <a:gd name="connsiteX134" fmla="*/ 3749504 w 7479045"/>
                <a:gd name="connsiteY134" fmla="*/ 559691 h 1149350"/>
                <a:gd name="connsiteX135" fmla="*/ 3683965 w 7479045"/>
                <a:gd name="connsiteY135" fmla="*/ 546282 h 1149350"/>
                <a:gd name="connsiteX136" fmla="*/ 3603007 w 7479045"/>
                <a:gd name="connsiteY136" fmla="*/ 538620 h 1149350"/>
                <a:gd name="connsiteX137" fmla="*/ 3554817 w 7479045"/>
                <a:gd name="connsiteY137" fmla="*/ 542451 h 1149350"/>
                <a:gd name="connsiteX138" fmla="*/ 3514338 w 7479045"/>
                <a:gd name="connsiteY138" fmla="*/ 550113 h 1149350"/>
                <a:gd name="connsiteX139" fmla="*/ 3514338 w 7479045"/>
                <a:gd name="connsiteY139" fmla="*/ 1107548 h 1149350"/>
                <a:gd name="connsiteX140" fmla="*/ 3306158 w 7479045"/>
                <a:gd name="connsiteY140" fmla="*/ 1107548 h 1149350"/>
                <a:gd name="connsiteX141" fmla="*/ 3306158 w 7479045"/>
                <a:gd name="connsiteY141" fmla="*/ 414107 h 1149350"/>
                <a:gd name="connsiteX142" fmla="*/ 3437234 w 7479045"/>
                <a:gd name="connsiteY142" fmla="*/ 377711 h 1149350"/>
                <a:gd name="connsiteX143" fmla="*/ 3606862 w 7479045"/>
                <a:gd name="connsiteY143" fmla="*/ 360470 h 1149350"/>
                <a:gd name="connsiteX144" fmla="*/ 3647341 w 7479045"/>
                <a:gd name="connsiteY144" fmla="*/ 362386 h 1149350"/>
                <a:gd name="connsiteX145" fmla="*/ 3695531 w 7479045"/>
                <a:gd name="connsiteY145" fmla="*/ 368133 h 1149350"/>
                <a:gd name="connsiteX146" fmla="*/ 3743721 w 7479045"/>
                <a:gd name="connsiteY146" fmla="*/ 375795 h 1149350"/>
                <a:gd name="connsiteX147" fmla="*/ 3784200 w 7479045"/>
                <a:gd name="connsiteY147" fmla="*/ 387289 h 1149350"/>
                <a:gd name="connsiteX148" fmla="*/ 3749504 w 7479045"/>
                <a:gd name="connsiteY148" fmla="*/ 559691 h 1149350"/>
                <a:gd name="connsiteX149" fmla="*/ 2456091 w 7479045"/>
                <a:gd name="connsiteY149" fmla="*/ 747418 h 1149350"/>
                <a:gd name="connsiteX150" fmla="*/ 2485005 w 7479045"/>
                <a:gd name="connsiteY150" fmla="*/ 578847 h 1149350"/>
                <a:gd name="connsiteX151" fmla="*/ 2564036 w 7479045"/>
                <a:gd name="connsiteY151" fmla="*/ 456250 h 1149350"/>
                <a:gd name="connsiteX152" fmla="*/ 2675836 w 7479045"/>
                <a:gd name="connsiteY152" fmla="*/ 383457 h 1149350"/>
                <a:gd name="connsiteX153" fmla="*/ 2806912 w 7479045"/>
                <a:gd name="connsiteY153" fmla="*/ 358555 h 1149350"/>
                <a:gd name="connsiteX154" fmla="*/ 3053644 w 7479045"/>
                <a:gd name="connsiteY154" fmla="*/ 454334 h 1149350"/>
                <a:gd name="connsiteX155" fmla="*/ 3144240 w 7479045"/>
                <a:gd name="connsiteY155" fmla="*/ 732094 h 1149350"/>
                <a:gd name="connsiteX156" fmla="*/ 3142313 w 7479045"/>
                <a:gd name="connsiteY156" fmla="*/ 772321 h 1149350"/>
                <a:gd name="connsiteX157" fmla="*/ 3140386 w 7479045"/>
                <a:gd name="connsiteY157" fmla="*/ 810632 h 1149350"/>
                <a:gd name="connsiteX158" fmla="*/ 2668126 w 7479045"/>
                <a:gd name="connsiteY158" fmla="*/ 810632 h 1149350"/>
                <a:gd name="connsiteX159" fmla="*/ 2727881 w 7479045"/>
                <a:gd name="connsiteY159" fmla="*/ 912158 h 1149350"/>
                <a:gd name="connsiteX160" fmla="*/ 2870523 w 7479045"/>
                <a:gd name="connsiteY160" fmla="*/ 950470 h 1149350"/>
                <a:gd name="connsiteX161" fmla="*/ 2982323 w 7479045"/>
                <a:gd name="connsiteY161" fmla="*/ 940892 h 1149350"/>
                <a:gd name="connsiteX162" fmla="*/ 3072920 w 7479045"/>
                <a:gd name="connsiteY162" fmla="*/ 914074 h 1149350"/>
                <a:gd name="connsiteX163" fmla="*/ 3101834 w 7479045"/>
                <a:gd name="connsiteY163" fmla="*/ 1082645 h 1149350"/>
                <a:gd name="connsiteX164" fmla="*/ 3057499 w 7479045"/>
                <a:gd name="connsiteY164" fmla="*/ 1099886 h 1149350"/>
                <a:gd name="connsiteX165" fmla="*/ 2993889 w 7479045"/>
                <a:gd name="connsiteY165" fmla="*/ 1113295 h 1149350"/>
                <a:gd name="connsiteX166" fmla="*/ 2920641 w 7479045"/>
                <a:gd name="connsiteY166" fmla="*/ 1124788 h 1149350"/>
                <a:gd name="connsiteX167" fmla="*/ 2841609 w 7479045"/>
                <a:gd name="connsiteY167" fmla="*/ 1128619 h 1149350"/>
                <a:gd name="connsiteX168" fmla="*/ 2668126 w 7479045"/>
                <a:gd name="connsiteY168" fmla="*/ 1099886 h 1149350"/>
                <a:gd name="connsiteX169" fmla="*/ 2546688 w 7479045"/>
                <a:gd name="connsiteY169" fmla="*/ 1021347 h 1149350"/>
                <a:gd name="connsiteX170" fmla="*/ 2475367 w 7479045"/>
                <a:gd name="connsiteY170" fmla="*/ 900665 h 1149350"/>
                <a:gd name="connsiteX171" fmla="*/ 2456091 w 7479045"/>
                <a:gd name="connsiteY171" fmla="*/ 747418 h 1149350"/>
                <a:gd name="connsiteX172" fmla="*/ 2945699 w 7479045"/>
                <a:gd name="connsiteY172" fmla="*/ 668879 h 1149350"/>
                <a:gd name="connsiteX173" fmla="*/ 2936061 w 7479045"/>
                <a:gd name="connsiteY173" fmla="*/ 617159 h 1149350"/>
                <a:gd name="connsiteX174" fmla="*/ 2912930 w 7479045"/>
                <a:gd name="connsiteY174" fmla="*/ 573100 h 1149350"/>
                <a:gd name="connsiteX175" fmla="*/ 2872451 w 7479045"/>
                <a:gd name="connsiteY175" fmla="*/ 540535 h 1149350"/>
                <a:gd name="connsiteX176" fmla="*/ 2812695 w 7479045"/>
                <a:gd name="connsiteY176" fmla="*/ 527126 h 1149350"/>
                <a:gd name="connsiteX177" fmla="*/ 2752940 w 7479045"/>
                <a:gd name="connsiteY177" fmla="*/ 540535 h 1149350"/>
                <a:gd name="connsiteX178" fmla="*/ 2710533 w 7479045"/>
                <a:gd name="connsiteY178" fmla="*/ 571185 h 1149350"/>
                <a:gd name="connsiteX179" fmla="*/ 2683547 w 7479045"/>
                <a:gd name="connsiteY179" fmla="*/ 617159 h 1149350"/>
                <a:gd name="connsiteX180" fmla="*/ 2671981 w 7479045"/>
                <a:gd name="connsiteY180" fmla="*/ 668879 h 1149350"/>
                <a:gd name="connsiteX181" fmla="*/ 2945699 w 7479045"/>
                <a:gd name="connsiteY181" fmla="*/ 668879 h 1149350"/>
                <a:gd name="connsiteX182" fmla="*/ 2118763 w 7479045"/>
                <a:gd name="connsiteY182" fmla="*/ 735925 h 1149350"/>
                <a:gd name="connsiteX183" fmla="*/ 1970339 w 7479045"/>
                <a:gd name="connsiteY183" fmla="*/ 536704 h 1149350"/>
                <a:gd name="connsiteX184" fmla="*/ 1906728 w 7479045"/>
                <a:gd name="connsiteY184" fmla="*/ 544366 h 1149350"/>
                <a:gd name="connsiteX185" fmla="*/ 1856611 w 7479045"/>
                <a:gd name="connsiteY185" fmla="*/ 565438 h 1149350"/>
                <a:gd name="connsiteX186" fmla="*/ 1856611 w 7479045"/>
                <a:gd name="connsiteY186" fmla="*/ 940892 h 1149350"/>
                <a:gd name="connsiteX187" fmla="*/ 1895163 w 7479045"/>
                <a:gd name="connsiteY187" fmla="*/ 946639 h 1149350"/>
                <a:gd name="connsiteX188" fmla="*/ 1947208 w 7479045"/>
                <a:gd name="connsiteY188" fmla="*/ 948554 h 1149350"/>
                <a:gd name="connsiteX189" fmla="*/ 2076356 w 7479045"/>
                <a:gd name="connsiteY189" fmla="*/ 891087 h 1149350"/>
                <a:gd name="connsiteX190" fmla="*/ 2118763 w 7479045"/>
                <a:gd name="connsiteY190" fmla="*/ 735925 h 1149350"/>
                <a:gd name="connsiteX191" fmla="*/ 2330798 w 7479045"/>
                <a:gd name="connsiteY191" fmla="*/ 743587 h 1149350"/>
                <a:gd name="connsiteX192" fmla="*/ 2303812 w 7479045"/>
                <a:gd name="connsiteY192" fmla="*/ 902580 h 1149350"/>
                <a:gd name="connsiteX193" fmla="*/ 2230563 w 7479045"/>
                <a:gd name="connsiteY193" fmla="*/ 1023262 h 1149350"/>
                <a:gd name="connsiteX194" fmla="*/ 2111053 w 7479045"/>
                <a:gd name="connsiteY194" fmla="*/ 1101801 h 1149350"/>
                <a:gd name="connsiteX195" fmla="*/ 1949135 w 7479045"/>
                <a:gd name="connsiteY195" fmla="*/ 1128619 h 1149350"/>
                <a:gd name="connsiteX196" fmla="*/ 1870104 w 7479045"/>
                <a:gd name="connsiteY196" fmla="*/ 1124788 h 1149350"/>
                <a:gd name="connsiteX197" fmla="*/ 1789146 w 7479045"/>
                <a:gd name="connsiteY197" fmla="*/ 1117126 h 1149350"/>
                <a:gd name="connsiteX198" fmla="*/ 1713969 w 7479045"/>
                <a:gd name="connsiteY198" fmla="*/ 1103717 h 1149350"/>
                <a:gd name="connsiteX199" fmla="*/ 1650359 w 7479045"/>
                <a:gd name="connsiteY199" fmla="*/ 1086476 h 1149350"/>
                <a:gd name="connsiteX200" fmla="*/ 1650359 w 7479045"/>
                <a:gd name="connsiteY200" fmla="*/ 61639 h 1149350"/>
                <a:gd name="connsiteX201" fmla="*/ 1858539 w 7479045"/>
                <a:gd name="connsiteY201" fmla="*/ 29074 h 1149350"/>
                <a:gd name="connsiteX202" fmla="*/ 1858539 w 7479045"/>
                <a:gd name="connsiteY202" fmla="*/ 393035 h 1149350"/>
                <a:gd name="connsiteX203" fmla="*/ 1931787 w 7479045"/>
                <a:gd name="connsiteY203" fmla="*/ 370048 h 1149350"/>
                <a:gd name="connsiteX204" fmla="*/ 2012746 w 7479045"/>
                <a:gd name="connsiteY204" fmla="*/ 362386 h 1149350"/>
                <a:gd name="connsiteX205" fmla="*/ 2151532 w 7479045"/>
                <a:gd name="connsiteY205" fmla="*/ 391120 h 1149350"/>
                <a:gd name="connsiteX206" fmla="*/ 2251767 w 7479045"/>
                <a:gd name="connsiteY206" fmla="*/ 467743 h 1149350"/>
                <a:gd name="connsiteX207" fmla="*/ 2313450 w 7479045"/>
                <a:gd name="connsiteY207" fmla="*/ 588425 h 1149350"/>
                <a:gd name="connsiteX208" fmla="*/ 2330798 w 7479045"/>
                <a:gd name="connsiteY208" fmla="*/ 743587 h 1149350"/>
                <a:gd name="connsiteX209" fmla="*/ 1451817 w 7479045"/>
                <a:gd name="connsiteY209" fmla="*/ 1080730 h 1149350"/>
                <a:gd name="connsiteX210" fmla="*/ 1314959 w 7479045"/>
                <a:gd name="connsiteY210" fmla="*/ 1107548 h 1149350"/>
                <a:gd name="connsiteX211" fmla="*/ 1139548 w 7479045"/>
                <a:gd name="connsiteY211" fmla="*/ 1120957 h 1149350"/>
                <a:gd name="connsiteX212" fmla="*/ 983413 w 7479045"/>
                <a:gd name="connsiteY212" fmla="*/ 1096054 h 1149350"/>
                <a:gd name="connsiteX213" fmla="*/ 885106 w 7479045"/>
                <a:gd name="connsiteY213" fmla="*/ 1027093 h 1149350"/>
                <a:gd name="connsiteX214" fmla="*/ 833061 w 7479045"/>
                <a:gd name="connsiteY214" fmla="*/ 917905 h 1149350"/>
                <a:gd name="connsiteX215" fmla="*/ 817640 w 7479045"/>
                <a:gd name="connsiteY215" fmla="*/ 779983 h 1149350"/>
                <a:gd name="connsiteX216" fmla="*/ 817640 w 7479045"/>
                <a:gd name="connsiteY216" fmla="*/ 375795 h 1149350"/>
                <a:gd name="connsiteX217" fmla="*/ 1025820 w 7479045"/>
                <a:gd name="connsiteY217" fmla="*/ 375795 h 1149350"/>
                <a:gd name="connsiteX218" fmla="*/ 1025820 w 7479045"/>
                <a:gd name="connsiteY218" fmla="*/ 756996 h 1149350"/>
                <a:gd name="connsiteX219" fmla="*/ 1052807 w 7479045"/>
                <a:gd name="connsiteY219" fmla="*/ 900665 h 1149350"/>
                <a:gd name="connsiteX220" fmla="*/ 1151113 w 7479045"/>
                <a:gd name="connsiteY220" fmla="*/ 944723 h 1149350"/>
                <a:gd name="connsiteX221" fmla="*/ 1199303 w 7479045"/>
                <a:gd name="connsiteY221" fmla="*/ 942808 h 1149350"/>
                <a:gd name="connsiteX222" fmla="*/ 1243638 w 7479045"/>
                <a:gd name="connsiteY222" fmla="*/ 937061 h 1149350"/>
                <a:gd name="connsiteX223" fmla="*/ 1243638 w 7479045"/>
                <a:gd name="connsiteY223" fmla="*/ 375795 h 1149350"/>
                <a:gd name="connsiteX224" fmla="*/ 1451817 w 7479045"/>
                <a:gd name="connsiteY224" fmla="*/ 375795 h 1149350"/>
                <a:gd name="connsiteX225" fmla="*/ 1451817 w 7479045"/>
                <a:gd name="connsiteY225" fmla="*/ 1080730 h 1149350"/>
                <a:gd name="connsiteX226" fmla="*/ 237436 w 7479045"/>
                <a:gd name="connsiteY226" fmla="*/ 640146 h 1149350"/>
                <a:gd name="connsiteX227" fmla="*/ 301047 w 7479045"/>
                <a:gd name="connsiteY227" fmla="*/ 571185 h 1149350"/>
                <a:gd name="connsiteX228" fmla="*/ 364657 w 7479045"/>
                <a:gd name="connsiteY228" fmla="*/ 500308 h 1149350"/>
                <a:gd name="connsiteX229" fmla="*/ 422485 w 7479045"/>
                <a:gd name="connsiteY229" fmla="*/ 433263 h 1149350"/>
                <a:gd name="connsiteX230" fmla="*/ 470674 w 7479045"/>
                <a:gd name="connsiteY230" fmla="*/ 377711 h 1149350"/>
                <a:gd name="connsiteX231" fmla="*/ 717406 w 7479045"/>
                <a:gd name="connsiteY231" fmla="*/ 377711 h 1149350"/>
                <a:gd name="connsiteX232" fmla="*/ 572837 w 7479045"/>
                <a:gd name="connsiteY232" fmla="*/ 540535 h 1149350"/>
                <a:gd name="connsiteX233" fmla="*/ 418630 w 7479045"/>
                <a:gd name="connsiteY233" fmla="*/ 699529 h 1149350"/>
                <a:gd name="connsiteX234" fmla="*/ 505371 w 7479045"/>
                <a:gd name="connsiteY234" fmla="*/ 789561 h 1149350"/>
                <a:gd name="connsiteX235" fmla="*/ 592113 w 7479045"/>
                <a:gd name="connsiteY235" fmla="*/ 896834 h 1149350"/>
                <a:gd name="connsiteX236" fmla="*/ 669216 w 7479045"/>
                <a:gd name="connsiteY236" fmla="*/ 1007938 h 1149350"/>
                <a:gd name="connsiteX237" fmla="*/ 727044 w 7479045"/>
                <a:gd name="connsiteY237" fmla="*/ 1109464 h 1149350"/>
                <a:gd name="connsiteX238" fmla="*/ 488023 w 7479045"/>
                <a:gd name="connsiteY238" fmla="*/ 1109464 h 1149350"/>
                <a:gd name="connsiteX239" fmla="*/ 435978 w 7479045"/>
                <a:gd name="connsiteY239" fmla="*/ 1030925 h 1149350"/>
                <a:gd name="connsiteX240" fmla="*/ 376223 w 7479045"/>
                <a:gd name="connsiteY240" fmla="*/ 942808 h 1149350"/>
                <a:gd name="connsiteX241" fmla="*/ 306829 w 7479045"/>
                <a:gd name="connsiteY241" fmla="*/ 858522 h 1149350"/>
                <a:gd name="connsiteX242" fmla="*/ 237436 w 7479045"/>
                <a:gd name="connsiteY242" fmla="*/ 791477 h 1149350"/>
                <a:gd name="connsiteX243" fmla="*/ 237436 w 7479045"/>
                <a:gd name="connsiteY243" fmla="*/ 1111379 h 1149350"/>
                <a:gd name="connsiteX244" fmla="*/ 29257 w 7479045"/>
                <a:gd name="connsiteY244" fmla="*/ 1111379 h 1149350"/>
                <a:gd name="connsiteX245" fmla="*/ 29257 w 7479045"/>
                <a:gd name="connsiteY245" fmla="*/ 61639 h 1149350"/>
                <a:gd name="connsiteX246" fmla="*/ 237436 w 7479045"/>
                <a:gd name="connsiteY246" fmla="*/ 29074 h 1149350"/>
                <a:gd name="connsiteX247" fmla="*/ 237436 w 7479045"/>
                <a:gd name="connsiteY247" fmla="*/ 640146 h 1149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Lst>
              <a:rect l="l" t="t" r="r" b="b"/>
              <a:pathLst>
                <a:path w="7479045" h="1149350">
                  <a:moveTo>
                    <a:pt x="7155553" y="958132"/>
                  </a:moveTo>
                  <a:cubicBezTo>
                    <a:pt x="7182539" y="960048"/>
                    <a:pt x="7211453" y="956217"/>
                    <a:pt x="7236512" y="946639"/>
                  </a:cubicBezTo>
                  <a:cubicBezTo>
                    <a:pt x="7251933" y="938977"/>
                    <a:pt x="7261571" y="921736"/>
                    <a:pt x="7259643" y="904496"/>
                  </a:cubicBezTo>
                  <a:cubicBezTo>
                    <a:pt x="7257716" y="885340"/>
                    <a:pt x="7246150" y="868100"/>
                    <a:pt x="7228802" y="862353"/>
                  </a:cubicBezTo>
                  <a:cubicBezTo>
                    <a:pt x="7199888" y="845113"/>
                    <a:pt x="7167119" y="829788"/>
                    <a:pt x="7134350" y="820210"/>
                  </a:cubicBezTo>
                  <a:cubicBezTo>
                    <a:pt x="7101581" y="808717"/>
                    <a:pt x="7072667" y="795308"/>
                    <a:pt x="7045681" y="781899"/>
                  </a:cubicBezTo>
                  <a:cubicBezTo>
                    <a:pt x="7020622" y="770405"/>
                    <a:pt x="6999418" y="755081"/>
                    <a:pt x="6978215" y="735925"/>
                  </a:cubicBezTo>
                  <a:cubicBezTo>
                    <a:pt x="6958939" y="716769"/>
                    <a:pt x="6945446" y="695697"/>
                    <a:pt x="6935808" y="670795"/>
                  </a:cubicBezTo>
                  <a:cubicBezTo>
                    <a:pt x="6924242" y="642061"/>
                    <a:pt x="6920388" y="611412"/>
                    <a:pt x="6920388" y="580762"/>
                  </a:cubicBezTo>
                  <a:cubicBezTo>
                    <a:pt x="6918460" y="517548"/>
                    <a:pt x="6947374" y="456250"/>
                    <a:pt x="6997491" y="417938"/>
                  </a:cubicBezTo>
                  <a:cubicBezTo>
                    <a:pt x="7049536" y="377711"/>
                    <a:pt x="7118929" y="358555"/>
                    <a:pt x="7207598" y="358555"/>
                  </a:cubicBezTo>
                  <a:cubicBezTo>
                    <a:pt x="7250005" y="358555"/>
                    <a:pt x="7294340" y="362386"/>
                    <a:pt x="7336746" y="371964"/>
                  </a:cubicBezTo>
                  <a:cubicBezTo>
                    <a:pt x="7369516" y="377711"/>
                    <a:pt x="7402285" y="385373"/>
                    <a:pt x="7435054" y="396866"/>
                  </a:cubicBezTo>
                  <a:lnTo>
                    <a:pt x="7398429" y="559691"/>
                  </a:lnTo>
                  <a:cubicBezTo>
                    <a:pt x="7371443" y="550113"/>
                    <a:pt x="7346384" y="544366"/>
                    <a:pt x="7319398" y="536704"/>
                  </a:cubicBezTo>
                  <a:cubicBezTo>
                    <a:pt x="7288557" y="529042"/>
                    <a:pt x="7255788" y="527126"/>
                    <a:pt x="7224946" y="527126"/>
                  </a:cubicBezTo>
                  <a:cubicBezTo>
                    <a:pt x="7159409" y="527126"/>
                    <a:pt x="7126639" y="544366"/>
                    <a:pt x="7126639" y="580762"/>
                  </a:cubicBezTo>
                  <a:cubicBezTo>
                    <a:pt x="7126639" y="588425"/>
                    <a:pt x="7128567" y="596087"/>
                    <a:pt x="7130495" y="603749"/>
                  </a:cubicBezTo>
                  <a:cubicBezTo>
                    <a:pt x="7134350" y="611412"/>
                    <a:pt x="7140133" y="617159"/>
                    <a:pt x="7147843" y="622905"/>
                  </a:cubicBezTo>
                  <a:cubicBezTo>
                    <a:pt x="7155553" y="628652"/>
                    <a:pt x="7167119" y="634399"/>
                    <a:pt x="7180612" y="642061"/>
                  </a:cubicBezTo>
                  <a:cubicBezTo>
                    <a:pt x="7194105" y="649724"/>
                    <a:pt x="7213381" y="657386"/>
                    <a:pt x="7236512" y="665048"/>
                  </a:cubicBezTo>
                  <a:cubicBezTo>
                    <a:pt x="7275064" y="678457"/>
                    <a:pt x="7313616" y="695697"/>
                    <a:pt x="7348312" y="714853"/>
                  </a:cubicBezTo>
                  <a:cubicBezTo>
                    <a:pt x="7375298" y="728262"/>
                    <a:pt x="7398429" y="745503"/>
                    <a:pt x="7417705" y="768490"/>
                  </a:cubicBezTo>
                  <a:cubicBezTo>
                    <a:pt x="7435054" y="785730"/>
                    <a:pt x="7446619" y="806801"/>
                    <a:pt x="7454329" y="831704"/>
                  </a:cubicBezTo>
                  <a:cubicBezTo>
                    <a:pt x="7462040" y="858522"/>
                    <a:pt x="7465895" y="885340"/>
                    <a:pt x="7465895" y="912158"/>
                  </a:cubicBezTo>
                  <a:cubicBezTo>
                    <a:pt x="7469751" y="977288"/>
                    <a:pt x="7438909" y="1040503"/>
                    <a:pt x="7383009" y="1076899"/>
                  </a:cubicBezTo>
                  <a:cubicBezTo>
                    <a:pt x="7329036" y="1113295"/>
                    <a:pt x="7251933" y="1132451"/>
                    <a:pt x="7151698" y="1132451"/>
                  </a:cubicBezTo>
                  <a:cubicBezTo>
                    <a:pt x="7095798" y="1134366"/>
                    <a:pt x="7041826" y="1128619"/>
                    <a:pt x="6987853" y="1115210"/>
                  </a:cubicBezTo>
                  <a:cubicBezTo>
                    <a:pt x="6957012" y="1107548"/>
                    <a:pt x="6928098" y="1097970"/>
                    <a:pt x="6899184" y="1088392"/>
                  </a:cubicBezTo>
                  <a:lnTo>
                    <a:pt x="6933880" y="919821"/>
                  </a:lnTo>
                  <a:cubicBezTo>
                    <a:pt x="6968577" y="933230"/>
                    <a:pt x="7005201" y="944723"/>
                    <a:pt x="7041826" y="952386"/>
                  </a:cubicBezTo>
                  <a:cubicBezTo>
                    <a:pt x="7080377" y="954301"/>
                    <a:pt x="7117001" y="958132"/>
                    <a:pt x="7155553" y="958132"/>
                  </a:cubicBezTo>
                  <a:moveTo>
                    <a:pt x="6093452" y="747418"/>
                  </a:moveTo>
                  <a:cubicBezTo>
                    <a:pt x="6091524" y="689951"/>
                    <a:pt x="6103089" y="632483"/>
                    <a:pt x="6122365" y="578847"/>
                  </a:cubicBezTo>
                  <a:cubicBezTo>
                    <a:pt x="6139714" y="532873"/>
                    <a:pt x="6166700" y="492646"/>
                    <a:pt x="6201397" y="456250"/>
                  </a:cubicBezTo>
                  <a:cubicBezTo>
                    <a:pt x="6234166" y="423685"/>
                    <a:pt x="6270790" y="398782"/>
                    <a:pt x="6313197" y="383457"/>
                  </a:cubicBezTo>
                  <a:cubicBezTo>
                    <a:pt x="6355604" y="366217"/>
                    <a:pt x="6399939" y="358555"/>
                    <a:pt x="6444273" y="358555"/>
                  </a:cubicBezTo>
                  <a:cubicBezTo>
                    <a:pt x="6548363" y="358555"/>
                    <a:pt x="6631249" y="391120"/>
                    <a:pt x="6691004" y="454334"/>
                  </a:cubicBezTo>
                  <a:cubicBezTo>
                    <a:pt x="6750759" y="517548"/>
                    <a:pt x="6781601" y="611412"/>
                    <a:pt x="6781601" y="734009"/>
                  </a:cubicBezTo>
                  <a:cubicBezTo>
                    <a:pt x="6781601" y="745503"/>
                    <a:pt x="6781601" y="758912"/>
                    <a:pt x="6779673" y="774236"/>
                  </a:cubicBezTo>
                  <a:cubicBezTo>
                    <a:pt x="6779673" y="789561"/>
                    <a:pt x="6777746" y="801055"/>
                    <a:pt x="6777746" y="812548"/>
                  </a:cubicBezTo>
                  <a:lnTo>
                    <a:pt x="6307414" y="812548"/>
                  </a:lnTo>
                  <a:cubicBezTo>
                    <a:pt x="6311269" y="852775"/>
                    <a:pt x="6332473" y="891087"/>
                    <a:pt x="6367169" y="914074"/>
                  </a:cubicBezTo>
                  <a:cubicBezTo>
                    <a:pt x="6409577" y="940892"/>
                    <a:pt x="6459693" y="954301"/>
                    <a:pt x="6509811" y="952386"/>
                  </a:cubicBezTo>
                  <a:cubicBezTo>
                    <a:pt x="6546435" y="952386"/>
                    <a:pt x="6584987" y="948554"/>
                    <a:pt x="6621611" y="942808"/>
                  </a:cubicBezTo>
                  <a:cubicBezTo>
                    <a:pt x="6652452" y="937061"/>
                    <a:pt x="6683294" y="927483"/>
                    <a:pt x="6712208" y="914074"/>
                  </a:cubicBezTo>
                  <a:lnTo>
                    <a:pt x="6741122" y="1082645"/>
                  </a:lnTo>
                  <a:cubicBezTo>
                    <a:pt x="6727629" y="1090308"/>
                    <a:pt x="6712208" y="1094139"/>
                    <a:pt x="6696787" y="1099886"/>
                  </a:cubicBezTo>
                  <a:cubicBezTo>
                    <a:pt x="6675584" y="1105632"/>
                    <a:pt x="6654380" y="1111379"/>
                    <a:pt x="6633176" y="1113295"/>
                  </a:cubicBezTo>
                  <a:cubicBezTo>
                    <a:pt x="6610046" y="1117126"/>
                    <a:pt x="6586914" y="1120957"/>
                    <a:pt x="6559928" y="1124788"/>
                  </a:cubicBezTo>
                  <a:cubicBezTo>
                    <a:pt x="6534870" y="1126704"/>
                    <a:pt x="6507883" y="1128619"/>
                    <a:pt x="6480897" y="1128619"/>
                  </a:cubicBezTo>
                  <a:cubicBezTo>
                    <a:pt x="6421142" y="1130535"/>
                    <a:pt x="6363314" y="1120957"/>
                    <a:pt x="6307414" y="1099886"/>
                  </a:cubicBezTo>
                  <a:cubicBezTo>
                    <a:pt x="6261152" y="1082645"/>
                    <a:pt x="6220673" y="1055827"/>
                    <a:pt x="6185976" y="1021347"/>
                  </a:cubicBezTo>
                  <a:cubicBezTo>
                    <a:pt x="6153207" y="986866"/>
                    <a:pt x="6130076" y="944723"/>
                    <a:pt x="6114655" y="900665"/>
                  </a:cubicBezTo>
                  <a:cubicBezTo>
                    <a:pt x="6101162" y="848944"/>
                    <a:pt x="6093452" y="797223"/>
                    <a:pt x="6093452" y="747418"/>
                  </a:cubicBezTo>
                  <a:moveTo>
                    <a:pt x="6581132" y="668879"/>
                  </a:moveTo>
                  <a:cubicBezTo>
                    <a:pt x="6581132" y="651639"/>
                    <a:pt x="6577276" y="634399"/>
                    <a:pt x="6571494" y="617159"/>
                  </a:cubicBezTo>
                  <a:cubicBezTo>
                    <a:pt x="6567639" y="599918"/>
                    <a:pt x="6558001" y="586509"/>
                    <a:pt x="6548363" y="573100"/>
                  </a:cubicBezTo>
                  <a:cubicBezTo>
                    <a:pt x="6536797" y="559691"/>
                    <a:pt x="6523304" y="548198"/>
                    <a:pt x="6507883" y="540535"/>
                  </a:cubicBezTo>
                  <a:cubicBezTo>
                    <a:pt x="6488607" y="530957"/>
                    <a:pt x="6469331" y="527126"/>
                    <a:pt x="6448128" y="527126"/>
                  </a:cubicBezTo>
                  <a:cubicBezTo>
                    <a:pt x="6426925" y="527126"/>
                    <a:pt x="6407649" y="530957"/>
                    <a:pt x="6388373" y="540535"/>
                  </a:cubicBezTo>
                  <a:cubicBezTo>
                    <a:pt x="6372952" y="548198"/>
                    <a:pt x="6357531" y="557775"/>
                    <a:pt x="6345966" y="571185"/>
                  </a:cubicBezTo>
                  <a:cubicBezTo>
                    <a:pt x="6334400" y="584594"/>
                    <a:pt x="6324762" y="599918"/>
                    <a:pt x="6318980" y="617159"/>
                  </a:cubicBezTo>
                  <a:cubicBezTo>
                    <a:pt x="6313197" y="634399"/>
                    <a:pt x="6309342" y="651639"/>
                    <a:pt x="6307414" y="668879"/>
                  </a:cubicBezTo>
                  <a:lnTo>
                    <a:pt x="6581132" y="668879"/>
                  </a:lnTo>
                  <a:moveTo>
                    <a:pt x="5528668" y="193815"/>
                  </a:moveTo>
                  <a:lnTo>
                    <a:pt x="5736848" y="161250"/>
                  </a:lnTo>
                  <a:lnTo>
                    <a:pt x="5736848" y="375795"/>
                  </a:lnTo>
                  <a:lnTo>
                    <a:pt x="5987434" y="375795"/>
                  </a:lnTo>
                  <a:lnTo>
                    <a:pt x="5987434" y="548198"/>
                  </a:lnTo>
                  <a:lnTo>
                    <a:pt x="5736848" y="548198"/>
                  </a:lnTo>
                  <a:lnTo>
                    <a:pt x="5736848" y="804886"/>
                  </a:lnTo>
                  <a:cubicBezTo>
                    <a:pt x="5734920" y="841282"/>
                    <a:pt x="5742631" y="877678"/>
                    <a:pt x="5759979" y="908327"/>
                  </a:cubicBezTo>
                  <a:cubicBezTo>
                    <a:pt x="5775399" y="933230"/>
                    <a:pt x="5806241" y="946639"/>
                    <a:pt x="5854431" y="946639"/>
                  </a:cubicBezTo>
                  <a:cubicBezTo>
                    <a:pt x="5877562" y="946639"/>
                    <a:pt x="5900693" y="944723"/>
                    <a:pt x="5921896" y="940892"/>
                  </a:cubicBezTo>
                  <a:cubicBezTo>
                    <a:pt x="5945028" y="937061"/>
                    <a:pt x="5966231" y="931314"/>
                    <a:pt x="5987434" y="923652"/>
                  </a:cubicBezTo>
                  <a:lnTo>
                    <a:pt x="6016348" y="1084561"/>
                  </a:lnTo>
                  <a:cubicBezTo>
                    <a:pt x="5989362" y="1096054"/>
                    <a:pt x="5960448" y="1103717"/>
                    <a:pt x="5931534" y="1111379"/>
                  </a:cubicBezTo>
                  <a:cubicBezTo>
                    <a:pt x="5894910" y="1119041"/>
                    <a:pt x="5856358" y="1122873"/>
                    <a:pt x="5817807" y="1122873"/>
                  </a:cubicBezTo>
                  <a:cubicBezTo>
                    <a:pt x="5769617" y="1124788"/>
                    <a:pt x="5721427" y="1117126"/>
                    <a:pt x="5677093" y="1099886"/>
                  </a:cubicBezTo>
                  <a:cubicBezTo>
                    <a:pt x="5642396" y="1086476"/>
                    <a:pt x="5611554" y="1063490"/>
                    <a:pt x="5588424" y="1036671"/>
                  </a:cubicBezTo>
                  <a:cubicBezTo>
                    <a:pt x="5565292" y="1007938"/>
                    <a:pt x="5549872" y="973457"/>
                    <a:pt x="5540234" y="937061"/>
                  </a:cubicBezTo>
                  <a:cubicBezTo>
                    <a:pt x="5530596" y="894918"/>
                    <a:pt x="5526741" y="850860"/>
                    <a:pt x="5528668" y="808717"/>
                  </a:cubicBezTo>
                  <a:lnTo>
                    <a:pt x="5528668" y="193815"/>
                  </a:lnTo>
                  <a:moveTo>
                    <a:pt x="4686312" y="747418"/>
                  </a:moveTo>
                  <a:cubicBezTo>
                    <a:pt x="4684385" y="689951"/>
                    <a:pt x="4695950" y="632483"/>
                    <a:pt x="4715225" y="578847"/>
                  </a:cubicBezTo>
                  <a:cubicBezTo>
                    <a:pt x="4732574" y="532873"/>
                    <a:pt x="4759560" y="492646"/>
                    <a:pt x="4794257" y="456250"/>
                  </a:cubicBezTo>
                  <a:cubicBezTo>
                    <a:pt x="4827026" y="423685"/>
                    <a:pt x="4863650" y="398782"/>
                    <a:pt x="4906057" y="383457"/>
                  </a:cubicBezTo>
                  <a:cubicBezTo>
                    <a:pt x="4948464" y="366217"/>
                    <a:pt x="4992799" y="358555"/>
                    <a:pt x="5037133" y="358555"/>
                  </a:cubicBezTo>
                  <a:cubicBezTo>
                    <a:pt x="5141223" y="358555"/>
                    <a:pt x="5224109" y="391120"/>
                    <a:pt x="5283864" y="454334"/>
                  </a:cubicBezTo>
                  <a:cubicBezTo>
                    <a:pt x="5343620" y="517548"/>
                    <a:pt x="5374461" y="611412"/>
                    <a:pt x="5374461" y="734009"/>
                  </a:cubicBezTo>
                  <a:cubicBezTo>
                    <a:pt x="5374461" y="745503"/>
                    <a:pt x="5374461" y="758912"/>
                    <a:pt x="5372533" y="774236"/>
                  </a:cubicBezTo>
                  <a:cubicBezTo>
                    <a:pt x="5370606" y="789561"/>
                    <a:pt x="5370606" y="801055"/>
                    <a:pt x="5370606" y="812548"/>
                  </a:cubicBezTo>
                  <a:lnTo>
                    <a:pt x="4898346" y="812548"/>
                  </a:lnTo>
                  <a:cubicBezTo>
                    <a:pt x="4902202" y="852775"/>
                    <a:pt x="4923405" y="891087"/>
                    <a:pt x="4958102" y="914074"/>
                  </a:cubicBezTo>
                  <a:cubicBezTo>
                    <a:pt x="5000509" y="940892"/>
                    <a:pt x="5050626" y="954301"/>
                    <a:pt x="5100743" y="952386"/>
                  </a:cubicBezTo>
                  <a:cubicBezTo>
                    <a:pt x="5137368" y="952386"/>
                    <a:pt x="5175920" y="948554"/>
                    <a:pt x="5212544" y="942808"/>
                  </a:cubicBezTo>
                  <a:cubicBezTo>
                    <a:pt x="5243385" y="937061"/>
                    <a:pt x="5274226" y="927483"/>
                    <a:pt x="5305068" y="914074"/>
                  </a:cubicBezTo>
                  <a:lnTo>
                    <a:pt x="5333982" y="1082645"/>
                  </a:lnTo>
                  <a:cubicBezTo>
                    <a:pt x="5320489" y="1090308"/>
                    <a:pt x="5305068" y="1094139"/>
                    <a:pt x="5289647" y="1099886"/>
                  </a:cubicBezTo>
                  <a:cubicBezTo>
                    <a:pt x="5268444" y="1105632"/>
                    <a:pt x="5247240" y="1111379"/>
                    <a:pt x="5226037" y="1113295"/>
                  </a:cubicBezTo>
                  <a:cubicBezTo>
                    <a:pt x="5202906" y="1117126"/>
                    <a:pt x="5179775" y="1120957"/>
                    <a:pt x="5152788" y="1124788"/>
                  </a:cubicBezTo>
                  <a:cubicBezTo>
                    <a:pt x="5127730" y="1126704"/>
                    <a:pt x="5100743" y="1128619"/>
                    <a:pt x="5073757" y="1128619"/>
                  </a:cubicBezTo>
                  <a:cubicBezTo>
                    <a:pt x="5014002" y="1130535"/>
                    <a:pt x="4956174" y="1120957"/>
                    <a:pt x="4900274" y="1099886"/>
                  </a:cubicBezTo>
                  <a:cubicBezTo>
                    <a:pt x="4854012" y="1082645"/>
                    <a:pt x="4813533" y="1055827"/>
                    <a:pt x="4778836" y="1021347"/>
                  </a:cubicBezTo>
                  <a:cubicBezTo>
                    <a:pt x="4746067" y="986866"/>
                    <a:pt x="4722936" y="944723"/>
                    <a:pt x="4707515" y="900665"/>
                  </a:cubicBezTo>
                  <a:cubicBezTo>
                    <a:pt x="4692095" y="848944"/>
                    <a:pt x="4684385" y="797223"/>
                    <a:pt x="4686312" y="747418"/>
                  </a:cubicBezTo>
                  <a:moveTo>
                    <a:pt x="5173992" y="668879"/>
                  </a:moveTo>
                  <a:cubicBezTo>
                    <a:pt x="5173992" y="651639"/>
                    <a:pt x="5170137" y="634399"/>
                    <a:pt x="5164354" y="617159"/>
                  </a:cubicBezTo>
                  <a:cubicBezTo>
                    <a:pt x="5160499" y="599918"/>
                    <a:pt x="5150861" y="586509"/>
                    <a:pt x="5141223" y="573100"/>
                  </a:cubicBezTo>
                  <a:cubicBezTo>
                    <a:pt x="5129657" y="559691"/>
                    <a:pt x="5116164" y="548198"/>
                    <a:pt x="5100743" y="540535"/>
                  </a:cubicBezTo>
                  <a:cubicBezTo>
                    <a:pt x="5081467" y="530957"/>
                    <a:pt x="5062191" y="527126"/>
                    <a:pt x="5040988" y="527126"/>
                  </a:cubicBezTo>
                  <a:cubicBezTo>
                    <a:pt x="5019785" y="527126"/>
                    <a:pt x="5000509" y="530957"/>
                    <a:pt x="4981233" y="540535"/>
                  </a:cubicBezTo>
                  <a:cubicBezTo>
                    <a:pt x="4965812" y="548198"/>
                    <a:pt x="4952319" y="557775"/>
                    <a:pt x="4940754" y="571185"/>
                  </a:cubicBezTo>
                  <a:cubicBezTo>
                    <a:pt x="4929188" y="584594"/>
                    <a:pt x="4919550" y="599918"/>
                    <a:pt x="4913767" y="617159"/>
                  </a:cubicBezTo>
                  <a:cubicBezTo>
                    <a:pt x="4907984" y="634399"/>
                    <a:pt x="4904130" y="651639"/>
                    <a:pt x="4902202" y="668879"/>
                  </a:cubicBezTo>
                  <a:lnTo>
                    <a:pt x="5173992" y="668879"/>
                  </a:lnTo>
                  <a:moveTo>
                    <a:pt x="3896000" y="400698"/>
                  </a:moveTo>
                  <a:cubicBezTo>
                    <a:pt x="3940335" y="389204"/>
                    <a:pt x="3986597" y="379626"/>
                    <a:pt x="4032859" y="371964"/>
                  </a:cubicBezTo>
                  <a:cubicBezTo>
                    <a:pt x="4090687" y="362386"/>
                    <a:pt x="4150442" y="358555"/>
                    <a:pt x="4208270" y="358555"/>
                  </a:cubicBezTo>
                  <a:cubicBezTo>
                    <a:pt x="4260315" y="356639"/>
                    <a:pt x="4312359" y="366217"/>
                    <a:pt x="4362477" y="383457"/>
                  </a:cubicBezTo>
                  <a:cubicBezTo>
                    <a:pt x="4401029" y="396866"/>
                    <a:pt x="4435725" y="419854"/>
                    <a:pt x="4460784" y="450503"/>
                  </a:cubicBezTo>
                  <a:cubicBezTo>
                    <a:pt x="4485842" y="481152"/>
                    <a:pt x="4503191" y="517548"/>
                    <a:pt x="4512829" y="555860"/>
                  </a:cubicBezTo>
                  <a:cubicBezTo>
                    <a:pt x="4524394" y="599918"/>
                    <a:pt x="4528250" y="645892"/>
                    <a:pt x="4528250" y="691866"/>
                  </a:cubicBezTo>
                  <a:lnTo>
                    <a:pt x="4528250" y="1103717"/>
                  </a:lnTo>
                  <a:lnTo>
                    <a:pt x="4321997" y="1103717"/>
                  </a:lnTo>
                  <a:lnTo>
                    <a:pt x="4321997" y="718684"/>
                  </a:lnTo>
                  <a:cubicBezTo>
                    <a:pt x="4321997" y="651639"/>
                    <a:pt x="4312359" y="605665"/>
                    <a:pt x="4295011" y="576931"/>
                  </a:cubicBezTo>
                  <a:cubicBezTo>
                    <a:pt x="4277663" y="550113"/>
                    <a:pt x="4244894" y="534789"/>
                    <a:pt x="4196704" y="534789"/>
                  </a:cubicBezTo>
                  <a:cubicBezTo>
                    <a:pt x="4181284" y="534789"/>
                    <a:pt x="4165862" y="534789"/>
                    <a:pt x="4148514" y="536704"/>
                  </a:cubicBezTo>
                  <a:cubicBezTo>
                    <a:pt x="4131166" y="536704"/>
                    <a:pt x="4117673" y="538620"/>
                    <a:pt x="4104180" y="540535"/>
                  </a:cubicBezTo>
                  <a:lnTo>
                    <a:pt x="4104180" y="1103717"/>
                  </a:lnTo>
                  <a:lnTo>
                    <a:pt x="3896000" y="1103717"/>
                  </a:lnTo>
                  <a:lnTo>
                    <a:pt x="3896000" y="400698"/>
                  </a:lnTo>
                  <a:moveTo>
                    <a:pt x="3749504" y="559691"/>
                  </a:moveTo>
                  <a:cubicBezTo>
                    <a:pt x="3730228" y="555860"/>
                    <a:pt x="3709024" y="550113"/>
                    <a:pt x="3683965" y="546282"/>
                  </a:cubicBezTo>
                  <a:cubicBezTo>
                    <a:pt x="3656979" y="540535"/>
                    <a:pt x="3629993" y="538620"/>
                    <a:pt x="3603007" y="538620"/>
                  </a:cubicBezTo>
                  <a:cubicBezTo>
                    <a:pt x="3587586" y="538620"/>
                    <a:pt x="3572165" y="540535"/>
                    <a:pt x="3554817" y="542451"/>
                  </a:cubicBezTo>
                  <a:cubicBezTo>
                    <a:pt x="3541324" y="544366"/>
                    <a:pt x="3527831" y="546282"/>
                    <a:pt x="3514338" y="550113"/>
                  </a:cubicBezTo>
                  <a:lnTo>
                    <a:pt x="3514338" y="1107548"/>
                  </a:lnTo>
                  <a:lnTo>
                    <a:pt x="3306158" y="1107548"/>
                  </a:lnTo>
                  <a:lnTo>
                    <a:pt x="3306158" y="414107"/>
                  </a:lnTo>
                  <a:cubicBezTo>
                    <a:pt x="3348565" y="398782"/>
                    <a:pt x="3392900" y="387289"/>
                    <a:pt x="3437234" y="377711"/>
                  </a:cubicBezTo>
                  <a:cubicBezTo>
                    <a:pt x="3493134" y="364302"/>
                    <a:pt x="3550962" y="358555"/>
                    <a:pt x="3606862" y="360470"/>
                  </a:cubicBezTo>
                  <a:cubicBezTo>
                    <a:pt x="3620355" y="360470"/>
                    <a:pt x="3633848" y="362386"/>
                    <a:pt x="3647341" y="362386"/>
                  </a:cubicBezTo>
                  <a:cubicBezTo>
                    <a:pt x="3662762" y="362386"/>
                    <a:pt x="3678183" y="364302"/>
                    <a:pt x="3695531" y="368133"/>
                  </a:cubicBezTo>
                  <a:cubicBezTo>
                    <a:pt x="3710952" y="370048"/>
                    <a:pt x="3726372" y="371964"/>
                    <a:pt x="3743721" y="375795"/>
                  </a:cubicBezTo>
                  <a:cubicBezTo>
                    <a:pt x="3757214" y="377711"/>
                    <a:pt x="3770707" y="381542"/>
                    <a:pt x="3784200" y="387289"/>
                  </a:cubicBezTo>
                  <a:lnTo>
                    <a:pt x="3749504" y="559691"/>
                  </a:lnTo>
                  <a:moveTo>
                    <a:pt x="2456091" y="747418"/>
                  </a:moveTo>
                  <a:cubicBezTo>
                    <a:pt x="2454164" y="689951"/>
                    <a:pt x="2465729" y="632483"/>
                    <a:pt x="2485005" y="578847"/>
                  </a:cubicBezTo>
                  <a:cubicBezTo>
                    <a:pt x="2502353" y="532873"/>
                    <a:pt x="2529340" y="492646"/>
                    <a:pt x="2564036" y="456250"/>
                  </a:cubicBezTo>
                  <a:cubicBezTo>
                    <a:pt x="2596805" y="423685"/>
                    <a:pt x="2633430" y="398782"/>
                    <a:pt x="2675836" y="383457"/>
                  </a:cubicBezTo>
                  <a:cubicBezTo>
                    <a:pt x="2718243" y="366217"/>
                    <a:pt x="2762578" y="358555"/>
                    <a:pt x="2806912" y="358555"/>
                  </a:cubicBezTo>
                  <a:cubicBezTo>
                    <a:pt x="2911003" y="358555"/>
                    <a:pt x="2993889" y="391120"/>
                    <a:pt x="3053644" y="454334"/>
                  </a:cubicBezTo>
                  <a:cubicBezTo>
                    <a:pt x="3113399" y="517548"/>
                    <a:pt x="3144240" y="611412"/>
                    <a:pt x="3144240" y="732094"/>
                  </a:cubicBezTo>
                  <a:cubicBezTo>
                    <a:pt x="3144240" y="743587"/>
                    <a:pt x="3144240" y="756996"/>
                    <a:pt x="3142313" y="772321"/>
                  </a:cubicBezTo>
                  <a:cubicBezTo>
                    <a:pt x="3140386" y="787645"/>
                    <a:pt x="3140386" y="799139"/>
                    <a:pt x="3140386" y="810632"/>
                  </a:cubicBezTo>
                  <a:lnTo>
                    <a:pt x="2668126" y="810632"/>
                  </a:lnTo>
                  <a:cubicBezTo>
                    <a:pt x="2671981" y="850860"/>
                    <a:pt x="2693185" y="889171"/>
                    <a:pt x="2727881" y="912158"/>
                  </a:cubicBezTo>
                  <a:cubicBezTo>
                    <a:pt x="2770288" y="938977"/>
                    <a:pt x="2820406" y="952386"/>
                    <a:pt x="2870523" y="950470"/>
                  </a:cubicBezTo>
                  <a:cubicBezTo>
                    <a:pt x="2907147" y="950470"/>
                    <a:pt x="2945699" y="946639"/>
                    <a:pt x="2982323" y="940892"/>
                  </a:cubicBezTo>
                  <a:cubicBezTo>
                    <a:pt x="3013165" y="935145"/>
                    <a:pt x="3044006" y="925567"/>
                    <a:pt x="3072920" y="914074"/>
                  </a:cubicBezTo>
                  <a:lnTo>
                    <a:pt x="3101834" y="1082645"/>
                  </a:lnTo>
                  <a:cubicBezTo>
                    <a:pt x="3088340" y="1090308"/>
                    <a:pt x="3072920" y="1094139"/>
                    <a:pt x="3057499" y="1099886"/>
                  </a:cubicBezTo>
                  <a:cubicBezTo>
                    <a:pt x="3036296" y="1105632"/>
                    <a:pt x="3015092" y="1111379"/>
                    <a:pt x="2993889" y="1113295"/>
                  </a:cubicBezTo>
                  <a:cubicBezTo>
                    <a:pt x="2970757" y="1117126"/>
                    <a:pt x="2947627" y="1120957"/>
                    <a:pt x="2920641" y="1124788"/>
                  </a:cubicBezTo>
                  <a:cubicBezTo>
                    <a:pt x="2895581" y="1126704"/>
                    <a:pt x="2868595" y="1128619"/>
                    <a:pt x="2841609" y="1128619"/>
                  </a:cubicBezTo>
                  <a:cubicBezTo>
                    <a:pt x="2781854" y="1130535"/>
                    <a:pt x="2724026" y="1120957"/>
                    <a:pt x="2668126" y="1099886"/>
                  </a:cubicBezTo>
                  <a:cubicBezTo>
                    <a:pt x="2621864" y="1082645"/>
                    <a:pt x="2581384" y="1055827"/>
                    <a:pt x="2546688" y="1021347"/>
                  </a:cubicBezTo>
                  <a:cubicBezTo>
                    <a:pt x="2513919" y="986866"/>
                    <a:pt x="2490788" y="944723"/>
                    <a:pt x="2475367" y="900665"/>
                  </a:cubicBezTo>
                  <a:cubicBezTo>
                    <a:pt x="2463802" y="848944"/>
                    <a:pt x="2456091" y="799139"/>
                    <a:pt x="2456091" y="747418"/>
                  </a:cubicBezTo>
                  <a:moveTo>
                    <a:pt x="2945699" y="668879"/>
                  </a:moveTo>
                  <a:cubicBezTo>
                    <a:pt x="2945699" y="651639"/>
                    <a:pt x="2941844" y="634399"/>
                    <a:pt x="2936061" y="617159"/>
                  </a:cubicBezTo>
                  <a:cubicBezTo>
                    <a:pt x="2932206" y="599918"/>
                    <a:pt x="2922568" y="586509"/>
                    <a:pt x="2912930" y="573100"/>
                  </a:cubicBezTo>
                  <a:cubicBezTo>
                    <a:pt x="2901365" y="559691"/>
                    <a:pt x="2887871" y="548198"/>
                    <a:pt x="2872451" y="540535"/>
                  </a:cubicBezTo>
                  <a:cubicBezTo>
                    <a:pt x="2853175" y="530957"/>
                    <a:pt x="2833899" y="527126"/>
                    <a:pt x="2812695" y="527126"/>
                  </a:cubicBezTo>
                  <a:cubicBezTo>
                    <a:pt x="2791492" y="527126"/>
                    <a:pt x="2772216" y="530957"/>
                    <a:pt x="2752940" y="540535"/>
                  </a:cubicBezTo>
                  <a:cubicBezTo>
                    <a:pt x="2737519" y="548198"/>
                    <a:pt x="2722098" y="557775"/>
                    <a:pt x="2710533" y="571185"/>
                  </a:cubicBezTo>
                  <a:cubicBezTo>
                    <a:pt x="2698967" y="584594"/>
                    <a:pt x="2689330" y="599918"/>
                    <a:pt x="2683547" y="617159"/>
                  </a:cubicBezTo>
                  <a:cubicBezTo>
                    <a:pt x="2677764" y="634399"/>
                    <a:pt x="2673909" y="651639"/>
                    <a:pt x="2671981" y="668879"/>
                  </a:cubicBezTo>
                  <a:lnTo>
                    <a:pt x="2945699" y="668879"/>
                  </a:lnTo>
                  <a:moveTo>
                    <a:pt x="2118763" y="735925"/>
                  </a:moveTo>
                  <a:cubicBezTo>
                    <a:pt x="2118763" y="601834"/>
                    <a:pt x="2068646" y="536704"/>
                    <a:pt x="1970339" y="536704"/>
                  </a:cubicBezTo>
                  <a:cubicBezTo>
                    <a:pt x="1949135" y="536704"/>
                    <a:pt x="1927932" y="538620"/>
                    <a:pt x="1906728" y="544366"/>
                  </a:cubicBezTo>
                  <a:cubicBezTo>
                    <a:pt x="1889380" y="548198"/>
                    <a:pt x="1872032" y="555860"/>
                    <a:pt x="1856611" y="565438"/>
                  </a:cubicBezTo>
                  <a:lnTo>
                    <a:pt x="1856611" y="940892"/>
                  </a:lnTo>
                  <a:cubicBezTo>
                    <a:pt x="1866249" y="942808"/>
                    <a:pt x="1879742" y="944723"/>
                    <a:pt x="1895163" y="946639"/>
                  </a:cubicBezTo>
                  <a:cubicBezTo>
                    <a:pt x="1910584" y="948554"/>
                    <a:pt x="1927932" y="948554"/>
                    <a:pt x="1947208" y="948554"/>
                  </a:cubicBezTo>
                  <a:cubicBezTo>
                    <a:pt x="1997325" y="952386"/>
                    <a:pt x="2045515" y="931314"/>
                    <a:pt x="2076356" y="891087"/>
                  </a:cubicBezTo>
                  <a:cubicBezTo>
                    <a:pt x="2105270" y="845113"/>
                    <a:pt x="2120691" y="791477"/>
                    <a:pt x="2118763" y="735925"/>
                  </a:cubicBezTo>
                  <a:moveTo>
                    <a:pt x="2330798" y="743587"/>
                  </a:moveTo>
                  <a:cubicBezTo>
                    <a:pt x="2330798" y="797223"/>
                    <a:pt x="2323088" y="850860"/>
                    <a:pt x="2303812" y="902580"/>
                  </a:cubicBezTo>
                  <a:cubicBezTo>
                    <a:pt x="2288391" y="948554"/>
                    <a:pt x="2263332" y="988782"/>
                    <a:pt x="2230563" y="1023262"/>
                  </a:cubicBezTo>
                  <a:cubicBezTo>
                    <a:pt x="2195867" y="1057743"/>
                    <a:pt x="2155387" y="1084561"/>
                    <a:pt x="2111053" y="1101801"/>
                  </a:cubicBezTo>
                  <a:cubicBezTo>
                    <a:pt x="2059008" y="1120957"/>
                    <a:pt x="2005035" y="1128619"/>
                    <a:pt x="1949135" y="1128619"/>
                  </a:cubicBezTo>
                  <a:cubicBezTo>
                    <a:pt x="1924077" y="1128619"/>
                    <a:pt x="1897090" y="1126704"/>
                    <a:pt x="1870104" y="1124788"/>
                  </a:cubicBezTo>
                  <a:cubicBezTo>
                    <a:pt x="1843118" y="1122873"/>
                    <a:pt x="1816132" y="1119041"/>
                    <a:pt x="1789146" y="1117126"/>
                  </a:cubicBezTo>
                  <a:cubicBezTo>
                    <a:pt x="1764087" y="1113295"/>
                    <a:pt x="1739028" y="1109464"/>
                    <a:pt x="1713969" y="1103717"/>
                  </a:cubicBezTo>
                  <a:cubicBezTo>
                    <a:pt x="1688911" y="1099886"/>
                    <a:pt x="1667707" y="1094139"/>
                    <a:pt x="1650359" y="1086476"/>
                  </a:cubicBezTo>
                  <a:lnTo>
                    <a:pt x="1650359" y="61639"/>
                  </a:lnTo>
                  <a:lnTo>
                    <a:pt x="1858539" y="29074"/>
                  </a:lnTo>
                  <a:lnTo>
                    <a:pt x="1858539" y="393035"/>
                  </a:lnTo>
                  <a:cubicBezTo>
                    <a:pt x="1881670" y="383457"/>
                    <a:pt x="1906728" y="375795"/>
                    <a:pt x="1931787" y="370048"/>
                  </a:cubicBezTo>
                  <a:cubicBezTo>
                    <a:pt x="1958773" y="364302"/>
                    <a:pt x="1985760" y="362386"/>
                    <a:pt x="2012746" y="362386"/>
                  </a:cubicBezTo>
                  <a:cubicBezTo>
                    <a:pt x="2060935" y="362386"/>
                    <a:pt x="2107198" y="370048"/>
                    <a:pt x="2151532" y="391120"/>
                  </a:cubicBezTo>
                  <a:cubicBezTo>
                    <a:pt x="2190084" y="408360"/>
                    <a:pt x="2224780" y="435178"/>
                    <a:pt x="2251767" y="467743"/>
                  </a:cubicBezTo>
                  <a:cubicBezTo>
                    <a:pt x="2280681" y="504139"/>
                    <a:pt x="2301884" y="544366"/>
                    <a:pt x="2313450" y="588425"/>
                  </a:cubicBezTo>
                  <a:cubicBezTo>
                    <a:pt x="2325015" y="636314"/>
                    <a:pt x="2330798" y="689951"/>
                    <a:pt x="2330798" y="743587"/>
                  </a:cubicBezTo>
                  <a:moveTo>
                    <a:pt x="1451817" y="1080730"/>
                  </a:moveTo>
                  <a:cubicBezTo>
                    <a:pt x="1407483" y="1092223"/>
                    <a:pt x="1361221" y="1101801"/>
                    <a:pt x="1314959" y="1107548"/>
                  </a:cubicBezTo>
                  <a:cubicBezTo>
                    <a:pt x="1257131" y="1117126"/>
                    <a:pt x="1197376" y="1120957"/>
                    <a:pt x="1139548" y="1120957"/>
                  </a:cubicBezTo>
                  <a:cubicBezTo>
                    <a:pt x="1085576" y="1122873"/>
                    <a:pt x="1033531" y="1113295"/>
                    <a:pt x="983413" y="1096054"/>
                  </a:cubicBezTo>
                  <a:cubicBezTo>
                    <a:pt x="944861" y="1080730"/>
                    <a:pt x="912093" y="1057743"/>
                    <a:pt x="885106" y="1027093"/>
                  </a:cubicBezTo>
                  <a:cubicBezTo>
                    <a:pt x="860048" y="994529"/>
                    <a:pt x="842699" y="958132"/>
                    <a:pt x="833061" y="917905"/>
                  </a:cubicBezTo>
                  <a:cubicBezTo>
                    <a:pt x="821496" y="873847"/>
                    <a:pt x="817640" y="825957"/>
                    <a:pt x="817640" y="779983"/>
                  </a:cubicBezTo>
                  <a:lnTo>
                    <a:pt x="817640" y="375795"/>
                  </a:lnTo>
                  <a:lnTo>
                    <a:pt x="1025820" y="375795"/>
                  </a:lnTo>
                  <a:lnTo>
                    <a:pt x="1025820" y="756996"/>
                  </a:lnTo>
                  <a:cubicBezTo>
                    <a:pt x="1025820" y="824042"/>
                    <a:pt x="1035458" y="871931"/>
                    <a:pt x="1052807" y="900665"/>
                  </a:cubicBezTo>
                  <a:cubicBezTo>
                    <a:pt x="1070155" y="929399"/>
                    <a:pt x="1102924" y="944723"/>
                    <a:pt x="1151113" y="944723"/>
                  </a:cubicBezTo>
                  <a:cubicBezTo>
                    <a:pt x="1166534" y="944723"/>
                    <a:pt x="1181955" y="944723"/>
                    <a:pt x="1199303" y="942808"/>
                  </a:cubicBezTo>
                  <a:cubicBezTo>
                    <a:pt x="1216652" y="940892"/>
                    <a:pt x="1230145" y="940892"/>
                    <a:pt x="1243638" y="937061"/>
                  </a:cubicBezTo>
                  <a:lnTo>
                    <a:pt x="1243638" y="375795"/>
                  </a:lnTo>
                  <a:lnTo>
                    <a:pt x="1451817" y="375795"/>
                  </a:lnTo>
                  <a:lnTo>
                    <a:pt x="1451817" y="1080730"/>
                  </a:lnTo>
                  <a:moveTo>
                    <a:pt x="237436" y="640146"/>
                  </a:moveTo>
                  <a:cubicBezTo>
                    <a:pt x="258640" y="617159"/>
                    <a:pt x="277916" y="594172"/>
                    <a:pt x="301047" y="571185"/>
                  </a:cubicBezTo>
                  <a:cubicBezTo>
                    <a:pt x="322250" y="546282"/>
                    <a:pt x="343454" y="523295"/>
                    <a:pt x="364657" y="500308"/>
                  </a:cubicBezTo>
                  <a:cubicBezTo>
                    <a:pt x="385861" y="475405"/>
                    <a:pt x="405137" y="454334"/>
                    <a:pt x="422485" y="433263"/>
                  </a:cubicBezTo>
                  <a:cubicBezTo>
                    <a:pt x="439833" y="412191"/>
                    <a:pt x="457181" y="393035"/>
                    <a:pt x="470674" y="377711"/>
                  </a:cubicBezTo>
                  <a:lnTo>
                    <a:pt x="717406" y="377711"/>
                  </a:lnTo>
                  <a:cubicBezTo>
                    <a:pt x="667289" y="433263"/>
                    <a:pt x="619099" y="488814"/>
                    <a:pt x="572837" y="540535"/>
                  </a:cubicBezTo>
                  <a:cubicBezTo>
                    <a:pt x="524647" y="592256"/>
                    <a:pt x="474530" y="645892"/>
                    <a:pt x="418630" y="699529"/>
                  </a:cubicBezTo>
                  <a:cubicBezTo>
                    <a:pt x="449471" y="728262"/>
                    <a:pt x="478385" y="756996"/>
                    <a:pt x="505371" y="789561"/>
                  </a:cubicBezTo>
                  <a:cubicBezTo>
                    <a:pt x="534285" y="824042"/>
                    <a:pt x="563199" y="858522"/>
                    <a:pt x="592113" y="896834"/>
                  </a:cubicBezTo>
                  <a:cubicBezTo>
                    <a:pt x="619099" y="933230"/>
                    <a:pt x="646085" y="971542"/>
                    <a:pt x="669216" y="1007938"/>
                  </a:cubicBezTo>
                  <a:cubicBezTo>
                    <a:pt x="692347" y="1044334"/>
                    <a:pt x="711623" y="1078814"/>
                    <a:pt x="727044" y="1109464"/>
                  </a:cubicBezTo>
                  <a:lnTo>
                    <a:pt x="488023" y="1109464"/>
                  </a:lnTo>
                  <a:cubicBezTo>
                    <a:pt x="472602" y="1084561"/>
                    <a:pt x="455254" y="1059658"/>
                    <a:pt x="435978" y="1030925"/>
                  </a:cubicBezTo>
                  <a:cubicBezTo>
                    <a:pt x="416702" y="1002191"/>
                    <a:pt x="395499" y="973457"/>
                    <a:pt x="376223" y="942808"/>
                  </a:cubicBezTo>
                  <a:cubicBezTo>
                    <a:pt x="355019" y="914074"/>
                    <a:pt x="331888" y="885340"/>
                    <a:pt x="306829" y="858522"/>
                  </a:cubicBezTo>
                  <a:cubicBezTo>
                    <a:pt x="285626" y="833619"/>
                    <a:pt x="262495" y="810632"/>
                    <a:pt x="237436" y="791477"/>
                  </a:cubicBezTo>
                  <a:lnTo>
                    <a:pt x="237436" y="1111379"/>
                  </a:lnTo>
                  <a:lnTo>
                    <a:pt x="29257" y="1111379"/>
                  </a:lnTo>
                  <a:lnTo>
                    <a:pt x="29257" y="61639"/>
                  </a:lnTo>
                  <a:lnTo>
                    <a:pt x="237436" y="29074"/>
                  </a:lnTo>
                  <a:lnTo>
                    <a:pt x="237436" y="640146"/>
                  </a:lnTo>
                </a:path>
              </a:pathLst>
            </a:custGeom>
            <a:grpFill/>
            <a:ln w="19276" cap="flat">
              <a:noFill/>
              <a:prstDash val="solid"/>
              <a:miter/>
            </a:ln>
          </p:spPr>
          <p:txBody>
            <a:bodyPr rtlCol="0" anchor="ctr"/>
            <a:lstStyle/>
            <a:p>
              <a:endParaRPr lang="en-US" dirty="0">
                <a:solidFill>
                  <a:srgbClr val="000000"/>
                </a:solidFill>
                <a:latin typeface="Segoe UI"/>
              </a:endParaRPr>
            </a:p>
          </p:txBody>
        </p:sp>
      </p:grpSp>
    </p:spTree>
    <p:extLst>
      <p:ext uri="{BB962C8B-B14F-4D97-AF65-F5344CB8AC3E}">
        <p14:creationId xmlns:p14="http://schemas.microsoft.com/office/powerpoint/2010/main" val="1001243174"/>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6ECB8-5483-435C-B7BB-3DDA3BD87740}"/>
              </a:ext>
            </a:extLst>
          </p:cNvPr>
          <p:cNvSpPr>
            <a:spLocks noGrp="1"/>
          </p:cNvSpPr>
          <p:nvPr>
            <p:ph type="title"/>
          </p:nvPr>
        </p:nvSpPr>
        <p:spPr/>
        <p:txBody>
          <a:bodyPr/>
          <a:lstStyle/>
          <a:p>
            <a:r>
              <a:rPr lang="en-US" dirty="0"/>
              <a:t>SQL Server on Linux – What have we learned?</a:t>
            </a:r>
          </a:p>
        </p:txBody>
      </p:sp>
      <p:graphicFrame>
        <p:nvGraphicFramePr>
          <p:cNvPr id="3" name="Diagram 2">
            <a:extLst>
              <a:ext uri="{FF2B5EF4-FFF2-40B4-BE49-F238E27FC236}">
                <a16:creationId xmlns:a16="http://schemas.microsoft.com/office/drawing/2014/main" id="{E283A8B8-C589-42A2-869B-E92984DC0ADC}"/>
              </a:ext>
            </a:extLst>
          </p:cNvPr>
          <p:cNvGraphicFramePr/>
          <p:nvPr>
            <p:extLst>
              <p:ext uri="{D42A27DB-BD31-4B8C-83A1-F6EECF244321}">
                <p14:modId xmlns:p14="http://schemas.microsoft.com/office/powerpoint/2010/main" val="2030555947"/>
              </p:ext>
            </p:extLst>
          </p:nvPr>
        </p:nvGraphicFramePr>
        <p:xfrm>
          <a:off x="-1599422" y="1228292"/>
          <a:ext cx="8362361" cy="115516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a:extLst>
              <a:ext uri="{FF2B5EF4-FFF2-40B4-BE49-F238E27FC236}">
                <a16:creationId xmlns:a16="http://schemas.microsoft.com/office/drawing/2014/main" id="{A93B48FD-2112-4015-A179-E12417F37078}"/>
              </a:ext>
            </a:extLst>
          </p:cNvPr>
          <p:cNvSpPr txBox="1"/>
          <p:nvPr/>
        </p:nvSpPr>
        <p:spPr>
          <a:xfrm>
            <a:off x="513801" y="2560336"/>
            <a:ext cx="8795645" cy="1440687"/>
          </a:xfrm>
          <a:prstGeom prst="rect">
            <a:avLst/>
          </a:prstGeom>
          <a:noFill/>
        </p:spPr>
        <p:txBody>
          <a:bodyPr wrap="none" lIns="0" tIns="0" rIns="0" bIns="0" rtlCol="0">
            <a:spAutoFit/>
          </a:bodyPr>
          <a:lstStyle/>
          <a:p>
            <a:pPr defTabSz="932563"/>
            <a:r>
              <a:rPr lang="en-US" sz="1836" dirty="0">
                <a:gradFill>
                  <a:gsLst>
                    <a:gs pos="2917">
                      <a:srgbClr val="1A1A1A"/>
                    </a:gs>
                    <a:gs pos="30000">
                      <a:srgbClr val="1A1A1A"/>
                    </a:gs>
                  </a:gsLst>
                  <a:lin ang="5400000" scaled="0"/>
                </a:gradFill>
                <a:latin typeface="Segoe UI"/>
              </a:rPr>
              <a:t>Customers are….</a:t>
            </a:r>
          </a:p>
          <a:p>
            <a:pPr defTabSz="932563"/>
            <a:endParaRPr lang="en-US" sz="1836" dirty="0">
              <a:gradFill>
                <a:gsLst>
                  <a:gs pos="2917">
                    <a:srgbClr val="1A1A1A"/>
                  </a:gs>
                  <a:gs pos="30000">
                    <a:srgbClr val="1A1A1A"/>
                  </a:gs>
                </a:gsLst>
                <a:lin ang="5400000" scaled="0"/>
              </a:gradFill>
              <a:latin typeface="Segoe UI"/>
            </a:endParaRPr>
          </a:p>
          <a:p>
            <a:pPr marL="349724" indent="-349724" defTabSz="932563">
              <a:buFont typeface="Arial" panose="020B0604020202020204" pitchFamily="34" charset="0"/>
              <a:buChar char="•"/>
            </a:pPr>
            <a:r>
              <a:rPr lang="en-US" sz="1836" dirty="0">
                <a:gradFill>
                  <a:gsLst>
                    <a:gs pos="2917">
                      <a:srgbClr val="1A1A1A"/>
                    </a:gs>
                    <a:gs pos="30000">
                      <a:srgbClr val="1A1A1A"/>
                    </a:gs>
                  </a:gsLst>
                  <a:lin ang="5400000" scaled="0"/>
                </a:gradFill>
                <a:latin typeface="Segoe UI"/>
              </a:rPr>
              <a:t>Standardizing on an Operating System (Mixed OS and Hybrid Cloud short-term)</a:t>
            </a:r>
          </a:p>
          <a:p>
            <a:pPr marL="349724" indent="-349724" defTabSz="932563">
              <a:buFont typeface="Arial" panose="020B0604020202020204" pitchFamily="34" charset="0"/>
              <a:buChar char="•"/>
            </a:pPr>
            <a:r>
              <a:rPr lang="en-US" sz="1836" dirty="0">
                <a:gradFill>
                  <a:gsLst>
                    <a:gs pos="2917">
                      <a:srgbClr val="1A1A1A"/>
                    </a:gs>
                    <a:gs pos="30000">
                      <a:srgbClr val="1A1A1A"/>
                    </a:gs>
                  </a:gsLst>
                  <a:lin ang="5400000" scaled="0"/>
                </a:gradFill>
                <a:latin typeface="Segoe UI"/>
              </a:rPr>
              <a:t>Re-evaluating the preferred database for new applications</a:t>
            </a:r>
          </a:p>
          <a:p>
            <a:pPr marL="349724" indent="-349724" defTabSz="932563">
              <a:buFont typeface="Arial" panose="020B0604020202020204" pitchFamily="34" charset="0"/>
              <a:buChar char="•"/>
            </a:pPr>
            <a:r>
              <a:rPr lang="en-US" sz="1836" dirty="0">
                <a:gradFill>
                  <a:gsLst>
                    <a:gs pos="2917">
                      <a:srgbClr val="1A1A1A"/>
                    </a:gs>
                    <a:gs pos="30000">
                      <a:srgbClr val="1A1A1A"/>
                    </a:gs>
                  </a:gsLst>
                  <a:lin ang="5400000" scaled="0"/>
                </a:gradFill>
                <a:latin typeface="Segoe UI"/>
              </a:rPr>
              <a:t>Migrating from SQL Server (Older Versions), ORACLE, MySQL, or PostgreSQL</a:t>
            </a:r>
          </a:p>
        </p:txBody>
      </p:sp>
      <p:sp>
        <p:nvSpPr>
          <p:cNvPr id="5" name="AutoShape 8" descr="data:image/jpeg;base64,/9j/4AAQSkZJRgABAQEA3ADcAAD/2wBDAAMCAgMCAgMDAwMEAwMEBQgFBQQEBQoHBwYIDAoMDAsKCwsNDhIQDQ4RDgsLEBYQERMUFRUVDA8XGBYUGBIUFRT/2wBDAQMEBAUEBQkFBQkUDQsNFBQUFBQUFBQUFBQUFBQUFBQUFBQUFBQUFBQUFBQUFBQUFBQUFBQUFBQUFBQUFBQUFBT/wAARCACGAIYDASIAAhEBAxEB/8QAHwAAAQUBAQEBAQEAAAAAAAAAAAECAwQFBgcICQoL/8QAtRAAAgEDAwIEAwUFBAQAAAF9AQIDAAQRBRIhMUEGE1FhByJxFDKBkaEII0KxwRVS0fAkM2JyggkKFhcYGRolJicoKSo0NTY3ODk6Q0RFRkdISUpTVFVWV1hZWmNkZWZnaGlqc3R1dnd4eXqDhIWGh4iJipKTlJWWl5iZmqKjpKWmp6ipqrKztLW2t7i5usLDxMXGx8jJytLT1NXW19jZ2uHi4+Tl5ufo6erx8vP09fb3+Pn6/8QAHwEAAwEBAQEBAQEBAQAAAAAAAAECAwQFBgcICQoL/8QAtREAAgECBAQDBAcFBAQAAQJ3AAECAxEEBSExBhJBUQdhcRMiMoEIFEKRobHBCSMzUvAVYnLRChYkNOEl8RcYGRomJygpKjU2Nzg5OkNERUZHSElKU1RVVldYWVpjZGVmZ2hpanN0dXZ3eHl6goOEhYaHiImKkpOUlZaXmJmaoqOkpaanqKmqsrO0tba3uLm6wsPExcbHyMnK0tPU1dbX2Nna4uPk5ebn6Onq8vP09fb3+Pn6/9oADAMBAAIRAxEAPwDueSxJJ60uPehf4vrS1/L5/VAmPejHvS0UAJj3ox70tFACY96Me9LTW+XJ6d85xQAElcndgdc5r07wPa6b8LdUj1jxrpOoG88pLnTLbygVY55bk/fTg7SRt643ba7D9n34V6dcSWXiTWJ7e4umzLp+n7gSgVseaw7kHGB0Xg9fu+5eNvA+mePNDl0zUYi0bfNHIuA8LjIDoex/xIPBr9Fyfh+q6P1y6518Keq+f6H5lnXEVKVb6lZ+z2k1o/l+vc8S1P46eH/iRpd5pPiDw5eQ2W0yfabVvPNvjpKcKCuMjseuO/Pz6wTzXCFigOFLcHGeMj1r274eeFdR+F/xfi0TVjE2m6lDLB50gAiukwSu3P8AFnAKk5GT2INZfxq+Dv8AwiM0mtaJifQpG/eRq+42zE4A/wB0nAz26HtXBmWHxuOw/wBYrq84Np6Wa/zR3ZXisDl+KeGoO0KiTi73T+/ZnkuPejHvW14g8Gat4XtNMur+3CWuoxLNbzRtvRgRnbn+8B2rEWvjqlKpRly1FZn3NKtTrx56UroXHvRj3paKyNhMe9FLRQAi/wAX1paRf4vrS0AFFFFABRRTGbapJBI60avRAEn3SSce9fRvwN+BJt0h8ReJbX/SCN1np8w/1Q5xJIMfexyFP3f977vgELXvh7VoJXhktL+0lSZY7iIhlYHcpKHHHFfb/gnxtYeLvDul6jA6p9sjJETEZVl4dfqpBH4V97wtgcNWryliPijsmfnnFmOxNGhGGHfuT3a/I+UfiH4b134X+PJb8MbV5rmS6s721XYhyxOB9A2CpHTrkHn6J+D/AMYrP4iacLa4AttcgUedb54kHTentnt2P4E9f4w8Iab430WfS9SgEsEnKkcNGwHDKexFfHvjLwbrvwd8Vwss7w+W3m2WowjaHAOPpnnBU+vQg17leGI4dxLr0ryoyeq7Hg4aphuI8MsNVtGvFe6+/wDXX7z688ceB9M8faHLpmpQ7o2+ZJFxvicdGU46j3HPIPHFfHfjrwfr3w1v7nRbq4mjsLk70eFisN0oIw2OhI+UbT07ZBBP058H/jBZ/EbTTBc7LbXIFzPb5+VwMDemT0z27E/Qm98ZLfw1L4Juz4n+WzX/AFTxged5pzt8r/aPP4ZzxmvTzLCYbN8L9boTs7b+XZnlZZjMTk2L+qYiHMr/AA+fdHF+G30OH9nbTF8YKGsXgYJGf9Yyl28oR/7W3bg9vpXy/Ls8x/KD+WWOxWwzYJ4BPc49K2PEnjHVfFKWceo3bTW9lGIIIyAqqOmSo4ycda9w/Z5+DtpNaWvizVWjupX/AHljbZDLEM/fcD+Prx/D/vfd+JlGWfV6WGw6soJLm6+f/AR9zTlHh3D1cViZXlUd1Hpr2/VnO/BP4X+G/EFrd3HiG+ha9d5LWLSnk8uWFujM2cEtzwBwPrwvEfEz4Z6h8N9a8mfdcadMSbW8A4cZPDccMB+fX6e+/Gv4IReMreTWNHjWLXY1y0eQq3YA4BPQOAOD7AHjGPnnVvH3iO98Nt4X1S5kltoZgSlymZoyp+4WPIwex54644rbNsJQwNL6tWpWa+Ga6+phk2MxOPrvFUavMn8UH0XRr+tepzNFNXtRXwV2fowq/wAX1paRf4vrS0yQoooRHlkCRq0kjMFVEUszMTgADHOT6Cnq9EKUlFXbshjfXAr6M+BfwNWBrbxF4khVrjiSy0+TB8rusjj+/wCi/wAP1+7wOh/s6+M9ctUuTb2umxsMhL6Yq+OxwqtjPoSDVvWPhv8AE3wDdJrUdxc3ksKhTdaddPOwQY2hlYBmHtgjrX2OV4OrgZLFYnDSklt5edj4fNsdSzCH1PC4qMG9/PyufTPinwDofjSx+z6vp8N0B9yTBEkeeu1xyM4HSuB0/wCCNx4Z0vVtO0rWJPskpW7sGmGJrO6X7rKw4KkYBBA4GOdxrB+G/wC0Dql9Yk63prajBDgTXmlrulhGQA0sPXB5JZMgegr2bQfFGk+KtPW80q/hvYGH3oXBK5GcEdVOD0PIr9LoSwGY2rU1aVvRn5dXjj8uvh6j91P1X/AOL+FHxYj8ZJLpOqotj4msS0d1a54YqdrMnPOD1Hb8jXXeL/CWneNdFm0zUot8Mg+RwBvjbBAZT2IzXgf7RfhO78J+KrLxlpDvbPcOqyyRE5jnUfKw9mUYIxj5ec7q9D8GfGqC6+Gf/CS+IEFk0DtAwjwftLqBzGPc547EHsM1x4bHR56mX4/eK3ezj3OzEZfLkpZhgNpPZbxl2X6Hj1x8M9W+C3iS28SahLFcaPp92nlm3n8ue4U5wAuP++hnoG7c1x3xF+Imo/EbXDe3p8q3jyltaq2UiX09yccnvj0ApfiL8RdU+JGvfbLrdHArEWlkhLLEPQDHLHue/wBMCum8IaP4W8A6o8PxC0y7bU90TwW7KJbdYmH32VT8xByCORwNo61+e1HHEzlhcFLkoX1b2v8A1sj9HpqWEhDGY+PPiLaJb2/rdk/7OWm+GdQ8XOdXcSapH81hbzAeWSMksOeXGOB+Pb5dc+NL/wCBvxS1ewkhZvD13cfaPskabVWNzlXjHqo+XA4O0jtkfQWk+GvDF5YWs9hpWmTWnyzW7w28e0YwVZcDqOCMVx3x2+FU/wAQNGt59O8oapYlmjVxjzlPVN3Y8DGf0r7T+ya+CwEXhWnODumlv3v30Pif7WoY7MJPFxapzXK038PZrtqehaJrVl4j02C/0+4S6tJ13JIh4I/xyD1ryr43fBNPGUMms6PHHDrka/NGMKt0oHQ9g4A4J+h9R4p8Mfidqvwn1yazu0nk0xpCl3YOMPEw43KCOGGOnQ9PQj6/0XWrLxHpcGoafcLdWc670kQnB9vqPT2rtwmKwvEGGdCurTW67eaOHF4TFcO4qNehK8X8MujXZnwBcQyWc0sE6NDNExSSOQYZWBIII7EHsR2NFfX3xI+Buh+PdUTUJJ5NKvcbZZrcL++HbcD3Hr6euBgr4LEcK4uFWUaaTXRtn6Fh+LsBOlGVa6l1Vmz5AX+L60tIv8X1ppY/Qd6+NSb2PuG7asfXrfw/+Fs918L9W8XQJcSawhL6Wtq5V08pvmfH8RJDDaR0Xjk1x/iL4b6r4T8K6brGqlLSTUJCkWnyAiZVAJDN6HGOOoyPUgfTv7P15BffCjR1Qj90JY3Udm8xs5x69fxFfa5DlftMZKliY2fLdfPZnwfEObcmCjVwsrx57P5br0Z5F8Lf2i9R03Vvsviq7a8064YAXRQB7cnoflHKn6cdelfTsFxDeQpLE6TRSKGWRCCGBGQQe/FeBfHL4F/amufEfh23IuOZLuxiX/WdzIgH8R7jv9eG5D4J/GmTwTcR6NrEjS6HI22OQ5LWjHuP9j1HbOa+nweY4jKcR9RzF3i/hkfKYzLcPm2H+v5YrSXxQ/yPR/i98Orjw9dP458Jj7DqVl++vIYwAk8fV2K98DkjuB64zw32OT4gRt4v8AyvpniiAr/aelW8gQuSf9YmTggnJweDz/ECG+nUmi1CzV4pElilTKuh3KwI4Ir5G8Ha9p/wr+MGsSXEksWnWr3VsqwqXMg3fIh56cDk9x1q83o0sLWpzvanUevSz/mXbzMsoq1sVQqQSvUpq668y6xfdduqOlvvi5qt54TudF+IXh28itL5HhivxbNDKZFxhjE+BkHDBhjOBgV4Z5ztCsbSMY1O5ULEgHGCcepwOnoK6n4jfEXUfiPrhvLomK2jJS1s1b5YVz+rHHJPp6AV6J8Of2abrXrKPUfElxNpkMnKWMAAmweQXJBC/wC7jPTkcivj60MTnOJ9jhm5qOnM9Hbz/Q+3w0sLkWF9vikoSnryrXXyX59Divgfo8GtfFLQoZwHjjkafa3cojMvHswU/hXs/wAf/g/c+Kl/4SHSA02oW8IjmswMmaNSSCn+2Nx47jpz10tL/Z9sfCniXTNc8P6hcJPaTZeC7IdJEIKuOACDtJx16CvXVAOc/SvtssyLkwM8HjI6t3uvw+4+GzXP/aZhTxuCeiVrP8V8z5B+DXxmuvh7qA0zUTJNoMr4dcEtasTyyj0z1Ue5HOQ31vY39vqlpFdWs0d1byKHjljYMrKRkEHuCK8O+OXwNOsLceIPD0H/ABMB+8urONcef6sg/v8At3+vXzj4M/GW4+Hl4NP1FpJ9Bkf505LWzHGWUenOSo+vXg8WDxtbI6/1LHO9N/DI7MdgqGe0fr+AVqi+KPf+vxOx/ak8Cw2v2TxRaxiN5XFrd7R944JRzjvwVyfVa5L4AfEJfBWtX0Op6oLTRHt2lMDqX3TArt2Ad8bug5wOtex/tC6xZzfCOeSOVZVvpLcW0iEEN8yyZB/3VJr5GXDcdfwFeHnlZZZmyxOG3aue9kND+1colhsTsnbzsrP8Duvij8Vr/wCJGrByWtNKhJ+zWjEf99vg4LEH6DJA7klcP+NFfH18ficRUlVnN3Z9th8BhcNSjShBWXlcbuC5JOOp5r3/APZ9+Fmmyy2viDWp7W4vG3PYaeJFPl7Wx5rDPLA9P7vBPzcLpfA74DmzaHxD4ltz9rBD2mnyrjye4eQH+PphT93g/e+7xHxk8I6/8PfHsnia2nkW3vLoz219AuDDIf8Alm3bgcc8MAfcV9bg8tqZXTjmOJp8yvt2XdnxeOzWGb1Z5bhavLpv/M+y/wAz6Z8Y+C9N8baDPpepQ+bC4yjDhomxgMp7Efl1HTivD/Aeo3vwD8aTeHvELbdB1F99tqG0+WH4AcnsD8oYZ4+U9MmvR/g38XIfiTpkkNwq2+s2aL9phUfK4OQJFOehweDyPpgnq/GngzTPHOhzabqcPmxPykg+/E2DhlPY8/5FfoE6NPHxhj8E/fWz7+TPzunVqZfKeAxkbwe67Po1/WpsxslxGjo4ZG+YMpBHP9K8A+OfwNN01x4j8N25Nzkvd2ES/wCs6kvGP72TyB16jnO7n5PGXjL9nvVBo98F1rReTatcZVWQdkfnaemVIOOMdQT0M37WVoLMmPw/M91jIVrgCPP+9gn9K8rG5hl2OovDY73Jro1qn5dz18DluZ4GtHFZf78H1T0a7NGP8A/iRJ4V03WLDxBeeRptnb/araO4JWT7xDLGD1GcDHqeOpx4nrmqS65rF/qEwCzXlxJOyL2LMTjr2J9ea6L4ifEjVPiPqMc97HBDDDkW9vEuFQE5JLdSeB7cdq7Lwz8LfEPgTS7HxvPpEepyW26Y6PMCJIkK/LKePvDrtxkD36fFVPa5lGOFpNypU/tW6en5H3NKNLK5SxldKNWrtC+l10v59XsdL8Kf2c4r7RpdQ8VwPHLdwlYLLdhoAQP3j8ff9ug75PC4eua945+CHjOKW+1K61rSZcLF9rlZop41GMc5COABkgcnnkZr134Q/Gaz+I9n9nnWOy1qMZkt1b5ZB/fj55HPTqD9QT2fizwnp/jTRLjTNTgE1tKOOxVuzKccEV91RyvD1cFGWWztKOz7vzPgq2aYinjpxzSHNGW67L+7/WpF4N8aab450WHU9MmEkMnDocB42HVXHYj/AD78N4w+Ndv4D+Iy6PqKeZpctrHIbiMbnt5CzA5UdVwFPAyM988ee+Hml/Zv8Qa8urC5vLK+gVtOkjQiO4dSeG/uPhh26Z9hXi/iDXrvxRrd5ql+4a6un8x9vQZAAA9goAHsK83MeIK2Fw8ItWrX1Xkv8z08s4do4zE1JJ3oW0fr+qPvPRte0/xBZrd6fewXts3SSFww+nBrx34vfBfwxfXj+IZ9XTw5n5rpmUMkxwTkDIw5PpnPpk5r5ks7y4sZDJbXE1vJjG+Fypx6ZBpby8uNQk33M8tw/TdM5c/TJNeTiuJ6GMoeyr0Lv10/zPYwnCmIwOI9rh8TZemv+R0PjDx1f+JtO0XSJZY20/R4fs8BhDIsuPlWQqeh2qOvTn1xXLqu2gdaXPNfC169TEz9pUd2foGGw9PC01SpKyFooornOk+qvg58d18aTNpWtiCz1csTC0eVjuBnO0An7wHbPIGfXHq+taLZ+I9LuNPv7dLmzuF2yRuMhh/n+lfn9FJJDIskbtHIjbldTggg5BB9RivqP4I/HBPE0UWia7IsesqNsVwx2rdKP/ZwPTrj8v1fIc/ji19TxvxdH38n5n49xBw7LBv65gV7vVdvNeRwvjrTvFHwOsJdO0WUR6JeXYuItUjiHngjGIZW/Dv94cdMrXrnwe+MNp8RNNW2uSltrkC/vrcZAkUcb09vbPGfoT3msaNZ+ItMuLHULdLm0nTa8Ug4IP8AntXzTq3wnf4N+I18UzXq3Gg2FzHLbwpcNHdzZJHl4AAOM5PPzKGBABNelWo4rKcQq1B3odU/srueZRrYTNsM6GIXLiFqpL7T7M90+J03hm38LTT+KIIbnTomDpFIuWeQfdCD1PT6Zzxmvi7xDqVvq+tXd3ZWEWnWs0m6K0tx8kS8AADHoO3rxW58RPiNqXxG1hru9Yw2sZK21mrfJCvH5tjqT/Liun+BY8GaXqQ1fxLqUUV/HOIbK0ljYohwP3zYGO+ATgLtJz02/I5jjKefYyNClaMP5nZfP/JH2WW4KfD2Cliaycpv7K1S/rqyz4b+GuvfDixsfHF/oUOqxwq8r6bKSJbYYykzDpkEZIIO0c9fu3dB/aC8b+I/EltY2Vnp1y10+yOzMZQHAyRuLccA/wCFfUi4mhHIZW/EYr50+KnwcPg/xBa+LfDyvDp0FzHc3dvbplrXa4LSRr3XA+72x6fd+ixWV4jLaUHgJvkXxJb+b/4B8xhc1w+ZVaizCmnUafK3ey7K36nkPibWryx8fX2pW1i3hm/iufMFpC3NvJgBucc7jk9MEMeoPP0/8HfjFbfEKy+yXZS31y3UGWHOBKvA3p7eo7E/TPG/Ei38FfGG3LaRrllF4lt4t0TSFohMME7G3DkDnkZK8+4ryrwf8PdZ1DwzJ4s8O3ryX+mXJV7O3T98gAzvQ5+fgj5ccjI5+6fIw08XleOk6D9pTlrpbbr80eziI4LNsBFV17KrC0db/LV9H5n174r8K6d400W40zU4BNbTDGOAynsynsQa+S/HXwP1zwPDqd/I8E+j2rr5d00gV5gzYHy+oJAP6V778O/jJb698PZ9e1sJp5sWMNxKP9XK4VTuj7kNuHHrkc9/nb4pfFS/+JGsbtzW2k27f6PZ56dt7+rH9OnqT6XEVfLcRhYV5K82tOj+fkefw1RzOhip0KbtCL96+q+XmcRRSClr8nP2AKKKKACiiigBF/i+tOjkkgkSSJ2jkU7ldSQQQcgg+oPpTV/i+tLTTcXdCaUtGfUvwv8AjQjfDe61bxNOqyafN9k81SN902xWUBePnIbtxwT0zXgfxH+JGpfEbWmvLsmK0jyLazUkrEv9Txya5QZYhQCSTgAcnJ4Ax656fWvo/wCD/wCzzbDTW1PxZaLPcXEZWHT36QKR95v9v/0H69PuaOIzDP6cMHD4YrV9/X/I/P62Fy7h2c8bU1lJ+6u3p+rOS8Dfs06x4kso77V7xdEgkUMlv5fmTsvJywyNhxzjk+oB4rodZ/ZNljtXk0rXvMmVcrHeQbVY+m5Tx+RrD8bad4w+BviC1vtP1a9v9CUiO2NxKzxhR/yxkUnHTgEAd8YPT334c/EbTfiJoq3dm3l3KYFzau3zwvjp9Djg9/zA97AZbldSUsHWpONRd3q/NM+ex+aZtTjHG0qqlSl2Wi8mmeSfDX4iav8AC/VovCfjiOS2tDlbK9lyyRj03Dgx9Of4O/H3foXieLsyMPqCCK57x14F07x9oc2najErK3zRS7RvhkAwHU+oz+RIPBrxT4XfFK6+HOvS+CfFch+y2kv2e3u3JxD/AHQc/wDLMgjB7ZA6dPep1XlE44fESvTl8Mn08n+jPn6lJZvCWJw8bVFrKK6+a/VFD45/Av8AsRrjxB4eg3ad/rLqzjHMHJJdR/c65H8P0+7pfs5XMPg/wX4j8RatcfY9KkkREaQEb9gOSox82S4UYzkjFe7694i07w9o9zqOozJDZRJueRjx7DHckkcD1r4h8W+Iota1O9XTIJNO0R7gzwaf5hKI2MbtucAn0HTOOnX5zNIYXJcWsbR3afu+b6+h9NlMsXnuDeBrfCmve8l09STx54oi8VeJdRvLC1Ol6fcTeatojHazYx5jLnG9h1wO/wCJ57FApa/NK1adecqk92fqeHw8MNTjSp7IQDFLRRXOdIgGKMUtFABRRRQAi/xfWlpF/i+tLQBpeF/EE/hTXrTVre3t7q4tWLRx3S7kzgjOBjkZyPevpz4M/HKLxu50vWFhs9aG4xCLKx3Cjn5QTwwHYnnGRx0+UaWGSS3mjmhkaKWNg6OhIZWByCD2wQOh7V9BlWc18sqLl1h1X9dT5vN8kw+awbkrT6M/QDWtFs/EWl3Gn39ulzZ3ClXjkGQR2/HOPpivlTxZ4R179n/xdFq+jzSS6XJJtinblWU4zDMP6+wIweB6p8EfjbH4vji0XWZRFrUa4jkOAt0o5z7OAOR3wSO4X1bWtFsvEWmXFhfW0d1aXClHjk6H/Dp+GK/Va9GhnlCOJw0rTWz6p9mfkdGtiMixEsLiY3g/ij0a7owPh38RtM+IugLeWh2XC/Lc2jH54Wx09wexHX8wPnH9pmCBPidI0SjdJZxNKOxfLDn/AICq/pXS2fhU/AH4mQajd3s6+GLqOWNLlIy+flyIZcdCCMgjrgf7WPI/HHiqbxt4p1HWJlMf2mT5Iz/AgGEB98AdPevk87zGc8vjh8SrVVLX5dfmfXZBlsI5jLEYZ3ouOnz+z8i/4++JWq+PpLVLkpbafaoFhsrcFY1IGMnnk9foMe+eS20ooOa/P6+IqYmTqVZXZ+k4fD0sLTVKjGyQtFFFcx0iAYpaQUtADQKOhpea2fDXho+IJmDTyQpuZVEMDTyOwRnICjnAVD05yVGDk42pUpVpKENzCtXhh4e0qPQx6K0vEGhyeHb7yJJPNQ7wGZSrArI0bKwGcENG44JBxkHFFOdGVOXLNaodOtTrQVSEtGZmOTz3NO20UVgbBto20UUALE8tpNFPFI0UsbhkkjJDKwOQQRyCMZz7V9efBX4lXvi7wXdXWqJvu9MPlyzJ/wAtgE3BscYbHUDjPpnAKK+14Ur1I4vkjLRptr5HwfGFClLBKrKPvKSSZ86fE74l6j8StZNzNm306LJtbMNwg6bm9WP/ANb1zxgU0UV8vja1SviZzqu7Z9Zl9Gnh8LCFKNlYXbRtooriPQDbRtoooANtG2iigA21f0nWp9IWaNUWSOTOBuKlG2shZSOhw7DnPGD1AwUV0UJShVTiznr041Ycs1dDNY1SXWL3zWjitkXcI4bdcJGCxdgoPqzE/U9gAAUUVjXlKVRyk9S6NOFOCjFaI//Z">
            <a:extLst>
              <a:ext uri="{FF2B5EF4-FFF2-40B4-BE49-F238E27FC236}">
                <a16:creationId xmlns:a16="http://schemas.microsoft.com/office/drawing/2014/main" id="{4D1FDE43-E8FF-45A7-8412-22F0C4A3F6D8}"/>
              </a:ext>
            </a:extLst>
          </p:cNvPr>
          <p:cNvSpPr>
            <a:spLocks noChangeAspect="1" noChangeArrowheads="1"/>
          </p:cNvSpPr>
          <p:nvPr/>
        </p:nvSpPr>
        <p:spPr bwMode="auto">
          <a:xfrm>
            <a:off x="7855575" y="3341828"/>
            <a:ext cx="1045783" cy="104578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63"/>
            <a:endParaRPr lang="en-US" dirty="0">
              <a:solidFill>
                <a:srgbClr val="1A1A1A"/>
              </a:solidFill>
              <a:latin typeface="Segoe UI"/>
            </a:endParaRPr>
          </a:p>
        </p:txBody>
      </p:sp>
      <p:graphicFrame>
        <p:nvGraphicFramePr>
          <p:cNvPr id="6" name="Diagram 5">
            <a:extLst>
              <a:ext uri="{FF2B5EF4-FFF2-40B4-BE49-F238E27FC236}">
                <a16:creationId xmlns:a16="http://schemas.microsoft.com/office/drawing/2014/main" id="{183EB1D9-D11D-4DAF-85B8-7B6309827E1C}"/>
              </a:ext>
            </a:extLst>
          </p:cNvPr>
          <p:cNvGraphicFramePr/>
          <p:nvPr>
            <p:extLst>
              <p:ext uri="{D42A27DB-BD31-4B8C-83A1-F6EECF244321}">
                <p14:modId xmlns:p14="http://schemas.microsoft.com/office/powerpoint/2010/main" val="2467067023"/>
              </p:ext>
            </p:extLst>
          </p:nvPr>
        </p:nvGraphicFramePr>
        <p:xfrm>
          <a:off x="413294" y="4134190"/>
          <a:ext cx="8239602" cy="241409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7" name="Picture 2" descr="Story logo">
            <a:extLst>
              <a:ext uri="{FF2B5EF4-FFF2-40B4-BE49-F238E27FC236}">
                <a16:creationId xmlns:a16="http://schemas.microsoft.com/office/drawing/2014/main" id="{28EE9FBF-C174-41BD-90BF-5CD6330F842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591903" y="1111552"/>
            <a:ext cx="1754667" cy="81661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Story logo">
            <a:extLst>
              <a:ext uri="{FF2B5EF4-FFF2-40B4-BE49-F238E27FC236}">
                <a16:creationId xmlns:a16="http://schemas.microsoft.com/office/drawing/2014/main" id="{D9D2D2E1-EBD0-4C61-BC6A-E85FC3255D42}"/>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977866" y="1142011"/>
            <a:ext cx="1748631" cy="58287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6" descr="Story logo">
            <a:extLst>
              <a:ext uri="{FF2B5EF4-FFF2-40B4-BE49-F238E27FC236}">
                <a16:creationId xmlns:a16="http://schemas.microsoft.com/office/drawing/2014/main" id="{C7C617C0-627D-4CFD-ABA4-5DAA39BD9106}"/>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336371" y="2092635"/>
            <a:ext cx="2633050" cy="437127"/>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8" descr="Story logo">
            <a:extLst>
              <a:ext uri="{FF2B5EF4-FFF2-40B4-BE49-F238E27FC236}">
                <a16:creationId xmlns:a16="http://schemas.microsoft.com/office/drawing/2014/main" id="{C0C3B990-BD93-475C-995A-772A1A420D50}"/>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093420" y="1776632"/>
            <a:ext cx="1715990" cy="1033884"/>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tory logo">
            <a:extLst>
              <a:ext uri="{FF2B5EF4-FFF2-40B4-BE49-F238E27FC236}">
                <a16:creationId xmlns:a16="http://schemas.microsoft.com/office/drawing/2014/main" id="{DE356F06-68FC-4E1A-8EC9-5879C64DD1F6}"/>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0201143" y="2696200"/>
            <a:ext cx="1302076" cy="7812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922892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nodePh="1">
                                  <p:stCondLst>
                                    <p:cond delay="0"/>
                                  </p:stCondLst>
                                  <p:endCondLst>
                                    <p:cond evt="begin" delay="0">
                                      <p:tn val="7"/>
                                    </p:cond>
                                  </p:end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Graphic spid="6" grpId="0">
        <p:bldAsOne/>
      </p:bldGraphic>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nvPr>
        </p:nvGraphicFramePr>
        <p:xfrm>
          <a:off x="865" y="1181055"/>
          <a:ext cx="12190271" cy="4977840"/>
        </p:xfrm>
        <a:graphic>
          <a:graphicData uri="http://schemas.openxmlformats.org/drawingml/2006/table">
            <a:tbl>
              <a:tblPr firstRow="1" firstCol="1" bandRow="1">
                <a:tableStyleId>{69012ECD-51FC-41F1-AA8D-1B2483CD663E}</a:tableStyleId>
              </a:tblPr>
              <a:tblGrid>
                <a:gridCol w="2007044">
                  <a:extLst>
                    <a:ext uri="{9D8B030D-6E8A-4147-A177-3AD203B41FA5}">
                      <a16:colId xmlns:a16="http://schemas.microsoft.com/office/drawing/2014/main" val="2186728381"/>
                    </a:ext>
                  </a:extLst>
                </a:gridCol>
                <a:gridCol w="7711145">
                  <a:extLst>
                    <a:ext uri="{9D8B030D-6E8A-4147-A177-3AD203B41FA5}">
                      <a16:colId xmlns:a16="http://schemas.microsoft.com/office/drawing/2014/main" val="20000"/>
                    </a:ext>
                  </a:extLst>
                </a:gridCol>
                <a:gridCol w="1236041">
                  <a:extLst>
                    <a:ext uri="{9D8B030D-6E8A-4147-A177-3AD203B41FA5}">
                      <a16:colId xmlns:a16="http://schemas.microsoft.com/office/drawing/2014/main" val="20005"/>
                    </a:ext>
                  </a:extLst>
                </a:gridCol>
                <a:gridCol w="1236041">
                  <a:extLst>
                    <a:ext uri="{9D8B030D-6E8A-4147-A177-3AD203B41FA5}">
                      <a16:colId xmlns:a16="http://schemas.microsoft.com/office/drawing/2014/main" val="20003"/>
                    </a:ext>
                  </a:extLst>
                </a:gridCol>
              </a:tblGrid>
              <a:tr h="284659">
                <a:tc>
                  <a:txBody>
                    <a:bodyPr/>
                    <a:lstStyle/>
                    <a:p>
                      <a:pPr marL="0" marR="0">
                        <a:lnSpc>
                          <a:spcPct val="107000"/>
                        </a:lnSpc>
                        <a:spcBef>
                          <a:spcPts val="0"/>
                        </a:spcBef>
                        <a:spcAft>
                          <a:spcPts val="0"/>
                        </a:spcAft>
                        <a:tabLst>
                          <a:tab pos="182880" algn="l"/>
                        </a:tabLst>
                      </a:pPr>
                      <a:endParaRPr lang="en-US" sz="1200" dirty="0">
                        <a:solidFill>
                          <a:srgbClr val="A80000"/>
                        </a:solidFill>
                        <a:effectLst/>
                        <a:latin typeface="Segoe UI Semibold" panose="020B0702040204020203" pitchFamily="34" charset="0"/>
                        <a:ea typeface="Segoe UI Black" panose="020B0A02040204020203" pitchFamily="34" charset="0"/>
                        <a:cs typeface="Segoe UI Semibold" panose="020B0702040204020203" pitchFamily="34" charset="0"/>
                      </a:endParaRPr>
                    </a:p>
                  </a:txBody>
                  <a:tcPr marL="65237" marR="33266" marT="26800" marB="26800" anchor="ctr">
                    <a:lnL w="9525" cap="flat" cmpd="sng" algn="ctr">
                      <a:noFill/>
                      <a:prstDash val="solid"/>
                    </a:lnL>
                    <a:lnR w="6350" cap="flat" cmpd="sng" algn="ctr">
                      <a:noFill/>
                      <a:prstDash val="lgDash"/>
                      <a:round/>
                      <a:headEnd type="none" w="med" len="med"/>
                      <a:tailEnd type="none" w="med" len="med"/>
                    </a:lnR>
                    <a:lnT w="9525" cap="flat" cmpd="sng" algn="ctr">
                      <a:noFill/>
                      <a:prstDash val="soli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a:lnSpc>
                          <a:spcPct val="107000"/>
                        </a:lnSpc>
                        <a:spcBef>
                          <a:spcPts val="0"/>
                        </a:spcBef>
                        <a:spcAft>
                          <a:spcPts val="0"/>
                        </a:spcAft>
                        <a:tabLst>
                          <a:tab pos="182880" algn="l"/>
                        </a:tabLst>
                      </a:pPr>
                      <a:endParaRPr lang="en-US" sz="1200" dirty="0">
                        <a:solidFill>
                          <a:srgbClr val="A80000"/>
                        </a:solidFill>
                        <a:effectLst/>
                        <a:latin typeface="Segoe UI Semibold" panose="020B0702040204020203" pitchFamily="34" charset="0"/>
                        <a:ea typeface="Segoe UI Black" panose="020B0A02040204020203" pitchFamily="34" charset="0"/>
                        <a:cs typeface="Segoe UI Semibold" panose="020B0702040204020203" pitchFamily="34" charset="0"/>
                      </a:endParaRPr>
                    </a:p>
                  </a:txBody>
                  <a:tcPr marL="0" marR="0" marT="0" marB="0" anchor="ctr">
                    <a:lnL w="6350" cap="flat" cmpd="sng" algn="ctr">
                      <a:noFill/>
                      <a:prstDash val="lgDash"/>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algn="ctr">
                        <a:lnSpc>
                          <a:spcPct val="107000"/>
                        </a:lnSpc>
                        <a:spcBef>
                          <a:spcPts val="0"/>
                        </a:spcBef>
                        <a:spcAft>
                          <a:spcPts val="0"/>
                        </a:spcAft>
                        <a:tabLst>
                          <a:tab pos="182880" algn="l"/>
                        </a:tabLst>
                      </a:pPr>
                      <a:r>
                        <a:rPr lang="en-US" sz="1000" b="1" kern="0" spc="49" dirty="0">
                          <a:solidFill>
                            <a:schemeClr val="bg1"/>
                          </a:solidFill>
                          <a:latin typeface="Segoe UI Semibold" charset="0"/>
                          <a:ea typeface="Segoe UI Black" panose="020B0A02040204020203" pitchFamily="34" charset="0"/>
                          <a:cs typeface="Segoe UI Semibold" charset="0"/>
                        </a:rPr>
                        <a:t>Windows</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algn="ctr">
                        <a:lnSpc>
                          <a:spcPct val="107000"/>
                        </a:lnSpc>
                        <a:spcBef>
                          <a:spcPts val="0"/>
                        </a:spcBef>
                        <a:spcAft>
                          <a:spcPts val="0"/>
                        </a:spcAft>
                        <a:tabLst>
                          <a:tab pos="182880" algn="l"/>
                        </a:tabLst>
                      </a:pPr>
                      <a:r>
                        <a:rPr lang="en-US" sz="1000" b="1" kern="0" spc="49" noProof="0" dirty="0">
                          <a:solidFill>
                            <a:schemeClr val="bg1"/>
                          </a:solidFill>
                          <a:latin typeface="Segoe UI Semibold" charset="0"/>
                          <a:ea typeface="Segoe UI" pitchFamily="34" charset="0"/>
                          <a:cs typeface="Segoe UI Semibold" charset="0"/>
                        </a:rPr>
                        <a:t>Linux </a:t>
                      </a:r>
                      <a:endParaRPr lang="en-US" sz="1000" b="1" kern="0" spc="49" dirty="0">
                        <a:solidFill>
                          <a:schemeClr val="bg1"/>
                        </a:solidFill>
                        <a:latin typeface="Segoe UI Semibold" charset="0"/>
                        <a:ea typeface="Calibri" panose="020F0502020204030204" pitchFamily="34" charset="0"/>
                        <a:cs typeface="Segoe UI Semibold" charset="0"/>
                      </a:endParaRPr>
                    </a:p>
                  </a:txBody>
                  <a:tcPr marL="0" marR="0" marT="0"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210449">
                <a:tc>
                  <a:txBody>
                    <a:bodyPr/>
                    <a:lstStyle/>
                    <a:p>
                      <a:pPr defTabSz="912720">
                        <a:defRPr/>
                      </a:pPr>
                      <a:r>
                        <a:rPr lang="en-US" sz="1000" b="1" kern="0" spc="49" dirty="0">
                          <a:solidFill>
                            <a:srgbClr val="0078D7"/>
                          </a:solidFill>
                          <a:latin typeface="Segoe UI Semibold" charset="0"/>
                          <a:ea typeface="Segoe UI Semilight" charset="0"/>
                          <a:cs typeface="Segoe UI Semibold" charset="0"/>
                        </a:rPr>
                        <a:t>Editions</a:t>
                      </a:r>
                    </a:p>
                  </a:txBody>
                  <a:tcPr marL="96805"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r>
                        <a:rPr lang="en-US" sz="900" b="0" i="0" kern="1200" spc="50" baseline="0" noProof="0" dirty="0">
                          <a:solidFill>
                            <a:schemeClr val="tx1"/>
                          </a:solidFill>
                          <a:effectLst/>
                          <a:latin typeface="Segoe UI Semilight" charset="0"/>
                          <a:ea typeface="Segoe UI Semilight" charset="0"/>
                          <a:cs typeface="Segoe UI Semilight" charset="0"/>
                        </a:rPr>
                        <a:t>Developer, Express, Web, Standard, Enterprise</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89913643"/>
                  </a:ext>
                </a:extLst>
              </a:tr>
              <a:tr h="210449">
                <a:tc rowSpan="2">
                  <a:txBody>
                    <a:bodyPr/>
                    <a:lstStyle/>
                    <a:p>
                      <a:pPr defTabSz="912720">
                        <a:defRPr/>
                      </a:pPr>
                      <a:r>
                        <a:rPr lang="en-US" sz="1000" b="1" kern="0" spc="49" dirty="0">
                          <a:solidFill>
                            <a:srgbClr val="0078D7"/>
                          </a:solidFill>
                          <a:latin typeface="Segoe UI Semibold" charset="0"/>
                          <a:ea typeface="Segoe UI Semilight" charset="0"/>
                          <a:cs typeface="Segoe UI Semibold" charset="0"/>
                        </a:rPr>
                        <a:t>Services</a:t>
                      </a:r>
                    </a:p>
                  </a:txBody>
                  <a:tcPr marL="96805"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r>
                        <a:rPr lang="en-US" sz="900" b="0" i="0" kern="1200" spc="50" baseline="0" noProof="0" dirty="0">
                          <a:solidFill>
                            <a:schemeClr val="tx1"/>
                          </a:solidFill>
                          <a:effectLst/>
                          <a:latin typeface="Segoe UI Semilight" charset="0"/>
                          <a:ea typeface="Segoe UI Semilight" charset="0"/>
                          <a:cs typeface="Segoe UI Semilight" charset="0"/>
                        </a:rPr>
                        <a:t>Database Engine, Integration Services, SQL Server Agent</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78117040"/>
                  </a:ext>
                </a:extLst>
              </a:tr>
              <a:tr h="210449">
                <a:tc vMerge="1">
                  <a:txBody>
                    <a:bodyPr/>
                    <a:lstStyle/>
                    <a:p>
                      <a:pPr defTabSz="912720">
                        <a:defRPr/>
                      </a:pPr>
                      <a:endParaRPr lang="en-US" sz="1400" b="0" kern="0" spc="-29">
                        <a:ln>
                          <a:solidFill>
                            <a:srgbClr val="FFFFFF">
                              <a:alpha val="0"/>
                            </a:srgbClr>
                          </a:solidFill>
                        </a:ln>
                        <a:solidFill>
                          <a:schemeClr val="tx1"/>
                        </a:solidFill>
                        <a:latin typeface="Segoe UI Semibold" panose="020B0702040204020203" pitchFamily="34" charset="0"/>
                        <a:ea typeface="Segoe UI" panose="020B0502040204020203" pitchFamily="34" charset="0"/>
                        <a:cs typeface="Segoe UI Semibold" panose="020B0702040204020203" pitchFamily="34" charset="0"/>
                      </a:endParaRPr>
                    </a:p>
                  </a:txBody>
                  <a:tcPr marL="109728" marR="0" marT="0" marB="0" anchor="ctr">
                    <a:lnL w="6350" cap="flat" cmpd="sng" algn="ctr">
                      <a:no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r>
                        <a:rPr lang="en-US" sz="900" b="0" i="0" kern="1200" spc="50" baseline="0" noProof="0" dirty="0">
                          <a:solidFill>
                            <a:schemeClr val="tx1"/>
                          </a:solidFill>
                          <a:effectLst/>
                          <a:latin typeface="Segoe UI Semilight" charset="0"/>
                          <a:ea typeface="Segoe UI Semilight" charset="0"/>
                          <a:cs typeface="Segoe UI Semilight" charset="0"/>
                        </a:rPr>
                        <a:t>Analysis Services, Reporting Services, MDS, DQS</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754353"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7000"/>
                        </a:lnSpc>
                        <a:spcBef>
                          <a:spcPts val="0"/>
                        </a:spcBef>
                        <a:spcAft>
                          <a:spcPts val="0"/>
                        </a:spcAft>
                        <a:tabLst>
                          <a:tab pos="182880" algn="l"/>
                        </a:tabLst>
                      </a:pPr>
                      <a:endParaRPr lang="en-US" sz="700" dirty="0">
                        <a:solidFill>
                          <a:schemeClr val="tx2"/>
                        </a:solidFill>
                        <a:effectLst/>
                        <a:latin typeface="+mn-lt"/>
                        <a:ea typeface="Calibri" panose="020F0502020204030204" pitchFamily="34" charset="0"/>
                        <a:cs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49470941"/>
                  </a:ext>
                </a:extLst>
              </a:tr>
              <a:tr h="210449">
                <a:tc rowSpan="8">
                  <a:txBody>
                    <a:bodyPr/>
                    <a:lstStyle/>
                    <a:p>
                      <a:pPr defTabSz="912720">
                        <a:defRPr/>
                      </a:pPr>
                      <a:r>
                        <a:rPr lang="en-US" sz="1000" b="1" kern="0" spc="49" dirty="0">
                          <a:solidFill>
                            <a:srgbClr val="0078D7"/>
                          </a:solidFill>
                          <a:latin typeface="Segoe UI Semibold" charset="0"/>
                          <a:ea typeface="Segoe UI Semilight" charset="0"/>
                          <a:cs typeface="Segoe UI Semibold" charset="0"/>
                        </a:rPr>
                        <a:t>Mission critical performance and HADR</a:t>
                      </a:r>
                    </a:p>
                  </a:txBody>
                  <a:tcPr marL="96805"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r>
                        <a:rPr lang="en-US" sz="900" b="0" i="0" kern="1200" spc="50" baseline="0" dirty="0">
                          <a:solidFill>
                            <a:schemeClr val="tx1"/>
                          </a:solidFill>
                          <a:effectLst/>
                          <a:latin typeface="Segoe UI Semilight" charset="0"/>
                          <a:ea typeface="Segoe UI Semilight" charset="0"/>
                          <a:cs typeface="Segoe UI Semilight" charset="0"/>
                        </a:rPr>
                        <a:t>Maximum number of cores</a:t>
                      </a:r>
                      <a:endParaRPr kumimoji="0" lang="en-US" sz="900" b="0" i="0" u="none" strike="noStrike" kern="1200" cap="none" spc="50" normalizeH="0" baseline="0" noProof="0" dirty="0">
                        <a:ln>
                          <a:noFill/>
                        </a:ln>
                        <a:solidFill>
                          <a:schemeClr val="tx1"/>
                        </a:solidFill>
                        <a:effectLst/>
                        <a:uLnTx/>
                        <a:uFillTx/>
                        <a:latin typeface="Segoe UI Semilight" charset="0"/>
                        <a:ea typeface="Segoe UI Semilight" charset="0"/>
                        <a:cs typeface="Segoe UI Semilight" charset="0"/>
                      </a:endParaRP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tabLst>
                          <a:tab pos="182880" algn="l"/>
                        </a:tabLst>
                      </a:pPr>
                      <a:r>
                        <a:rPr lang="en-US" sz="900" b="0" i="0" kern="1200" spc="50" baseline="0" dirty="0">
                          <a:solidFill>
                            <a:schemeClr val="tx2"/>
                          </a:solidFill>
                          <a:effectLst/>
                          <a:latin typeface="+mn-lt"/>
                          <a:ea typeface="Calibri" panose="020F0502020204030204" pitchFamily="34" charset="0"/>
                          <a:cs typeface="Segoe UI Semilight" charset="0"/>
                        </a:rPr>
                        <a:t>Unlimited</a:t>
                      </a: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900" b="0" i="0" kern="1200" spc="50" baseline="0" dirty="0">
                          <a:solidFill>
                            <a:schemeClr val="tx2"/>
                          </a:solidFill>
                          <a:effectLst/>
                          <a:latin typeface="+mn-lt"/>
                          <a:ea typeface="Calibri" panose="020F0502020204030204" pitchFamily="34" charset="0"/>
                          <a:cs typeface="Segoe UI Semilight" charset="0"/>
                        </a:rPr>
                        <a:t>Unlimited</a:t>
                      </a: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10449">
                <a:tc vMerge="1">
                  <a:txBody>
                    <a:bodyPr/>
                    <a:lstStyle/>
                    <a:p>
                      <a:pPr marL="0" marR="0" indent="0" algn="l" defTabSz="914400" rtl="0" eaLnBrk="1" fontAlgn="auto" latinLnBrk="0" hangingPunct="1">
                        <a:lnSpc>
                          <a:spcPct val="107000"/>
                        </a:lnSpc>
                        <a:spcBef>
                          <a:spcPts val="0"/>
                        </a:spcBef>
                        <a:spcAft>
                          <a:spcPts val="0"/>
                        </a:spcAft>
                        <a:buClrTx/>
                        <a:buSzTx/>
                        <a:buFontTx/>
                        <a:buNone/>
                        <a:tabLst>
                          <a:tab pos="182880" algn="l"/>
                        </a:tabLst>
                        <a:defRPr/>
                      </a:pPr>
                      <a:endParaRPr lang="en-US" sz="1000" b="0" kern="1200" baseline="0">
                        <a:solidFill>
                          <a:srgbClr val="C00000"/>
                        </a:solidFill>
                        <a:effectLst/>
                        <a:latin typeface="Segoe UI Semibold" panose="020B0702040204020203" pitchFamily="34" charset="0"/>
                        <a:ea typeface="+mn-ea"/>
                        <a:cs typeface="Segoe UI Semibold" panose="020B0702040204020203" pitchFamily="34" charset="0"/>
                      </a:endParaRPr>
                    </a:p>
                  </a:txBody>
                  <a:tcPr marL="89630" marR="0" marT="0" marB="0" anchor="ctr">
                    <a:lnL w="6350" cap="flat" cmpd="sng" algn="ctr">
                      <a:noFill/>
                      <a:prstDash val="solid"/>
                      <a:round/>
                      <a:headEnd type="none" w="med" len="med"/>
                      <a:tailEnd type="none" w="med" len="med"/>
                    </a:lnL>
                    <a:lnR w="6350" cap="flat" cmpd="sng" algn="ctr">
                      <a:solidFill>
                        <a:srgbClr val="0078D7"/>
                      </a:solidFill>
                      <a:prstDash val="lg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7000"/>
                        </a:lnSpc>
                        <a:spcBef>
                          <a:spcPts val="0"/>
                        </a:spcBef>
                        <a:spcAft>
                          <a:spcPts val="0"/>
                        </a:spcAft>
                        <a:buClrTx/>
                        <a:buSzTx/>
                        <a:buFontTx/>
                        <a:buNone/>
                        <a:tabLst>
                          <a:tab pos="182880" algn="l"/>
                        </a:tabLst>
                        <a:defRPr/>
                      </a:pPr>
                      <a:r>
                        <a:rPr lang="en-US" sz="900" b="0" i="0" kern="1200" spc="50" baseline="0" dirty="0">
                          <a:solidFill>
                            <a:schemeClr val="tx1"/>
                          </a:solidFill>
                          <a:effectLst/>
                          <a:latin typeface="Segoe UI Semilight" charset="0"/>
                          <a:ea typeface="Segoe UI Semilight" charset="0"/>
                          <a:cs typeface="Segoe UI Semilight" charset="0"/>
                        </a:rPr>
                        <a:t>Maximum memory utilized per instance</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tabLst>
                          <a:tab pos="182880" algn="l"/>
                        </a:tabLst>
                      </a:pPr>
                      <a:r>
                        <a:rPr lang="en-US" sz="900" b="0" i="0" kern="1200" spc="50" baseline="0" dirty="0">
                          <a:solidFill>
                            <a:schemeClr val="tx2"/>
                          </a:solidFill>
                          <a:effectLst/>
                          <a:latin typeface="+mn-lt"/>
                          <a:ea typeface="Calibri" panose="020F0502020204030204" pitchFamily="34" charset="0"/>
                          <a:cs typeface="Segoe UI Semilight" charset="0"/>
                        </a:rPr>
                        <a:t>24 TB</a:t>
                      </a: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900" b="0" i="0" kern="1200" spc="50" baseline="0" dirty="0">
                          <a:solidFill>
                            <a:schemeClr val="tx2"/>
                          </a:solidFill>
                          <a:effectLst/>
                          <a:latin typeface="+mn-lt"/>
                          <a:ea typeface="Calibri" panose="020F0502020204030204" pitchFamily="34" charset="0"/>
                          <a:cs typeface="Segoe UI Semilight" charset="0"/>
                        </a:rPr>
                        <a:t>12 TB</a:t>
                      </a: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10449">
                <a:tc vMerge="1">
                  <a:txBody>
                    <a:bodyPr/>
                    <a:lstStyle/>
                    <a:p>
                      <a:pPr marL="0" marR="0" indent="0" algn="l" defTabSz="914400" rtl="0" eaLnBrk="1" fontAlgn="auto" latinLnBrk="0" hangingPunct="1">
                        <a:lnSpc>
                          <a:spcPct val="107000"/>
                        </a:lnSpc>
                        <a:spcBef>
                          <a:spcPts val="0"/>
                        </a:spcBef>
                        <a:spcAft>
                          <a:spcPts val="0"/>
                        </a:spcAft>
                        <a:buClrTx/>
                        <a:buSzTx/>
                        <a:buFontTx/>
                        <a:buNone/>
                        <a:tabLst>
                          <a:tab pos="182880" algn="l"/>
                        </a:tabLst>
                        <a:defRPr/>
                      </a:pPr>
                      <a:endParaRPr lang="en-US" sz="1000" b="0" kern="1200" baseline="0">
                        <a:solidFill>
                          <a:srgbClr val="C00000"/>
                        </a:solidFill>
                        <a:effectLst/>
                        <a:latin typeface="Segoe UI Semibold" panose="020B0702040204020203" pitchFamily="34" charset="0"/>
                        <a:ea typeface="+mn-ea"/>
                        <a:cs typeface="Segoe UI Semibold" panose="020B0702040204020203" pitchFamily="34" charset="0"/>
                      </a:endParaRPr>
                    </a:p>
                  </a:txBody>
                  <a:tcPr marL="89630" marR="0" marT="0" marB="0" anchor="ctr">
                    <a:lnL w="6350" cap="flat" cmpd="sng" algn="ctr">
                      <a:noFill/>
                      <a:prstDash val="solid"/>
                      <a:round/>
                      <a:headEnd type="none" w="med" len="med"/>
                      <a:tailEnd type="none" w="med" len="med"/>
                    </a:lnL>
                    <a:lnR w="6350" cap="flat" cmpd="sng" algn="ctr">
                      <a:solidFill>
                        <a:srgbClr val="0078D7"/>
                      </a:solidFill>
                      <a:prstDash val="lg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7000"/>
                        </a:lnSpc>
                        <a:spcBef>
                          <a:spcPts val="0"/>
                        </a:spcBef>
                        <a:spcAft>
                          <a:spcPts val="0"/>
                        </a:spcAft>
                        <a:buClrTx/>
                        <a:buSzTx/>
                        <a:buFontTx/>
                        <a:buNone/>
                        <a:tabLst>
                          <a:tab pos="182880" algn="l"/>
                        </a:tabLst>
                        <a:defRPr/>
                      </a:pPr>
                      <a:r>
                        <a:rPr lang="en-US" sz="900" b="0" i="0" kern="1200" spc="50" baseline="0" dirty="0">
                          <a:solidFill>
                            <a:schemeClr val="tx1"/>
                          </a:solidFill>
                          <a:effectLst/>
                          <a:latin typeface="Segoe UI Semilight" charset="0"/>
                          <a:ea typeface="Segoe UI Semilight" charset="0"/>
                          <a:cs typeface="Segoe UI Semilight" charset="0"/>
                        </a:rPr>
                        <a:t>Maximum database size</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tabLst>
                          <a:tab pos="182880" algn="l"/>
                        </a:tabLst>
                      </a:pPr>
                      <a:r>
                        <a:rPr lang="en-US" sz="900" b="0" i="0" kern="1200" spc="50" baseline="0" dirty="0">
                          <a:solidFill>
                            <a:schemeClr val="tx2"/>
                          </a:solidFill>
                          <a:effectLst/>
                          <a:latin typeface="+mn-lt"/>
                          <a:ea typeface="Calibri" panose="020F0502020204030204" pitchFamily="34" charset="0"/>
                          <a:cs typeface="Segoe UI Semilight" charset="0"/>
                        </a:rPr>
                        <a:t>524 PB</a:t>
                      </a: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900" b="0" i="0" kern="1200" spc="50" baseline="0" dirty="0">
                          <a:solidFill>
                            <a:schemeClr val="tx2"/>
                          </a:solidFill>
                          <a:effectLst/>
                          <a:latin typeface="+mn-lt"/>
                          <a:ea typeface="Calibri" panose="020F0502020204030204" pitchFamily="34" charset="0"/>
                          <a:cs typeface="Segoe UI Semilight" charset="0"/>
                        </a:rPr>
                        <a:t>524 PB</a:t>
                      </a: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10449">
                <a:tc vMerge="1">
                  <a:txBody>
                    <a:bodyPr/>
                    <a:lstStyle/>
                    <a:p>
                      <a:pPr marL="0" marR="0">
                        <a:lnSpc>
                          <a:spcPct val="107000"/>
                        </a:lnSpc>
                        <a:spcBef>
                          <a:spcPts val="0"/>
                        </a:spcBef>
                        <a:spcAft>
                          <a:spcPts val="0"/>
                        </a:spcAft>
                        <a:tabLst>
                          <a:tab pos="182880" algn="l"/>
                        </a:tabLst>
                      </a:pPr>
                      <a:endParaRPr lang="en-US" sz="1000" b="0" kern="1200" baseline="0">
                        <a:solidFill>
                          <a:schemeClr val="tx1"/>
                        </a:solidFill>
                        <a:effectLst/>
                        <a:latin typeface="Segoe UI Semibold" panose="020B0702040204020203" pitchFamily="34" charset="0"/>
                        <a:ea typeface="+mn-ea"/>
                        <a:cs typeface="Segoe UI Semibold" panose="020B0702040204020203" pitchFamily="34" charset="0"/>
                      </a:endParaRPr>
                    </a:p>
                  </a:txBody>
                  <a:tcPr marL="89630" marR="0" marT="0" marB="0" anchor="ctr">
                    <a:lnL w="6350" cap="flat" cmpd="sng" algn="ctr">
                      <a:noFill/>
                      <a:prstDash val="solid"/>
                      <a:round/>
                      <a:headEnd type="none" w="med" len="med"/>
                      <a:tailEnd type="none" w="med" len="med"/>
                    </a:lnL>
                    <a:lnR w="6350" cap="flat" cmpd="sng" algn="ctr">
                      <a:solidFill>
                        <a:srgbClr val="0078D7"/>
                      </a:solidFill>
                      <a:prstDash val="lg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nSpc>
                          <a:spcPct val="107000"/>
                        </a:lnSpc>
                        <a:spcBef>
                          <a:spcPts val="0"/>
                        </a:spcBef>
                        <a:spcAft>
                          <a:spcPts val="0"/>
                        </a:spcAft>
                        <a:tabLst>
                          <a:tab pos="182880" algn="l"/>
                        </a:tabLst>
                      </a:pPr>
                      <a:r>
                        <a:rPr lang="en-US" sz="900" b="0" i="0" kern="1200" spc="50" baseline="0" dirty="0">
                          <a:solidFill>
                            <a:schemeClr val="tx1"/>
                          </a:solidFill>
                          <a:effectLst/>
                          <a:latin typeface="Segoe UI Semilight" charset="0"/>
                          <a:ea typeface="Segoe UI Semilight" charset="0"/>
                          <a:cs typeface="Segoe UI Semilight" charset="0"/>
                        </a:rPr>
                        <a:t>Basic OLTP (Basic In-Memory OLTP, Basic operational analytics)</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10449">
                <a:tc vMerge="1">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endParaRPr lang="en-US" sz="1000" b="0" i="1" kern="1200">
                        <a:solidFill>
                          <a:schemeClr val="accent6">
                            <a:lumMod val="75000"/>
                          </a:schemeClr>
                        </a:solidFill>
                        <a:effectLst/>
                        <a:latin typeface="Segoe UI Semibold" panose="020B0702040204020203" pitchFamily="34" charset="0"/>
                        <a:ea typeface="+mn-ea"/>
                        <a:cs typeface="Segoe UI Semibold" panose="020B0702040204020203" pitchFamily="34" charset="0"/>
                      </a:endParaRPr>
                    </a:p>
                  </a:txBody>
                  <a:tcPr marL="89630" marR="0" marT="0" marB="0" anchor="ctr">
                    <a:lnL w="6350" cap="flat" cmpd="sng" algn="ctr">
                      <a:noFill/>
                      <a:prstDash val="solid"/>
                      <a:round/>
                      <a:headEnd type="none" w="med" len="med"/>
                      <a:tailEnd type="none" w="med" len="med"/>
                    </a:lnL>
                    <a:lnR w="6350" cap="flat" cmpd="sng" algn="ctr">
                      <a:solidFill>
                        <a:srgbClr val="0078D7"/>
                      </a:solidFill>
                      <a:prstDash val="lg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r>
                        <a:rPr lang="en-US" sz="900" b="0" i="0" kern="1200" spc="50" baseline="0" dirty="0">
                          <a:solidFill>
                            <a:schemeClr val="tx1"/>
                          </a:solidFill>
                          <a:effectLst/>
                          <a:latin typeface="Segoe UI Semilight" charset="0"/>
                          <a:ea typeface="Segoe UI Semilight" charset="0"/>
                          <a:cs typeface="Segoe UI Semilight" charset="0"/>
                        </a:rPr>
                        <a:t>Advanced OLTP (Advanced In-Memory OLTP, Advanced operational analytics, adaptive query processing)</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210449">
                <a:tc vMerge="1">
                  <a:txBody>
                    <a:bodyPr/>
                    <a:lstStyle/>
                    <a:p>
                      <a:endParaRPr lang="en-US"/>
                    </a:p>
                  </a:txBody>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r>
                        <a:rPr lang="en-US" sz="900" b="0" i="0" kern="1200" spc="50" baseline="0" dirty="0">
                          <a:solidFill>
                            <a:schemeClr val="tx1"/>
                          </a:solidFill>
                          <a:effectLst/>
                          <a:latin typeface="Segoe UI Semilight" charset="0"/>
                          <a:ea typeface="Segoe UI Semilight" charset="0"/>
                          <a:cs typeface="Segoe UI Semilight" charset="0"/>
                        </a:rPr>
                        <a:t>SQL Server Replication</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800" dirty="0">
                          <a:solidFill>
                            <a:schemeClr val="accent2">
                              <a:lumMod val="75000"/>
                              <a:lumOff val="25000"/>
                            </a:schemeClr>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800" dirty="0">
                        <a:solidFill>
                          <a:schemeClr val="accent2">
                            <a:lumMod val="75000"/>
                            <a:lumOff val="25000"/>
                          </a:schemeClr>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45007911"/>
                  </a:ext>
                </a:extLst>
              </a:tr>
              <a:tr h="210449">
                <a:tc vMerge="1">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endParaRPr kumimoji="0" lang="en-US" sz="1400" b="0" i="0" u="none" strike="noStrike" kern="1200" cap="none" spc="0" normalizeH="0" baseline="0" noProof="0">
                        <a:ln>
                          <a:noFill/>
                        </a:ln>
                        <a:solidFill>
                          <a:srgbClr val="0078D7"/>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a:txBody>
                  <a:tcPr marL="89630" marR="0" marT="0" marB="0" anchor="ctr">
                    <a:lnL w="6350" cap="flat" cmpd="sng" algn="ctr">
                      <a:noFill/>
                      <a:prstDash val="solid"/>
                      <a:round/>
                      <a:headEnd type="none" w="med" len="med"/>
                      <a:tailEnd type="none" w="med" len="med"/>
                    </a:lnL>
                    <a:lnR w="6350" cap="flat" cmpd="sng" algn="ctr">
                      <a:solidFill>
                        <a:srgbClr val="0078D7"/>
                      </a:solidFill>
                      <a:prstDash val="lg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900" b="0" i="0" kern="1200" spc="50" baseline="0" noProof="0" dirty="0">
                          <a:solidFill>
                            <a:schemeClr val="tx1"/>
                          </a:solidFill>
                          <a:effectLst/>
                          <a:latin typeface="Segoe UI Semilight" charset="0"/>
                          <a:ea typeface="Segoe UI Semilight" charset="0"/>
                          <a:cs typeface="Segoe UI Semilight" charset="0"/>
                        </a:rPr>
                        <a:t>Basic high availability (2-node single database failover, non-readable secondary)</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210449">
                <a:tc vMerge="1">
                  <a:txBody>
                    <a:bodyPr/>
                    <a:lstStyle/>
                    <a:p>
                      <a:pPr marL="0" marR="0">
                        <a:lnSpc>
                          <a:spcPct val="107000"/>
                        </a:lnSpc>
                        <a:spcBef>
                          <a:spcPts val="0"/>
                        </a:spcBef>
                        <a:spcAft>
                          <a:spcPts val="0"/>
                        </a:spcAft>
                        <a:tabLst>
                          <a:tab pos="182880" algn="l"/>
                        </a:tabLst>
                      </a:pPr>
                      <a:endParaRPr lang="en-US" sz="1000" b="0">
                        <a:effectLst/>
                        <a:latin typeface="Segoe UI Semibold" panose="020B0702040204020203" pitchFamily="34" charset="0"/>
                        <a:ea typeface="Calibri" panose="020F0502020204030204" pitchFamily="34" charset="0"/>
                        <a:cs typeface="Segoe UI Semibold" panose="020B0702040204020203" pitchFamily="34" charset="0"/>
                      </a:endParaRPr>
                    </a:p>
                  </a:txBody>
                  <a:tcPr marL="89630" marR="0" marT="0" marB="0" anchor="ctr">
                    <a:lnL w="6350" cap="flat" cmpd="sng" algn="ctr">
                      <a:noFill/>
                      <a:prstDash val="solid"/>
                      <a:round/>
                      <a:headEnd type="none" w="med" len="med"/>
                      <a:tailEnd type="none" w="med" len="med"/>
                    </a:lnL>
                    <a:lnR w="6350" cap="flat" cmpd="sng" algn="ctr">
                      <a:solidFill>
                        <a:srgbClr val="0078D7"/>
                      </a:solidFill>
                      <a:prstDash val="lgDash"/>
                      <a:round/>
                      <a:headEnd type="none" w="med" len="med"/>
                      <a:tailEnd type="none" w="med" len="med"/>
                    </a:lnR>
                    <a:lnT w="12700" cap="flat" cmpd="sng" algn="ctr">
                      <a:solidFill>
                        <a:schemeClr val="tx2"/>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nSpc>
                          <a:spcPct val="107000"/>
                        </a:lnSpc>
                        <a:spcBef>
                          <a:spcPts val="0"/>
                        </a:spcBef>
                        <a:spcAft>
                          <a:spcPts val="0"/>
                        </a:spcAft>
                        <a:tabLst>
                          <a:tab pos="182880" algn="l"/>
                        </a:tabLst>
                      </a:pPr>
                      <a:r>
                        <a:rPr lang="en-US" sz="900" b="0" i="0" spc="50" dirty="0">
                          <a:solidFill>
                            <a:schemeClr val="tx1"/>
                          </a:solidFill>
                          <a:effectLst/>
                          <a:latin typeface="Segoe UI Semilight" charset="0"/>
                          <a:ea typeface="Segoe UI Semilight" charset="0"/>
                          <a:cs typeface="Segoe UI Semilight" charset="0"/>
                        </a:rPr>
                        <a:t>Advanced HA </a:t>
                      </a:r>
                      <a:r>
                        <a:rPr lang="en-US" sz="900" b="0" i="0" spc="50" baseline="0" dirty="0">
                          <a:solidFill>
                            <a:schemeClr val="tx1"/>
                          </a:solidFill>
                          <a:effectLst/>
                          <a:latin typeface="Segoe UI Semilight" charset="0"/>
                          <a:ea typeface="Segoe UI Semilight" charset="0"/>
                          <a:cs typeface="Segoe UI Semilight" charset="0"/>
                        </a:rPr>
                        <a:t>(Always On - multi-node, multi-db failover, readable secondaries)</a:t>
                      </a:r>
                      <a:endParaRPr lang="en-US" sz="900" b="0" i="0" spc="50" dirty="0">
                        <a:solidFill>
                          <a:schemeClr val="tx1"/>
                        </a:solidFill>
                        <a:effectLst/>
                        <a:latin typeface="Segoe UI Semilight" charset="0"/>
                        <a:ea typeface="Segoe UI Semilight" charset="0"/>
                        <a:cs typeface="Segoe UI Semilight" charset="0"/>
                      </a:endParaRP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7"/>
                  </a:ext>
                </a:extLst>
              </a:tr>
              <a:tr h="210449">
                <a:tc rowSpan="2">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1000" b="1" kern="0" spc="49" dirty="0">
                          <a:solidFill>
                            <a:srgbClr val="0078D7"/>
                          </a:solidFill>
                          <a:latin typeface="Segoe UI Semibold" charset="0"/>
                          <a:ea typeface="Segoe UI Semilight" charset="0"/>
                          <a:cs typeface="Segoe UI Semibold" charset="0"/>
                        </a:rPr>
                        <a:t>Security</a:t>
                      </a:r>
                    </a:p>
                  </a:txBody>
                  <a:tcPr marL="96805"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900" b="0" i="0" kern="1200" spc="50" baseline="0" dirty="0">
                          <a:solidFill>
                            <a:schemeClr val="tx1"/>
                          </a:solidFill>
                          <a:effectLst/>
                          <a:latin typeface="Segoe UI Semilight" charset="0"/>
                          <a:ea typeface="Segoe UI Semilight" charset="0"/>
                          <a:cs typeface="Segoe UI Semilight" charset="0"/>
                        </a:rPr>
                        <a:t>Basic security (Basic auditing, Row-level security, Data masking, Always Encrypted, Active Directory Authentication)</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9"/>
                  </a:ext>
                </a:extLst>
              </a:tr>
              <a:tr h="210449">
                <a:tc vMerge="1">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endParaRPr lang="en-US" sz="1000" b="0" kern="1200">
                        <a:solidFill>
                          <a:schemeClr val="tx1"/>
                        </a:solidFill>
                        <a:effectLst/>
                        <a:latin typeface="Segoe UI Semibold" panose="020B0702040204020203" pitchFamily="34" charset="0"/>
                        <a:ea typeface="+mn-ea"/>
                        <a:cs typeface="Segoe UI Semibold" panose="020B0702040204020203" pitchFamily="34" charset="0"/>
                      </a:endParaRPr>
                    </a:p>
                  </a:txBody>
                  <a:tcPr marL="89630" marR="0" marT="0" marB="0"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r>
                        <a:rPr lang="en-US" sz="900" b="0" i="0" kern="1200" spc="50" dirty="0">
                          <a:solidFill>
                            <a:schemeClr val="tx1"/>
                          </a:solidFill>
                          <a:effectLst/>
                          <a:latin typeface="Segoe UI Semilight" charset="0"/>
                          <a:ea typeface="Segoe UI Semilight" charset="0"/>
                          <a:cs typeface="Segoe UI Semilight" charset="0"/>
                        </a:rPr>
                        <a:t>Advanced security (Transparent Data Encryption)</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20"/>
                  </a:ext>
                </a:extLst>
              </a:tr>
              <a:tr h="210449">
                <a:tc rowSpan="4">
                  <a:txBody>
                    <a:bodyPr/>
                    <a:lstStyle/>
                    <a:p>
                      <a:pPr marL="0" marR="0" indent="0" algn="l" defTabSz="914400" rtl="0" eaLnBrk="1" fontAlgn="auto" latinLnBrk="0" hangingPunct="1">
                        <a:lnSpc>
                          <a:spcPct val="107000"/>
                        </a:lnSpc>
                        <a:spcBef>
                          <a:spcPts val="0"/>
                        </a:spcBef>
                        <a:spcAft>
                          <a:spcPts val="0"/>
                        </a:spcAft>
                        <a:buClrTx/>
                        <a:buSzTx/>
                        <a:buFontTx/>
                        <a:buNone/>
                        <a:tabLst>
                          <a:tab pos="182880" algn="l"/>
                        </a:tabLst>
                        <a:defRPr/>
                      </a:pPr>
                      <a:r>
                        <a:rPr lang="en-US" sz="1000" b="1" kern="0" spc="49" dirty="0">
                          <a:solidFill>
                            <a:srgbClr val="0078D7"/>
                          </a:solidFill>
                          <a:latin typeface="Segoe UI Semibold" charset="0"/>
                          <a:ea typeface="Segoe UI Semilight" charset="0"/>
                          <a:cs typeface="Segoe UI Semibold" charset="0"/>
                        </a:rPr>
                        <a:t>Data warehousing</a:t>
                      </a:r>
                    </a:p>
                  </a:txBody>
                  <a:tcPr marL="96805"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900" b="0" i="0" spc="50" baseline="0" dirty="0">
                          <a:solidFill>
                            <a:schemeClr val="tx1"/>
                          </a:solidFill>
                          <a:effectLst/>
                          <a:latin typeface="Segoe UI Semilight" charset="0"/>
                          <a:ea typeface="Segoe UI Semilight" charset="0"/>
                          <a:cs typeface="Segoe UI Semilight" charset="0"/>
                        </a:rPr>
                        <a:t>PolyBase</a:t>
                      </a:r>
                      <a:endParaRPr kumimoji="0" lang="en-US" sz="900" b="0" i="0" u="none" strike="noStrike" kern="1200" cap="none" spc="50" normalizeH="0" baseline="30000" noProof="0" dirty="0">
                        <a:ln>
                          <a:noFill/>
                        </a:ln>
                        <a:solidFill>
                          <a:schemeClr val="tx1"/>
                        </a:solidFill>
                        <a:effectLst/>
                        <a:uLnTx/>
                        <a:uFillTx/>
                        <a:latin typeface="Segoe UI Semilight" charset="0"/>
                        <a:ea typeface="Segoe UI Semilight" charset="0"/>
                        <a:cs typeface="Segoe UI Semilight" charset="0"/>
                      </a:endParaRP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800" dirty="0">
                          <a:solidFill>
                            <a:schemeClr val="accent2">
                              <a:lumMod val="75000"/>
                              <a:lumOff val="25000"/>
                            </a:schemeClr>
                          </a:solidFill>
                          <a:effectLst/>
                          <a:latin typeface="+mn-lt"/>
                          <a:ea typeface="Calibri" panose="020F0502020204030204" pitchFamily="34" charset="0"/>
                          <a:cs typeface="Times New Roman" panose="02020603050405020304" pitchFamily="18" charset="0"/>
                          <a:sym typeface="Wingdings 2" panose="05020102010507070707" pitchFamily="18" charset="2"/>
                        </a:rPr>
                        <a:t>Planned</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21"/>
                  </a:ext>
                </a:extLst>
              </a:tr>
              <a:tr h="210449">
                <a:tc vMerge="1">
                  <a:txBody>
                    <a:bodyPr/>
                    <a:lstStyle/>
                    <a:p>
                      <a:endParaRPr lang="en-US"/>
                    </a:p>
                  </a:txBody>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r>
                        <a:rPr lang="en-US" sz="900" b="0" i="0" spc="50" dirty="0">
                          <a:solidFill>
                            <a:schemeClr val="tx1"/>
                          </a:solidFill>
                          <a:effectLst/>
                          <a:latin typeface="Segoe UI Semilight" charset="0"/>
                          <a:ea typeface="Segoe UI Semilight" charset="0"/>
                          <a:cs typeface="Segoe UI Semilight" charset="0"/>
                        </a:rPr>
                        <a:t>Basic data</a:t>
                      </a:r>
                      <a:r>
                        <a:rPr lang="en-US" sz="900" b="0" i="0" spc="50" baseline="0" dirty="0">
                          <a:solidFill>
                            <a:schemeClr val="tx1"/>
                          </a:solidFill>
                          <a:effectLst/>
                          <a:latin typeface="Segoe UI Semilight" charset="0"/>
                          <a:ea typeface="Segoe UI Semilight" charset="0"/>
                          <a:cs typeface="Segoe UI Semilight" charset="0"/>
                        </a:rPr>
                        <a:t> warehousing/data marts (Basic I</a:t>
                      </a:r>
                      <a:r>
                        <a:rPr lang="en-US" sz="900" b="0" i="0" spc="50" dirty="0">
                          <a:solidFill>
                            <a:schemeClr val="tx1"/>
                          </a:solidFill>
                          <a:effectLst/>
                          <a:latin typeface="Segoe UI Semilight" charset="0"/>
                          <a:ea typeface="Segoe UI Semilight" charset="0"/>
                          <a:cs typeface="Segoe UI Semilight" charset="0"/>
                        </a:rPr>
                        <a:t>n-Memory ColumnStore, Partitioning, Compression)</a:t>
                      </a:r>
                      <a:endParaRPr lang="en-US" sz="900" b="0" i="0" kern="1200" spc="50" dirty="0">
                        <a:solidFill>
                          <a:schemeClr val="tx1"/>
                        </a:solidFill>
                        <a:effectLst/>
                        <a:latin typeface="Segoe UI Semilight" charset="0"/>
                        <a:ea typeface="Segoe UI Semilight" charset="0"/>
                        <a:cs typeface="Segoe UI Semilight" charset="0"/>
                      </a:endParaRP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5"/>
                  </a:ext>
                </a:extLst>
              </a:tr>
              <a:tr h="210449">
                <a:tc vMerge="1">
                  <a:txBody>
                    <a:bodyPr/>
                    <a:lstStyle/>
                    <a:p>
                      <a:endParaRPr lang="en-US"/>
                    </a:p>
                  </a:txBody>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r>
                        <a:rPr lang="en-US" sz="900" b="0" i="0" spc="50" dirty="0">
                          <a:solidFill>
                            <a:schemeClr val="tx1"/>
                          </a:solidFill>
                          <a:effectLst/>
                          <a:latin typeface="Segoe UI Semilight" charset="0"/>
                          <a:ea typeface="Segoe UI Semilight" charset="0"/>
                          <a:cs typeface="Segoe UI Semilight" charset="0"/>
                        </a:rPr>
                        <a:t>Advanced data</a:t>
                      </a:r>
                      <a:r>
                        <a:rPr lang="en-US" sz="900" b="0" i="0" spc="50" baseline="0" dirty="0">
                          <a:solidFill>
                            <a:schemeClr val="tx1"/>
                          </a:solidFill>
                          <a:effectLst/>
                          <a:latin typeface="Segoe UI Semilight" charset="0"/>
                          <a:ea typeface="Segoe UI Semilight" charset="0"/>
                          <a:cs typeface="Segoe UI Semilight" charset="0"/>
                        </a:rPr>
                        <a:t> warehousing (Advanced I</a:t>
                      </a:r>
                      <a:r>
                        <a:rPr lang="en-US" sz="900" b="0" i="0" spc="50" dirty="0">
                          <a:solidFill>
                            <a:schemeClr val="tx1"/>
                          </a:solidFill>
                          <a:effectLst/>
                          <a:latin typeface="Segoe UI Semilight" charset="0"/>
                          <a:ea typeface="Segoe UI Semilight" charset="0"/>
                          <a:cs typeface="Segoe UI Semilight" charset="0"/>
                        </a:rPr>
                        <a:t>n-Memory ColumnStore)</a:t>
                      </a:r>
                      <a:endParaRPr lang="en-US" sz="900" b="0" i="0" kern="1200" spc="50" dirty="0">
                        <a:solidFill>
                          <a:schemeClr val="tx1"/>
                        </a:solidFill>
                        <a:effectLst/>
                        <a:latin typeface="Segoe UI Semilight" charset="0"/>
                        <a:ea typeface="Segoe UI Semilight" charset="0"/>
                        <a:cs typeface="Segoe UI Semilight" charset="0"/>
                      </a:endParaRP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25"/>
                  </a:ext>
                </a:extLst>
              </a:tr>
              <a:tr h="210449">
                <a:tc vMerge="1">
                  <a:txBody>
                    <a:bodyPr/>
                    <a:lstStyle/>
                    <a:p>
                      <a:endParaRPr lang="en-US"/>
                    </a:p>
                  </a:txBody>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r>
                        <a:rPr lang="en-US" sz="900" b="0" i="0" kern="1200" spc="50" dirty="0">
                          <a:solidFill>
                            <a:schemeClr val="tx1"/>
                          </a:solidFill>
                          <a:effectLst/>
                          <a:latin typeface="Segoe UI Semilight" charset="0"/>
                          <a:ea typeface="Segoe UI Semilight" charset="0"/>
                          <a:cs typeface="Segoe UI Semilight" charset="0"/>
                        </a:rPr>
                        <a:t>Advanced</a:t>
                      </a:r>
                      <a:r>
                        <a:rPr lang="en-US" sz="900" b="0" i="0" kern="1200" spc="50" baseline="0" dirty="0">
                          <a:solidFill>
                            <a:schemeClr val="tx1"/>
                          </a:solidFill>
                          <a:effectLst/>
                          <a:latin typeface="Segoe UI Semilight" charset="0"/>
                          <a:ea typeface="Segoe UI Semilight" charset="0"/>
                          <a:cs typeface="Segoe UI Semilight" charset="0"/>
                        </a:rPr>
                        <a:t> data integration (Fuzzy grouping and look ups)</a:t>
                      </a:r>
                      <a:endParaRPr lang="en-US" sz="900" b="0" i="0" kern="1200" spc="50" dirty="0">
                        <a:solidFill>
                          <a:schemeClr val="tx1"/>
                        </a:solidFill>
                        <a:effectLst/>
                        <a:latin typeface="Segoe UI Semilight" charset="0"/>
                        <a:ea typeface="Segoe UI Semilight" charset="0"/>
                        <a:cs typeface="Segoe UI Semilight" charset="0"/>
                      </a:endParaRPr>
                    </a:p>
                  </a:txBody>
                  <a:tcPr marL="65237" marR="0" marT="18285" marB="18285" anchor="ctr">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26"/>
                  </a:ext>
                </a:extLst>
              </a:tr>
              <a:tr h="210449">
                <a:tc rowSpan="2">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1000" b="1" kern="0" spc="49" dirty="0">
                          <a:solidFill>
                            <a:srgbClr val="0078D7"/>
                          </a:solidFill>
                          <a:latin typeface="Segoe UI Semibold" charset="0"/>
                          <a:ea typeface="Segoe UI Semilight" charset="0"/>
                          <a:cs typeface="Segoe UI Semibold" charset="0"/>
                        </a:rPr>
                        <a:t>Tools</a:t>
                      </a:r>
                    </a:p>
                  </a:txBody>
                  <a:tcPr marL="96805"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900" b="0" i="0" kern="1200" spc="50" noProof="0" dirty="0">
                          <a:solidFill>
                            <a:schemeClr val="tx1"/>
                          </a:solidFill>
                          <a:effectLst/>
                          <a:latin typeface="Segoe UI Semilight" charset="0"/>
                          <a:ea typeface="Segoe UI Semilight" charset="0"/>
                          <a:cs typeface="Segoe UI Semilight" charset="0"/>
                        </a:rPr>
                        <a:t>Windows ecosystem: Full-fidelity Management</a:t>
                      </a:r>
                      <a:r>
                        <a:rPr lang="en-US" sz="900" b="0" i="0" kern="1200" spc="50" baseline="0" noProof="0" dirty="0">
                          <a:solidFill>
                            <a:schemeClr val="tx1"/>
                          </a:solidFill>
                          <a:effectLst/>
                          <a:latin typeface="Segoe UI Semilight" charset="0"/>
                          <a:ea typeface="Segoe UI Semilight" charset="0"/>
                          <a:cs typeface="Segoe UI Semilight" charset="0"/>
                        </a:rPr>
                        <a:t> &amp; Dev Tool (</a:t>
                      </a:r>
                      <a:r>
                        <a:rPr lang="en-US" sz="900" b="0" i="0" kern="1200" spc="50" noProof="0" dirty="0">
                          <a:solidFill>
                            <a:schemeClr val="tx1"/>
                          </a:solidFill>
                          <a:effectLst/>
                          <a:latin typeface="Segoe UI Semilight" charset="0"/>
                          <a:ea typeface="Segoe UI Semilight" charset="0"/>
                          <a:cs typeface="Segoe UI Semilight" charset="0"/>
                        </a:rPr>
                        <a:t>SSMS &amp; SSDT), command line tools</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19507567"/>
                  </a:ext>
                </a:extLst>
              </a:tr>
              <a:tr h="210449">
                <a:tc vMerge="1">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endParaRPr lang="en-US" sz="1400" b="0" kern="0" spc="-29">
                        <a:solidFill>
                          <a:schemeClr val="accent1"/>
                        </a:solidFill>
                        <a:latin typeface="Segoe UI Semibold" panose="020B0702040204020203" pitchFamily="34" charset="0"/>
                        <a:cs typeface="Segoe UI Semibold" panose="020B0702040204020203" pitchFamily="34" charset="0"/>
                      </a:endParaRPr>
                    </a:p>
                  </a:txBody>
                  <a:tcPr marL="109728"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900" b="0" i="0" kern="1200" spc="50" noProof="0" dirty="0">
                          <a:solidFill>
                            <a:schemeClr val="tx1"/>
                          </a:solidFill>
                          <a:effectLst/>
                          <a:latin typeface="Segoe UI Semilight" charset="0"/>
                          <a:ea typeface="Segoe UI Semilight" charset="0"/>
                          <a:cs typeface="Segoe UI Semilight" charset="0"/>
                        </a:rPr>
                        <a:t>Linux/OSX/Windows ecosystem: Dev tools (VS Code), </a:t>
                      </a:r>
                      <a:r>
                        <a:rPr lang="en-US" sz="900" b="0" i="0" kern="1200" spc="50" baseline="0" noProof="0" dirty="0">
                          <a:solidFill>
                            <a:schemeClr val="tx1"/>
                          </a:solidFill>
                          <a:effectLst/>
                          <a:latin typeface="Segoe UI Semilight" charset="0"/>
                          <a:ea typeface="Segoe UI Semilight" charset="0"/>
                          <a:cs typeface="Segoe UI Semilight" charset="0"/>
                        </a:rPr>
                        <a:t>DB Admin GUI tool, command line tools</a:t>
                      </a:r>
                      <a:endParaRPr lang="en-US" sz="900" b="0" i="0" kern="1200" spc="50" noProof="0" dirty="0">
                        <a:solidFill>
                          <a:schemeClr val="tx1"/>
                        </a:solidFill>
                        <a:effectLst/>
                        <a:latin typeface="Segoe UI Semilight" charset="0"/>
                        <a:ea typeface="Segoe UI Semilight" charset="0"/>
                        <a:cs typeface="Segoe UI Semilight" charset="0"/>
                      </a:endParaRP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87295766"/>
                  </a:ext>
                </a:extLst>
              </a:tr>
              <a:tr h="273752">
                <a:tc rowSpan="2">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1000" b="1" kern="0" spc="49" dirty="0">
                          <a:solidFill>
                            <a:srgbClr val="0078D7"/>
                          </a:solidFill>
                          <a:latin typeface="Segoe UI Semibold" charset="0"/>
                          <a:ea typeface="Segoe UI Semilight" charset="0"/>
                          <a:cs typeface="Segoe UI Semibold" charset="0"/>
                        </a:rPr>
                        <a:t>Developer</a:t>
                      </a:r>
                    </a:p>
                  </a:txBody>
                  <a:tcPr marL="96805"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900" b="0" i="0" spc="50" dirty="0">
                          <a:solidFill>
                            <a:schemeClr val="tx1"/>
                          </a:solidFill>
                          <a:effectLst/>
                          <a:latin typeface="Segoe UI Semilight" charset="0"/>
                          <a:ea typeface="Segoe UI Semilight" charset="0"/>
                          <a:cs typeface="Segoe UI Semilight" charset="0"/>
                        </a:rPr>
                        <a:t>Programmability (T-SQL, CLR, Data Types, JSON, Graph)</a:t>
                      </a:r>
                      <a:endParaRPr kumimoji="0" lang="en-US" sz="900" b="0" i="0" u="none" strike="noStrike" kern="1200" cap="none" spc="50" normalizeH="0" baseline="0" noProof="0" dirty="0">
                        <a:ln>
                          <a:noFill/>
                        </a:ln>
                        <a:solidFill>
                          <a:schemeClr val="tx1"/>
                        </a:solidFill>
                        <a:effectLst/>
                        <a:uLnTx/>
                        <a:uFillTx/>
                        <a:latin typeface="Segoe UI Semilight" charset="0"/>
                        <a:ea typeface="Segoe UI Semilight" charset="0"/>
                        <a:cs typeface="Segoe UI Semilight" charset="0"/>
                      </a:endParaRP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12430361"/>
                  </a:ext>
                </a:extLst>
              </a:tr>
              <a:tr h="210449">
                <a:tc vMerge="1">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endParaRPr lang="en-US" sz="1400" b="0" kern="0" spc="-29">
                        <a:solidFill>
                          <a:srgbClr val="FF8C00"/>
                        </a:solidFill>
                        <a:latin typeface="Segoe UI Semibold" panose="020B0702040204020203" pitchFamily="34" charset="0"/>
                        <a:cs typeface="Segoe UI Semibold" panose="020B0702040204020203" pitchFamily="34" charset="0"/>
                      </a:endParaRPr>
                    </a:p>
                  </a:txBody>
                  <a:tcPr marL="109728" marR="0" marT="0" marB="0" anchor="ctr">
                    <a:lnL w="6350" cap="flat" cmpd="sng" algn="ctr">
                      <a:no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900" b="0" i="0" kern="1200" spc="50" noProof="0" dirty="0">
                          <a:solidFill>
                            <a:schemeClr val="tx1"/>
                          </a:solidFill>
                          <a:effectLst/>
                          <a:latin typeface="Segoe UI Semilight" charset="0"/>
                          <a:ea typeface="Segoe UI Semilight" charset="0"/>
                          <a:cs typeface="Segoe UI Semilight" charset="0"/>
                        </a:rPr>
                        <a:t>Distributed Transactions</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800" dirty="0">
                          <a:solidFill>
                            <a:schemeClr val="accent2">
                              <a:lumMod val="75000"/>
                              <a:lumOff val="25000"/>
                            </a:schemeClr>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72092743"/>
                  </a:ext>
                </a:extLst>
              </a:tr>
              <a:tr h="210449">
                <a:tc>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endParaRPr lang="en-US" sz="1000" b="1" kern="0" spc="49" dirty="0">
                        <a:solidFill>
                          <a:srgbClr val="0078D7"/>
                        </a:solidFill>
                        <a:latin typeface="Segoe UI Semibold" charset="0"/>
                        <a:ea typeface="Segoe UI Semilight" charset="0"/>
                        <a:cs typeface="Segoe UI Semibold" charset="0"/>
                      </a:endParaRPr>
                    </a:p>
                  </a:txBody>
                  <a:tcPr marL="96805"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900" b="0" i="0" kern="1200" spc="50" noProof="0" dirty="0">
                          <a:solidFill>
                            <a:schemeClr val="tx1"/>
                          </a:solidFill>
                          <a:effectLst/>
                          <a:latin typeface="Segoe UI Semilight" charset="0"/>
                          <a:ea typeface="Segoe UI Semilight" charset="0"/>
                          <a:cs typeface="Segoe UI Semilight" charset="0"/>
                        </a:rPr>
                        <a:t>Machine Learning Services</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800" dirty="0">
                          <a:solidFill>
                            <a:schemeClr val="accent2">
                              <a:lumMod val="75000"/>
                              <a:lumOff val="25000"/>
                            </a:schemeClr>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5886272"/>
                  </a:ext>
                </a:extLst>
              </a:tr>
            </a:tbl>
          </a:graphicData>
        </a:graphic>
      </p:graphicFrame>
      <p:sp>
        <p:nvSpPr>
          <p:cNvPr id="2" name="Title 1">
            <a:extLst>
              <a:ext uri="{FF2B5EF4-FFF2-40B4-BE49-F238E27FC236}">
                <a16:creationId xmlns:a16="http://schemas.microsoft.com/office/drawing/2014/main" id="{412A8B19-2812-4A8B-A94A-D7F59B2A3F4B}"/>
              </a:ext>
            </a:extLst>
          </p:cNvPr>
          <p:cNvSpPr>
            <a:spLocks noGrp="1"/>
          </p:cNvSpPr>
          <p:nvPr>
            <p:ph type="title"/>
          </p:nvPr>
        </p:nvSpPr>
        <p:spPr/>
        <p:txBody>
          <a:bodyPr/>
          <a:lstStyle/>
          <a:p>
            <a:r>
              <a:rPr lang="en-US" dirty="0"/>
              <a:t>What’s in SQL Server on Linux</a:t>
            </a:r>
          </a:p>
        </p:txBody>
      </p:sp>
      <p:sp>
        <p:nvSpPr>
          <p:cNvPr id="4" name="TextBox 3">
            <a:extLst>
              <a:ext uri="{FF2B5EF4-FFF2-40B4-BE49-F238E27FC236}">
                <a16:creationId xmlns:a16="http://schemas.microsoft.com/office/drawing/2014/main" id="{4C3DCC03-E37F-4219-94C7-53393CC47B4C}"/>
              </a:ext>
            </a:extLst>
          </p:cNvPr>
          <p:cNvSpPr txBox="1"/>
          <p:nvPr/>
        </p:nvSpPr>
        <p:spPr>
          <a:xfrm>
            <a:off x="11724728" y="3178240"/>
            <a:ext cx="280526" cy="153888"/>
          </a:xfrm>
          <a:prstGeom prst="rect">
            <a:avLst/>
          </a:prstGeom>
          <a:noFill/>
        </p:spPr>
        <p:txBody>
          <a:bodyPr wrap="none" lIns="0" tIns="0" rIns="0" bIns="0" rtlCol="0">
            <a:spAutoFit/>
          </a:bodyPr>
          <a:lstStyle/>
          <a:p>
            <a:pPr defTabSz="914192"/>
            <a:r>
              <a:rPr lang="en-US" sz="1000" dirty="0">
                <a:solidFill>
                  <a:srgbClr val="002050">
                    <a:lumMod val="75000"/>
                    <a:lumOff val="25000"/>
                  </a:srgbClr>
                </a:solidFill>
                <a:latin typeface="Segoe UI"/>
              </a:rPr>
              <a:t>NEW</a:t>
            </a:r>
          </a:p>
        </p:txBody>
      </p:sp>
      <p:sp>
        <p:nvSpPr>
          <p:cNvPr id="6" name="TextBox 5">
            <a:extLst>
              <a:ext uri="{FF2B5EF4-FFF2-40B4-BE49-F238E27FC236}">
                <a16:creationId xmlns:a16="http://schemas.microsoft.com/office/drawing/2014/main" id="{AA890DAB-D4A2-40D9-8BFD-B364CF967E89}"/>
              </a:ext>
            </a:extLst>
          </p:cNvPr>
          <p:cNvSpPr txBox="1"/>
          <p:nvPr/>
        </p:nvSpPr>
        <p:spPr>
          <a:xfrm>
            <a:off x="11724728" y="5771631"/>
            <a:ext cx="280526" cy="153888"/>
          </a:xfrm>
          <a:prstGeom prst="rect">
            <a:avLst/>
          </a:prstGeom>
          <a:noFill/>
        </p:spPr>
        <p:txBody>
          <a:bodyPr wrap="none" lIns="0" tIns="0" rIns="0" bIns="0" rtlCol="0">
            <a:spAutoFit/>
          </a:bodyPr>
          <a:lstStyle/>
          <a:p>
            <a:pPr defTabSz="914192"/>
            <a:r>
              <a:rPr lang="en-US" sz="1000" dirty="0">
                <a:solidFill>
                  <a:srgbClr val="002050">
                    <a:lumMod val="75000"/>
                    <a:lumOff val="25000"/>
                  </a:srgbClr>
                </a:solidFill>
                <a:latin typeface="Segoe UI"/>
              </a:rPr>
              <a:t>NEW</a:t>
            </a:r>
          </a:p>
        </p:txBody>
      </p:sp>
      <p:sp>
        <p:nvSpPr>
          <p:cNvPr id="7" name="TextBox 6">
            <a:extLst>
              <a:ext uri="{FF2B5EF4-FFF2-40B4-BE49-F238E27FC236}">
                <a16:creationId xmlns:a16="http://schemas.microsoft.com/office/drawing/2014/main" id="{CBF430A3-1C24-4226-9AA9-CF3B5478DC00}"/>
              </a:ext>
            </a:extLst>
          </p:cNvPr>
          <p:cNvSpPr txBox="1"/>
          <p:nvPr/>
        </p:nvSpPr>
        <p:spPr>
          <a:xfrm>
            <a:off x="11724728" y="5960216"/>
            <a:ext cx="280526" cy="153888"/>
          </a:xfrm>
          <a:prstGeom prst="rect">
            <a:avLst/>
          </a:prstGeom>
          <a:noFill/>
        </p:spPr>
        <p:txBody>
          <a:bodyPr wrap="none" lIns="0" tIns="0" rIns="0" bIns="0" rtlCol="0">
            <a:spAutoFit/>
          </a:bodyPr>
          <a:lstStyle/>
          <a:p>
            <a:pPr defTabSz="914192"/>
            <a:r>
              <a:rPr lang="en-US" sz="1000" dirty="0">
                <a:solidFill>
                  <a:srgbClr val="002050">
                    <a:lumMod val="75000"/>
                    <a:lumOff val="25000"/>
                  </a:srgbClr>
                </a:solidFill>
                <a:latin typeface="Segoe UI"/>
              </a:rPr>
              <a:t>NEW</a:t>
            </a:r>
          </a:p>
        </p:txBody>
      </p:sp>
    </p:spTree>
    <p:extLst>
      <p:ext uri="{BB962C8B-B14F-4D97-AF65-F5344CB8AC3E}">
        <p14:creationId xmlns:p14="http://schemas.microsoft.com/office/powerpoint/2010/main" val="1394624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L-Shape 1">
            <a:extLst>
              <a:ext uri="{FF2B5EF4-FFF2-40B4-BE49-F238E27FC236}">
                <a16:creationId xmlns:a16="http://schemas.microsoft.com/office/drawing/2014/main" id="{DC05B2F6-A0FF-4260-9CAB-13B16F0BF0B9}"/>
              </a:ext>
            </a:extLst>
          </p:cNvPr>
          <p:cNvSpPr/>
          <p:nvPr/>
        </p:nvSpPr>
        <p:spPr bwMode="auto">
          <a:xfrm>
            <a:off x="7160039" y="3533856"/>
            <a:ext cx="2862946" cy="1227819"/>
          </a:xfrm>
          <a:prstGeom prst="corner">
            <a:avLst>
              <a:gd name="adj1" fmla="val 50222"/>
              <a:gd name="adj2" fmla="val 112053"/>
            </a:avLst>
          </a:prstGeom>
          <a:noFill/>
          <a:ln w="127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Rectangle 7"/>
          <p:cNvSpPr/>
          <p:nvPr/>
        </p:nvSpPr>
        <p:spPr bwMode="auto">
          <a:xfrm>
            <a:off x="1032691" y="3341335"/>
            <a:ext cx="4022812" cy="990945"/>
          </a:xfrm>
          <a:prstGeom prst="rect">
            <a:avLst/>
          </a:pr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91427" rIns="182854" bIns="91427" numCol="1" spcCol="0" rtlCol="0" fromWordArt="0" anchor="ctr" anchorCtr="0" forceAA="0" compatLnSpc="1">
            <a:prstTxWarp prst="textNoShape">
              <a:avLst/>
            </a:prstTxWarp>
            <a:noAutofit/>
          </a:bodyPr>
          <a:lstStyle/>
          <a:p>
            <a:pPr algn="ctr" defTabSz="1243026">
              <a:lnSpc>
                <a:spcPct val="90000"/>
              </a:lnSpc>
              <a:spcAft>
                <a:spcPts val="600"/>
              </a:spcAft>
              <a:defRPr/>
            </a:pPr>
            <a:r>
              <a:rPr lang="en-US" sz="1400" dirty="0">
                <a:solidFill>
                  <a:srgbClr val="2C2C2C"/>
                </a:solidFill>
                <a:latin typeface="Segoe UI"/>
                <a:ea typeface="MS PGothic" charset="0"/>
                <a:cs typeface="Segoe UI Semilight" panose="020B0402040204020203" pitchFamily="34" charset="0"/>
              </a:rPr>
              <a:t>SQL Platform Abstraction Layer </a:t>
            </a:r>
          </a:p>
          <a:p>
            <a:pPr algn="ctr" defTabSz="1243026">
              <a:lnSpc>
                <a:spcPct val="90000"/>
              </a:lnSpc>
              <a:spcAft>
                <a:spcPts val="600"/>
              </a:spcAft>
              <a:defRPr/>
            </a:pPr>
            <a:r>
              <a:rPr lang="en-US" sz="1400" dirty="0">
                <a:solidFill>
                  <a:srgbClr val="2C2C2C"/>
                </a:solidFill>
                <a:latin typeface="Segoe UI"/>
                <a:ea typeface="MS PGothic" charset="0"/>
                <a:cs typeface="Segoe UI Semilight" panose="020B0402040204020203" pitchFamily="34" charset="0"/>
              </a:rPr>
              <a:t>(SQLPAL)</a:t>
            </a:r>
          </a:p>
        </p:txBody>
      </p:sp>
      <p:grpSp>
        <p:nvGrpSpPr>
          <p:cNvPr id="21" name="Group 20">
            <a:extLst>
              <a:ext uri="{FF2B5EF4-FFF2-40B4-BE49-F238E27FC236}">
                <a16:creationId xmlns:a16="http://schemas.microsoft.com/office/drawing/2014/main" id="{3690EB18-2678-4C0D-9D4F-028AAF7D5725}"/>
              </a:ext>
            </a:extLst>
          </p:cNvPr>
          <p:cNvGrpSpPr/>
          <p:nvPr/>
        </p:nvGrpSpPr>
        <p:grpSpPr>
          <a:xfrm>
            <a:off x="1032691" y="2725883"/>
            <a:ext cx="4023277" cy="500705"/>
            <a:chOff x="791192" y="2535513"/>
            <a:chExt cx="4194465" cy="640080"/>
          </a:xfrm>
        </p:grpSpPr>
        <p:sp>
          <p:nvSpPr>
            <p:cNvPr id="9" name="Rectangle 8"/>
            <p:cNvSpPr/>
            <p:nvPr/>
          </p:nvSpPr>
          <p:spPr bwMode="auto">
            <a:xfrm>
              <a:off x="791192" y="2535513"/>
              <a:ext cx="953882" cy="640080"/>
            </a:xfrm>
            <a:prstGeom prst="rect">
              <a:avLst/>
            </a:prstGeom>
            <a:solidFill>
              <a:schemeClr val="accent1"/>
            </a:solidFill>
            <a:ln w="1270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1243026">
                <a:lnSpc>
                  <a:spcPct val="90000"/>
                </a:lnSpc>
                <a:defRPr/>
              </a:pPr>
              <a:r>
                <a:rPr lang="en-US" sz="1200" dirty="0">
                  <a:solidFill>
                    <a:srgbClr val="FFFFFF"/>
                  </a:solidFill>
                  <a:latin typeface="Segoe UI"/>
                  <a:ea typeface="MS PGothic" charset="0"/>
                  <a:cs typeface="Segoe UI Semilight" panose="020B0402040204020203" pitchFamily="34" charset="0"/>
                </a:rPr>
                <a:t>RDBMS</a:t>
              </a:r>
            </a:p>
          </p:txBody>
        </p:sp>
        <p:sp>
          <p:nvSpPr>
            <p:cNvPr id="10" name="Rectangle 9"/>
            <p:cNvSpPr/>
            <p:nvPr/>
          </p:nvSpPr>
          <p:spPr bwMode="auto">
            <a:xfrm>
              <a:off x="1871387" y="2535513"/>
              <a:ext cx="953882" cy="640080"/>
            </a:xfrm>
            <a:prstGeom prst="rect">
              <a:avLst/>
            </a:prstGeom>
            <a:solidFill>
              <a:schemeClr val="accent1"/>
            </a:solidFill>
            <a:ln w="12700">
              <a:solidFill>
                <a:schemeClr val="accent1"/>
              </a:solidFill>
              <a:miter lim="800000"/>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1243026">
                <a:lnSpc>
                  <a:spcPct val="90000"/>
                </a:lnSpc>
                <a:defRPr/>
              </a:pPr>
              <a:r>
                <a:rPr lang="en-US" sz="1200" dirty="0">
                  <a:solidFill>
                    <a:srgbClr val="FFFFFF"/>
                  </a:solidFill>
                  <a:latin typeface="Segoe UI"/>
                  <a:ea typeface="MS PGothic" charset="0"/>
                  <a:cs typeface="Segoe UI Semilight" panose="020B0402040204020203" pitchFamily="34" charset="0"/>
                </a:rPr>
                <a:t>IS</a:t>
              </a:r>
            </a:p>
          </p:txBody>
        </p:sp>
        <p:sp>
          <p:nvSpPr>
            <p:cNvPr id="11" name="Rectangle 10"/>
            <p:cNvSpPr/>
            <p:nvPr/>
          </p:nvSpPr>
          <p:spPr bwMode="auto">
            <a:xfrm>
              <a:off x="2951581" y="2535513"/>
              <a:ext cx="953882" cy="640080"/>
            </a:xfrm>
            <a:prstGeom prst="rect">
              <a:avLst/>
            </a:prstGeom>
            <a:noFill/>
            <a:ln w="12700">
              <a:solidFill>
                <a:schemeClr val="accent1"/>
              </a:solidFill>
              <a:miter lim="800000"/>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1243026">
                <a:lnSpc>
                  <a:spcPct val="90000"/>
                </a:lnSpc>
                <a:defRPr/>
              </a:pPr>
              <a:r>
                <a:rPr lang="en-US" sz="1200" dirty="0">
                  <a:solidFill>
                    <a:srgbClr val="2C2C2C"/>
                  </a:solidFill>
                  <a:latin typeface="Segoe UI"/>
                  <a:ea typeface="MS PGothic" charset="0"/>
                  <a:cs typeface="Segoe UI Semilight" panose="020B0402040204020203" pitchFamily="34" charset="0"/>
                </a:rPr>
                <a:t>AS</a:t>
              </a:r>
            </a:p>
          </p:txBody>
        </p:sp>
        <p:sp>
          <p:nvSpPr>
            <p:cNvPr id="12" name="Rectangle 11"/>
            <p:cNvSpPr/>
            <p:nvPr/>
          </p:nvSpPr>
          <p:spPr bwMode="auto">
            <a:xfrm>
              <a:off x="4031775" y="2535513"/>
              <a:ext cx="953882" cy="640080"/>
            </a:xfrm>
            <a:prstGeom prst="rect">
              <a:avLst/>
            </a:prstGeom>
            <a:noFill/>
            <a:ln w="12700">
              <a:solidFill>
                <a:schemeClr val="accent1"/>
              </a:solidFill>
              <a:miter lim="800000"/>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1243026">
                <a:lnSpc>
                  <a:spcPct val="90000"/>
                </a:lnSpc>
                <a:defRPr/>
              </a:pPr>
              <a:r>
                <a:rPr lang="en-US" sz="1200" dirty="0">
                  <a:solidFill>
                    <a:srgbClr val="2C2C2C"/>
                  </a:solidFill>
                  <a:latin typeface="Segoe UI"/>
                  <a:ea typeface="MS PGothic" charset="0"/>
                  <a:cs typeface="Segoe UI Semilight" panose="020B0402040204020203" pitchFamily="34" charset="0"/>
                </a:rPr>
                <a:t>RS</a:t>
              </a:r>
            </a:p>
          </p:txBody>
        </p:sp>
      </p:grpSp>
      <p:grpSp>
        <p:nvGrpSpPr>
          <p:cNvPr id="42" name="Group 41">
            <a:extLst>
              <a:ext uri="{FF2B5EF4-FFF2-40B4-BE49-F238E27FC236}">
                <a16:creationId xmlns:a16="http://schemas.microsoft.com/office/drawing/2014/main" id="{7E67C26C-369D-4F8D-A577-5AE7E595DFC0}"/>
              </a:ext>
            </a:extLst>
          </p:cNvPr>
          <p:cNvGrpSpPr/>
          <p:nvPr/>
        </p:nvGrpSpPr>
        <p:grpSpPr>
          <a:xfrm>
            <a:off x="1136182" y="4270970"/>
            <a:ext cx="3815830" cy="1146847"/>
            <a:chOff x="843348" y="4267200"/>
            <a:chExt cx="4044737" cy="1147010"/>
          </a:xfrm>
          <a:solidFill>
            <a:srgbClr val="E6E6E6"/>
          </a:solidFill>
        </p:grpSpPr>
        <p:sp>
          <p:nvSpPr>
            <p:cNvPr id="13" name="Rectangle 12"/>
            <p:cNvSpPr/>
            <p:nvPr/>
          </p:nvSpPr>
          <p:spPr bwMode="auto">
            <a:xfrm>
              <a:off x="843348" y="4875587"/>
              <a:ext cx="1989759" cy="538623"/>
            </a:xfrm>
            <a:prstGeom prst="rect">
              <a:avLst/>
            </a:prstGeom>
            <a:grpFill/>
            <a:ln w="12700">
              <a:solidFill>
                <a:schemeClr val="accent1"/>
              </a:solidFill>
              <a:prstDash val="dash"/>
              <a:miter lim="800000"/>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243805" tIns="195044" rIns="243805" bIns="195044" numCol="1" spcCol="0" rtlCol="0" fromWordArt="0" anchor="ctr" anchorCtr="0" forceAA="0" compatLnSpc="1">
              <a:prstTxWarp prst="textNoShape">
                <a:avLst/>
              </a:prstTxWarp>
              <a:noAutofit/>
            </a:bodyPr>
            <a:lstStyle/>
            <a:p>
              <a:pPr algn="ctr" defTabSz="1243026">
                <a:lnSpc>
                  <a:spcPct val="90000"/>
                </a:lnSpc>
                <a:defRPr/>
              </a:pPr>
              <a:r>
                <a:rPr lang="en-US" sz="1200" dirty="0">
                  <a:solidFill>
                    <a:srgbClr val="2C2C2C"/>
                  </a:solidFill>
                  <a:latin typeface="Segoe UI"/>
                  <a:ea typeface="MS PGothic" charset="0"/>
                  <a:cs typeface="Segoe UI Semilight" panose="020B0402040204020203" pitchFamily="34" charset="0"/>
                </a:rPr>
                <a:t>Windows</a:t>
              </a:r>
            </a:p>
          </p:txBody>
        </p:sp>
        <p:sp>
          <p:nvSpPr>
            <p:cNvPr id="14" name="Rectangle 13"/>
            <p:cNvSpPr/>
            <p:nvPr/>
          </p:nvSpPr>
          <p:spPr bwMode="auto">
            <a:xfrm>
              <a:off x="2898326" y="4875587"/>
              <a:ext cx="1989759" cy="538623"/>
            </a:xfrm>
            <a:prstGeom prst="rect">
              <a:avLst/>
            </a:prstGeom>
            <a:grpFill/>
            <a:ln w="12700">
              <a:solidFill>
                <a:schemeClr val="accent1"/>
              </a:solidFill>
              <a:prstDash val="dash"/>
              <a:miter lim="800000"/>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243805" tIns="195044" rIns="243805" bIns="195044" numCol="1" spcCol="0" rtlCol="0" fromWordArt="0" anchor="ctr" anchorCtr="0" forceAA="0" compatLnSpc="1">
              <a:prstTxWarp prst="textNoShape">
                <a:avLst/>
              </a:prstTxWarp>
              <a:noAutofit/>
            </a:bodyPr>
            <a:lstStyle/>
            <a:p>
              <a:pPr algn="ctr" defTabSz="1243026">
                <a:lnSpc>
                  <a:spcPct val="90000"/>
                </a:lnSpc>
                <a:defRPr/>
              </a:pPr>
              <a:r>
                <a:rPr lang="en-US" sz="1200" dirty="0">
                  <a:solidFill>
                    <a:srgbClr val="2C2C2C"/>
                  </a:solidFill>
                  <a:latin typeface="Segoe UI"/>
                  <a:ea typeface="MS PGothic" charset="0"/>
                  <a:cs typeface="Segoe UI Semilight" panose="020B0402040204020203" pitchFamily="34" charset="0"/>
                </a:rPr>
                <a:t>Linux</a:t>
              </a:r>
            </a:p>
          </p:txBody>
        </p:sp>
        <p:sp>
          <p:nvSpPr>
            <p:cNvPr id="17" name="Rectangle 16"/>
            <p:cNvSpPr/>
            <p:nvPr/>
          </p:nvSpPr>
          <p:spPr bwMode="auto">
            <a:xfrm>
              <a:off x="843348" y="4267201"/>
              <a:ext cx="1989759" cy="538623"/>
            </a:xfrm>
            <a:prstGeom prst="rect">
              <a:avLst/>
            </a:prstGeom>
            <a:grpFill/>
            <a:ln w="12700">
              <a:solidFill>
                <a:schemeClr val="accent1"/>
              </a:solidFill>
              <a:prstDash val="dash"/>
              <a:miter lim="800000"/>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243805" tIns="195044" rIns="243805" bIns="195044" numCol="1" spcCol="0" rtlCol="0" fromWordArt="0" anchor="ctr" anchorCtr="0" forceAA="0" compatLnSpc="1">
              <a:prstTxWarp prst="textNoShape">
                <a:avLst/>
              </a:prstTxWarp>
              <a:noAutofit/>
            </a:bodyPr>
            <a:lstStyle/>
            <a:p>
              <a:pPr algn="ctr" defTabSz="1243026">
                <a:lnSpc>
                  <a:spcPct val="90000"/>
                </a:lnSpc>
                <a:defRPr/>
              </a:pPr>
              <a:r>
                <a:rPr lang="en-US" sz="1200" dirty="0">
                  <a:solidFill>
                    <a:srgbClr val="2C2C2C"/>
                  </a:solidFill>
                  <a:latin typeface="Segoe UI"/>
                  <a:ea typeface="MS PGothic" charset="0"/>
                  <a:cs typeface="Segoe UI Semilight" panose="020B0402040204020203" pitchFamily="34" charset="0"/>
                </a:rPr>
                <a:t>Windows Host Ext.</a:t>
              </a:r>
            </a:p>
          </p:txBody>
        </p:sp>
        <p:sp>
          <p:nvSpPr>
            <p:cNvPr id="18" name="Rectangle 17"/>
            <p:cNvSpPr/>
            <p:nvPr/>
          </p:nvSpPr>
          <p:spPr bwMode="auto">
            <a:xfrm>
              <a:off x="2898326" y="4267200"/>
              <a:ext cx="1989759" cy="538623"/>
            </a:xfrm>
            <a:prstGeom prst="rect">
              <a:avLst/>
            </a:prstGeom>
            <a:grpFill/>
            <a:ln w="12700">
              <a:solidFill>
                <a:schemeClr val="accent1"/>
              </a:solidFill>
              <a:prstDash val="dash"/>
              <a:miter lim="800000"/>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243805" tIns="195044" rIns="243805" bIns="195044" numCol="1" spcCol="0" rtlCol="0" fromWordArt="0" anchor="ctr" anchorCtr="0" forceAA="0" compatLnSpc="1">
              <a:prstTxWarp prst="textNoShape">
                <a:avLst/>
              </a:prstTxWarp>
              <a:noAutofit/>
            </a:bodyPr>
            <a:lstStyle/>
            <a:p>
              <a:pPr algn="ctr" defTabSz="1243026">
                <a:lnSpc>
                  <a:spcPct val="90000"/>
                </a:lnSpc>
                <a:defRPr/>
              </a:pPr>
              <a:r>
                <a:rPr lang="en-US" sz="1200" dirty="0">
                  <a:solidFill>
                    <a:srgbClr val="2C2C2C"/>
                  </a:solidFill>
                  <a:latin typeface="Segoe UI"/>
                  <a:ea typeface="MS PGothic" charset="0"/>
                  <a:cs typeface="Segoe UI Semilight" panose="020B0402040204020203" pitchFamily="34" charset="0"/>
                </a:rPr>
                <a:t>Linux Host Extension</a:t>
              </a:r>
            </a:p>
          </p:txBody>
        </p:sp>
      </p:grpSp>
      <p:cxnSp>
        <p:nvCxnSpPr>
          <p:cNvPr id="24" name="Straight Connector 23"/>
          <p:cNvCxnSpPr>
            <a:cxnSpLocks/>
          </p:cNvCxnSpPr>
          <p:nvPr/>
        </p:nvCxnSpPr>
        <p:spPr>
          <a:xfrm flipV="1">
            <a:off x="5055475" y="2691018"/>
            <a:ext cx="1170631" cy="650317"/>
          </a:xfrm>
          <a:prstGeom prst="line">
            <a:avLst/>
          </a:prstGeom>
          <a:ln w="12700">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a:cxnSpLocks/>
          </p:cNvCxnSpPr>
          <p:nvPr/>
        </p:nvCxnSpPr>
        <p:spPr>
          <a:xfrm flipH="1" flipV="1">
            <a:off x="5055475" y="4332279"/>
            <a:ext cx="1170632" cy="650318"/>
          </a:xfrm>
          <a:prstGeom prst="line">
            <a:avLst/>
          </a:prstGeom>
          <a:ln w="12700">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2" name="Rectangle 21"/>
          <p:cNvSpPr/>
          <p:nvPr/>
        </p:nvSpPr>
        <p:spPr bwMode="auto">
          <a:xfrm>
            <a:off x="6226598" y="2691020"/>
            <a:ext cx="4706326" cy="2291578"/>
          </a:xfrm>
          <a:prstGeom prst="rect">
            <a:avLst/>
          </a:pr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algn="ctr" defTabSz="1243026">
              <a:lnSpc>
                <a:spcPct val="90000"/>
              </a:lnSpc>
              <a:defRPr/>
            </a:pPr>
            <a:r>
              <a:rPr lang="en-US" sz="1400" dirty="0">
                <a:solidFill>
                  <a:srgbClr val="2C2C2C"/>
                </a:solidFill>
                <a:latin typeface="Segoe UI"/>
                <a:ea typeface="MS PGothic" charset="0"/>
                <a:cs typeface="Segoe UI Semilight" panose="020B0402040204020203" pitchFamily="34" charset="0"/>
              </a:rPr>
              <a:t>SQL Platform Abstraction Layer</a:t>
            </a:r>
          </a:p>
          <a:p>
            <a:pPr algn="ctr" defTabSz="1243026">
              <a:lnSpc>
                <a:spcPct val="90000"/>
              </a:lnSpc>
              <a:defRPr/>
            </a:pPr>
            <a:r>
              <a:rPr lang="en-US" sz="1400" dirty="0">
                <a:solidFill>
                  <a:srgbClr val="2C2C2C"/>
                </a:solidFill>
                <a:latin typeface="Segoe UI"/>
                <a:ea typeface="MS PGothic" charset="0"/>
                <a:cs typeface="Segoe UI Semilight" panose="020B0402040204020203" pitchFamily="34" charset="0"/>
              </a:rPr>
              <a:t>(SQLPAL)</a:t>
            </a:r>
          </a:p>
        </p:txBody>
      </p:sp>
      <p:sp>
        <p:nvSpPr>
          <p:cNvPr id="25" name="Rectangle 24"/>
          <p:cNvSpPr/>
          <p:nvPr/>
        </p:nvSpPr>
        <p:spPr bwMode="auto">
          <a:xfrm>
            <a:off x="6226599" y="5200259"/>
            <a:ext cx="4706326" cy="521134"/>
          </a:xfrm>
          <a:prstGeom prst="rect">
            <a:avLst/>
          </a:prstGeom>
          <a:noFill/>
          <a:ln w="12700">
            <a:solidFill>
              <a:schemeClr val="tx2"/>
            </a:solidFill>
            <a:miter lim="800000"/>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37141" tIns="91427" rIns="137141" bIns="91427" numCol="1" spcCol="0" rtlCol="0" fromWordArt="0" anchor="ctr" anchorCtr="0" forceAA="0" compatLnSpc="1">
            <a:prstTxWarp prst="textNoShape">
              <a:avLst/>
            </a:prstTxWarp>
            <a:noAutofit/>
          </a:bodyPr>
          <a:lstStyle/>
          <a:p>
            <a:pPr algn="ctr" defTabSz="1243026">
              <a:lnSpc>
                <a:spcPct val="90000"/>
              </a:lnSpc>
              <a:defRPr/>
            </a:pPr>
            <a:r>
              <a:rPr lang="en-US" sz="1200" dirty="0">
                <a:solidFill>
                  <a:srgbClr val="2C2C2C"/>
                </a:solidFill>
                <a:latin typeface="Segoe UI"/>
                <a:ea typeface="MS PGothic" charset="0"/>
                <a:cs typeface="Segoe UI Semilight" panose="020B0402040204020203" pitchFamily="34" charset="0"/>
              </a:rPr>
              <a:t>Host extension mapping to OS system calls</a:t>
            </a:r>
          </a:p>
          <a:p>
            <a:pPr algn="ctr" defTabSz="1243026">
              <a:lnSpc>
                <a:spcPct val="90000"/>
              </a:lnSpc>
              <a:defRPr/>
            </a:pPr>
            <a:r>
              <a:rPr lang="en-US" sz="1200" dirty="0">
                <a:solidFill>
                  <a:srgbClr val="2C2C2C"/>
                </a:solidFill>
                <a:latin typeface="Segoe UI"/>
                <a:ea typeface="MS PGothic" charset="0"/>
                <a:cs typeface="Segoe UI Semilight" panose="020B0402040204020203" pitchFamily="34" charset="0"/>
              </a:rPr>
              <a:t> (IO, Memory, CPU scheduling)</a:t>
            </a:r>
          </a:p>
        </p:txBody>
      </p:sp>
      <p:sp>
        <p:nvSpPr>
          <p:cNvPr id="23" name="Rectangle 22"/>
          <p:cNvSpPr/>
          <p:nvPr/>
        </p:nvSpPr>
        <p:spPr bwMode="auto">
          <a:xfrm>
            <a:off x="8651128" y="3533856"/>
            <a:ext cx="1371878" cy="523812"/>
          </a:xfrm>
          <a:prstGeom prst="rect">
            <a:avLst/>
          </a:prstGeom>
          <a:noFill/>
          <a:ln w="127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243026">
              <a:lnSpc>
                <a:spcPct val="90000"/>
              </a:lnSpc>
              <a:defRPr/>
            </a:pPr>
            <a:r>
              <a:rPr lang="en-US" sz="1200" dirty="0">
                <a:solidFill>
                  <a:srgbClr val="2C2C2C"/>
                </a:solidFill>
                <a:latin typeface="Segoe UI"/>
                <a:ea typeface="MS PGothic" charset="0"/>
                <a:cs typeface="Segoe UI Semilight" panose="020B0402040204020203" pitchFamily="34" charset="0"/>
              </a:rPr>
              <a:t>Win32-like APIs</a:t>
            </a:r>
          </a:p>
        </p:txBody>
      </p:sp>
      <p:sp>
        <p:nvSpPr>
          <p:cNvPr id="26" name="Rectangle 25"/>
          <p:cNvSpPr/>
          <p:nvPr/>
        </p:nvSpPr>
        <p:spPr bwMode="auto">
          <a:xfrm>
            <a:off x="7441311" y="3757037"/>
            <a:ext cx="812662" cy="1661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243026">
              <a:lnSpc>
                <a:spcPct val="90000"/>
              </a:lnSpc>
              <a:defRPr/>
            </a:pPr>
            <a:r>
              <a:rPr lang="en-US" sz="1200" dirty="0">
                <a:solidFill>
                  <a:srgbClr val="2C2C2C"/>
                </a:solidFill>
                <a:latin typeface="Segoe UI"/>
                <a:ea typeface="MS PGothic" charset="0"/>
                <a:cs typeface="Segoe UI Semilight" panose="020B0402040204020203" pitchFamily="34" charset="0"/>
              </a:rPr>
              <a:t>SQL OS API</a:t>
            </a:r>
          </a:p>
        </p:txBody>
      </p:sp>
      <p:sp>
        <p:nvSpPr>
          <p:cNvPr id="27" name="Rectangle 26"/>
          <p:cNvSpPr/>
          <p:nvPr/>
        </p:nvSpPr>
        <p:spPr bwMode="auto">
          <a:xfrm>
            <a:off x="8034033" y="4370947"/>
            <a:ext cx="1114977" cy="1661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243026">
              <a:lnSpc>
                <a:spcPct val="90000"/>
              </a:lnSpc>
              <a:defRPr/>
            </a:pPr>
            <a:r>
              <a:rPr lang="en-US" sz="1200" dirty="0">
                <a:solidFill>
                  <a:srgbClr val="2C2C2C"/>
                </a:solidFill>
                <a:latin typeface="Segoe UI"/>
                <a:ea typeface="MS PGothic" charset="0"/>
                <a:cs typeface="Segoe UI Semilight" panose="020B0402040204020203" pitchFamily="34" charset="0"/>
              </a:rPr>
              <a:t>SQL OS v2</a:t>
            </a:r>
          </a:p>
        </p:txBody>
      </p:sp>
      <p:cxnSp>
        <p:nvCxnSpPr>
          <p:cNvPr id="28" name="Straight Arrow Connector 27"/>
          <p:cNvCxnSpPr>
            <a:cxnSpLocks/>
          </p:cNvCxnSpPr>
          <p:nvPr/>
        </p:nvCxnSpPr>
        <p:spPr>
          <a:xfrm>
            <a:off x="6743102" y="2360504"/>
            <a:ext cx="0" cy="2818468"/>
          </a:xfrm>
          <a:prstGeom prst="straightConnector1">
            <a:avLst/>
          </a:prstGeom>
          <a:ln w="127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cxnSpLocks/>
          </p:cNvCxnSpPr>
          <p:nvPr/>
        </p:nvCxnSpPr>
        <p:spPr>
          <a:xfrm>
            <a:off x="10416422" y="2229449"/>
            <a:ext cx="0" cy="2949525"/>
          </a:xfrm>
          <a:prstGeom prst="straightConnector1">
            <a:avLst/>
          </a:prstGeom>
          <a:ln w="127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8823782" y="2075763"/>
            <a:ext cx="2109144" cy="510838"/>
          </a:xfrm>
          <a:prstGeom prst="rect">
            <a:avLst/>
          </a:prstGeom>
          <a:solidFill>
            <a:srgbClr val="E6E6E6"/>
          </a:solidFill>
          <a:ln w="12700">
            <a:solidFill>
              <a:schemeClr val="tx2"/>
            </a:solidFill>
            <a:miter lim="800000"/>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37141" tIns="91427" rIns="137141" bIns="91427" numCol="1" spcCol="0" rtlCol="0" fromWordArt="0" anchor="ctr" anchorCtr="0" forceAA="0" compatLnSpc="1">
            <a:prstTxWarp prst="textNoShape">
              <a:avLst/>
            </a:prstTxWarp>
            <a:noAutofit/>
          </a:bodyPr>
          <a:lstStyle>
            <a:defPPr>
              <a:defRPr lang="en-US"/>
            </a:defPPr>
            <a:lvl1pPr marR="0" lvl="0" indent="0" algn="ctr" defTabSz="1243265" fontAlgn="auto">
              <a:lnSpc>
                <a:spcPct val="90000"/>
              </a:lnSpc>
              <a:spcBef>
                <a:spcPts val="0"/>
              </a:spcBef>
              <a:spcAft>
                <a:spcPts val="0"/>
              </a:spcAft>
              <a:buClrTx/>
              <a:buSzTx/>
              <a:buFontTx/>
              <a:buNone/>
              <a:tabLst/>
              <a:defRPr sz="1200" spc="50">
                <a:solidFill>
                  <a:srgbClr val="2C2C2C"/>
                </a:solidFill>
                <a:latin typeface="Segoe UI Semilight" panose="020B0402040204020203" pitchFamily="34" charset="0"/>
                <a:ea typeface="MS PGothic" charset="0"/>
                <a:cs typeface="Segoe UI Semilight" panose="020B0402040204020203"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1243026">
              <a:defRPr/>
            </a:pPr>
            <a:r>
              <a:rPr lang="en-US" spc="0" dirty="0">
                <a:latin typeface="Segoe UI"/>
              </a:rPr>
              <a:t>All other systems</a:t>
            </a:r>
          </a:p>
        </p:txBody>
      </p:sp>
      <p:sp>
        <p:nvSpPr>
          <p:cNvPr id="31" name="TextBox 30"/>
          <p:cNvSpPr txBox="1"/>
          <p:nvPr/>
        </p:nvSpPr>
        <p:spPr>
          <a:xfrm>
            <a:off x="6226600" y="2066274"/>
            <a:ext cx="2495507" cy="523659"/>
          </a:xfrm>
          <a:prstGeom prst="rect">
            <a:avLst/>
          </a:prstGeom>
          <a:solidFill>
            <a:srgbClr val="E6E6E6"/>
          </a:solidFill>
          <a:ln w="12700">
            <a:solidFill>
              <a:schemeClr val="tx2"/>
            </a:solidFill>
            <a:miter lim="800000"/>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37141" tIns="91427" rIns="137141" bIns="91427" numCol="1" spcCol="0" rtlCol="0" fromWordArt="0" anchor="ctr" anchorCtr="0" forceAA="0" compatLnSpc="1">
            <a:prstTxWarp prst="textNoShape">
              <a:avLst/>
            </a:prstTxWarp>
            <a:spAutoFit/>
          </a:bodyPr>
          <a:lstStyle>
            <a:defPPr>
              <a:defRPr lang="en-US"/>
            </a:defPPr>
            <a:lvl1pPr marR="0" lvl="0" indent="0" algn="ctr" defTabSz="1243265" fontAlgn="auto">
              <a:lnSpc>
                <a:spcPct val="90000"/>
              </a:lnSpc>
              <a:spcBef>
                <a:spcPts val="0"/>
              </a:spcBef>
              <a:spcAft>
                <a:spcPts val="0"/>
              </a:spcAft>
              <a:buClrTx/>
              <a:buSzTx/>
              <a:buFontTx/>
              <a:buNone/>
              <a:tabLst/>
              <a:defRPr sz="1200" spc="50">
                <a:solidFill>
                  <a:srgbClr val="2C2C2C"/>
                </a:solidFill>
                <a:latin typeface="Segoe UI Semilight" panose="020B0402040204020203" pitchFamily="34" charset="0"/>
                <a:ea typeface="MS PGothic" charset="0"/>
                <a:cs typeface="Segoe UI Semilight" panose="020B0402040204020203"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1243026">
              <a:defRPr/>
            </a:pPr>
            <a:r>
              <a:rPr lang="en-US" spc="0" dirty="0">
                <a:latin typeface="Segoe UI"/>
              </a:rPr>
              <a:t>System resource &amp;</a:t>
            </a:r>
            <a:br>
              <a:rPr lang="en-US" spc="0" dirty="0">
                <a:latin typeface="Segoe UI"/>
              </a:rPr>
            </a:br>
            <a:r>
              <a:rPr lang="en-US" spc="0" dirty="0">
                <a:latin typeface="Segoe UI"/>
              </a:rPr>
              <a:t>latency sensitive code paths</a:t>
            </a:r>
          </a:p>
        </p:txBody>
      </p:sp>
      <p:sp>
        <p:nvSpPr>
          <p:cNvPr id="3" name="Title 2">
            <a:extLst>
              <a:ext uri="{FF2B5EF4-FFF2-40B4-BE49-F238E27FC236}">
                <a16:creationId xmlns:a16="http://schemas.microsoft.com/office/drawing/2014/main" id="{0326F37C-242E-4D5C-9985-21ADC1F94314}"/>
              </a:ext>
            </a:extLst>
          </p:cNvPr>
          <p:cNvSpPr>
            <a:spLocks noGrp="1"/>
          </p:cNvSpPr>
          <p:nvPr>
            <p:ph type="title"/>
          </p:nvPr>
        </p:nvSpPr>
        <p:spPr>
          <a:xfrm>
            <a:off x="589044" y="457622"/>
            <a:ext cx="11016957" cy="769441"/>
          </a:xfrm>
        </p:spPr>
        <p:txBody>
          <a:bodyPr/>
          <a:lstStyle/>
          <a:p>
            <a:r>
              <a:rPr lang="en-US" dirty="0"/>
              <a:t>The Architecture of SQL Server on Linux</a:t>
            </a:r>
            <a:br>
              <a:rPr lang="en-US" dirty="0"/>
            </a:br>
            <a:endParaRPr lang="en-US" sz="1400" spc="400" dirty="0"/>
          </a:p>
        </p:txBody>
      </p:sp>
      <p:sp>
        <p:nvSpPr>
          <p:cNvPr id="40" name="Triangle 3">
            <a:extLst>
              <a:ext uri="{FF2B5EF4-FFF2-40B4-BE49-F238E27FC236}">
                <a16:creationId xmlns:a16="http://schemas.microsoft.com/office/drawing/2014/main" id="{11FED211-EA60-4B11-8C71-517780B2C018}"/>
              </a:ext>
            </a:extLst>
          </p:cNvPr>
          <p:cNvSpPr/>
          <p:nvPr/>
        </p:nvSpPr>
        <p:spPr>
          <a:xfrm rot="5400000">
            <a:off x="175629" y="6577366"/>
            <a:ext cx="196746" cy="91589"/>
          </a:xfrm>
          <a:custGeom>
            <a:avLst/>
            <a:gdLst>
              <a:gd name="connsiteX0" fmla="*/ 0 w 631372"/>
              <a:gd name="connsiteY0" fmla="*/ 544286 h 544286"/>
              <a:gd name="connsiteX1" fmla="*/ 315686 w 631372"/>
              <a:gd name="connsiteY1" fmla="*/ 0 h 544286"/>
              <a:gd name="connsiteX2" fmla="*/ 631372 w 631372"/>
              <a:gd name="connsiteY2" fmla="*/ 544286 h 544286"/>
              <a:gd name="connsiteX3" fmla="*/ 0 w 631372"/>
              <a:gd name="connsiteY3" fmla="*/ 544286 h 544286"/>
              <a:gd name="connsiteX0" fmla="*/ 0 w 631372"/>
              <a:gd name="connsiteY0" fmla="*/ 544286 h 544286"/>
              <a:gd name="connsiteX1" fmla="*/ 315686 w 631372"/>
              <a:gd name="connsiteY1" fmla="*/ 0 h 544286"/>
              <a:gd name="connsiteX2" fmla="*/ 631372 w 631372"/>
              <a:gd name="connsiteY2" fmla="*/ 544286 h 544286"/>
              <a:gd name="connsiteX3" fmla="*/ 315686 w 631372"/>
              <a:gd name="connsiteY3" fmla="*/ 544286 h 544286"/>
              <a:gd name="connsiteX4" fmla="*/ 0 w 631372"/>
              <a:gd name="connsiteY4" fmla="*/ 544286 h 544286"/>
              <a:gd name="connsiteX0" fmla="*/ 315686 w 631372"/>
              <a:gd name="connsiteY0" fmla="*/ 544286 h 635726"/>
              <a:gd name="connsiteX1" fmla="*/ 0 w 631372"/>
              <a:gd name="connsiteY1" fmla="*/ 544286 h 635726"/>
              <a:gd name="connsiteX2" fmla="*/ 315686 w 631372"/>
              <a:gd name="connsiteY2" fmla="*/ 0 h 635726"/>
              <a:gd name="connsiteX3" fmla="*/ 631372 w 631372"/>
              <a:gd name="connsiteY3" fmla="*/ 544286 h 635726"/>
              <a:gd name="connsiteX4" fmla="*/ 407126 w 631372"/>
              <a:gd name="connsiteY4" fmla="*/ 635726 h 635726"/>
              <a:gd name="connsiteX0" fmla="*/ 0 w 631372"/>
              <a:gd name="connsiteY0" fmla="*/ 544286 h 635726"/>
              <a:gd name="connsiteX1" fmla="*/ 315686 w 631372"/>
              <a:gd name="connsiteY1" fmla="*/ 0 h 635726"/>
              <a:gd name="connsiteX2" fmla="*/ 631372 w 631372"/>
              <a:gd name="connsiteY2" fmla="*/ 544286 h 635726"/>
              <a:gd name="connsiteX3" fmla="*/ 407126 w 631372"/>
              <a:gd name="connsiteY3" fmla="*/ 635726 h 635726"/>
              <a:gd name="connsiteX0" fmla="*/ 0 w 631372"/>
              <a:gd name="connsiteY0" fmla="*/ 544286 h 544286"/>
              <a:gd name="connsiteX1" fmla="*/ 315686 w 631372"/>
              <a:gd name="connsiteY1" fmla="*/ 0 h 544286"/>
              <a:gd name="connsiteX2" fmla="*/ 631372 w 631372"/>
              <a:gd name="connsiteY2" fmla="*/ 544286 h 544286"/>
            </a:gdLst>
            <a:ahLst/>
            <a:cxnLst>
              <a:cxn ang="0">
                <a:pos x="connsiteX0" y="connsiteY0"/>
              </a:cxn>
              <a:cxn ang="0">
                <a:pos x="connsiteX1" y="connsiteY1"/>
              </a:cxn>
              <a:cxn ang="0">
                <a:pos x="connsiteX2" y="connsiteY2"/>
              </a:cxn>
            </a:cxnLst>
            <a:rect l="l" t="t" r="r" b="b"/>
            <a:pathLst>
              <a:path w="631372" h="544286">
                <a:moveTo>
                  <a:pt x="0" y="544286"/>
                </a:moveTo>
                <a:lnTo>
                  <a:pt x="315686" y="0"/>
                </a:lnTo>
                <a:lnTo>
                  <a:pt x="631372" y="544286"/>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30" dirty="0">
              <a:solidFill>
                <a:srgbClr val="0078D4"/>
              </a:solidFill>
              <a:latin typeface="Segoe UI"/>
            </a:endParaRPr>
          </a:p>
        </p:txBody>
      </p:sp>
      <p:sp>
        <p:nvSpPr>
          <p:cNvPr id="41" name="Text Placeholder 3">
            <a:extLst>
              <a:ext uri="{FF2B5EF4-FFF2-40B4-BE49-F238E27FC236}">
                <a16:creationId xmlns:a16="http://schemas.microsoft.com/office/drawing/2014/main" id="{37A418D7-655E-4523-9984-E941A2395E0E}"/>
              </a:ext>
            </a:extLst>
          </p:cNvPr>
          <p:cNvSpPr txBox="1">
            <a:spLocks/>
          </p:cNvSpPr>
          <p:nvPr/>
        </p:nvSpPr>
        <p:spPr>
          <a:xfrm>
            <a:off x="221079" y="6513037"/>
            <a:ext cx="3060816" cy="233557"/>
          </a:xfrm>
          <a:prstGeom prst="rect">
            <a:avLst/>
          </a:prstGeom>
          <a:noFill/>
        </p:spPr>
        <p:txBody>
          <a:bodyPr lIns="182854">
            <a:spAutoFit/>
          </a:bodyPr>
          <a:lstStyle>
            <a:lvl1pPr marL="228600" indent="-228600" algn="l" defTabSz="914400" rtl="0" eaLnBrk="1" latinLnBrk="0" hangingPunct="1">
              <a:lnSpc>
                <a:spcPct val="90000"/>
              </a:lnSpc>
              <a:spcBef>
                <a:spcPts val="1000"/>
              </a:spcBef>
              <a:buClr>
                <a:schemeClr val="bg2"/>
              </a:buClr>
              <a:buFont typeface="Arial" panose="020B0604020202020204" pitchFamily="34" charset="0"/>
              <a:buChar char="•"/>
              <a:defRPr sz="2800" kern="1200">
                <a:solidFill>
                  <a:schemeClr val="bg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Clr>
                <a:schemeClr val="bg2"/>
              </a:buClr>
              <a:buFont typeface="Arial" panose="020B0604020202020204" pitchFamily="34" charset="0"/>
              <a:buChar char="•"/>
              <a:defRPr sz="2400" kern="1200">
                <a:solidFill>
                  <a:schemeClr val="bg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Clr>
                <a:schemeClr val="bg2"/>
              </a:buClr>
              <a:buFont typeface="Arial" panose="020B0604020202020204" pitchFamily="34" charset="0"/>
              <a:buChar char="•"/>
              <a:defRPr sz="2000" kern="1200">
                <a:solidFill>
                  <a:schemeClr val="bg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225">
              <a:buClr>
                <a:srgbClr val="E6E6E6"/>
              </a:buClr>
              <a:buNone/>
            </a:pPr>
            <a:r>
              <a:rPr lang="en-US" sz="1000" b="1" dirty="0">
                <a:solidFill>
                  <a:srgbClr val="0078D4"/>
                </a:solidFill>
                <a:latin typeface="Segoe UI" charset="0"/>
                <a:ea typeface="Segoe UI" charset="0"/>
                <a:cs typeface="Segoe UI" charset="0"/>
              </a:rPr>
              <a:t>Choice across OS and containers</a:t>
            </a:r>
          </a:p>
        </p:txBody>
      </p:sp>
    </p:spTree>
    <p:extLst>
      <p:ext uri="{BB962C8B-B14F-4D97-AF65-F5344CB8AC3E}">
        <p14:creationId xmlns:p14="http://schemas.microsoft.com/office/powerpoint/2010/main" val="3044339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The Deployment Experience</a:t>
            </a:r>
          </a:p>
        </p:txBody>
      </p:sp>
      <p:sp>
        <p:nvSpPr>
          <p:cNvPr id="25" name="Content Placeholder 2">
            <a:extLst>
              <a:ext uri="{FF2B5EF4-FFF2-40B4-BE49-F238E27FC236}">
                <a16:creationId xmlns:a16="http://schemas.microsoft.com/office/drawing/2014/main" id="{FFEFC3EA-1C9B-4DE5-957E-5128F4084D11}"/>
              </a:ext>
            </a:extLst>
          </p:cNvPr>
          <p:cNvSpPr txBox="1">
            <a:spLocks/>
          </p:cNvSpPr>
          <p:nvPr/>
        </p:nvSpPr>
        <p:spPr>
          <a:xfrm>
            <a:off x="411021" y="1271841"/>
            <a:ext cx="7252522" cy="3607141"/>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chemeClr val="tx1"/>
                </a:solidFill>
              </a:rPr>
              <a:t>Light and fast using package managers</a:t>
            </a:r>
          </a:p>
          <a:p>
            <a:pPr lvl="1"/>
            <a:r>
              <a:rPr lang="en-US" dirty="0">
                <a:solidFill>
                  <a:schemeClr val="tx1"/>
                </a:solidFill>
              </a:rPr>
              <a:t>RHEL: RPM and yum.</a:t>
            </a:r>
          </a:p>
          <a:p>
            <a:pPr lvl="1"/>
            <a:r>
              <a:rPr lang="en-US" dirty="0">
                <a:solidFill>
                  <a:schemeClr val="tx1"/>
                </a:solidFill>
              </a:rPr>
              <a:t>Ubuntu: Debian and apt-get</a:t>
            </a:r>
          </a:p>
          <a:p>
            <a:pPr lvl="1"/>
            <a:r>
              <a:rPr lang="en-US" dirty="0">
                <a:solidFill>
                  <a:schemeClr val="tx1"/>
                </a:solidFill>
              </a:rPr>
              <a:t>SUSE: RPM and zypper.</a:t>
            </a:r>
          </a:p>
          <a:p>
            <a:r>
              <a:rPr lang="en-US" dirty="0">
                <a:solidFill>
                  <a:schemeClr val="tx1"/>
                </a:solidFill>
              </a:rPr>
              <a:t>Dependency management built-in</a:t>
            </a:r>
          </a:p>
          <a:p>
            <a:r>
              <a:rPr lang="en-US" dirty="0">
                <a:solidFill>
                  <a:schemeClr val="tx1"/>
                </a:solidFill>
              </a:rPr>
              <a:t>Install fast </a:t>
            </a:r>
            <a:r>
              <a:rPr lang="en-US" dirty="0">
                <a:solidFill>
                  <a:schemeClr val="tx1"/>
                </a:solidFill>
                <a:sym typeface="Wingdings" panose="05000000000000000000" pitchFamily="2" charset="2"/>
              </a:rPr>
              <a:t> configure later</a:t>
            </a:r>
          </a:p>
          <a:p>
            <a:r>
              <a:rPr lang="en-US" dirty="0">
                <a:solidFill>
                  <a:schemeClr val="tx1"/>
                </a:solidFill>
                <a:sym typeface="Wingdings" panose="05000000000000000000" pitchFamily="2" charset="2"/>
              </a:rPr>
              <a:t>Break up the product into packages</a:t>
            </a:r>
          </a:p>
          <a:p>
            <a:r>
              <a:rPr lang="en-US" dirty="0">
                <a:solidFill>
                  <a:schemeClr val="tx1"/>
                </a:solidFill>
                <a:sym typeface="Wingdings" panose="05000000000000000000" pitchFamily="2" charset="2"/>
              </a:rPr>
              <a:t>Offline, unattended, update, rollback, remove</a:t>
            </a:r>
            <a:endParaRPr lang="en-US" dirty="0">
              <a:solidFill>
                <a:schemeClr val="tx1"/>
              </a:solidFill>
            </a:endParaRPr>
          </a:p>
        </p:txBody>
      </p:sp>
      <p:graphicFrame>
        <p:nvGraphicFramePr>
          <p:cNvPr id="26" name="Diagram 25">
            <a:extLst>
              <a:ext uri="{FF2B5EF4-FFF2-40B4-BE49-F238E27FC236}">
                <a16:creationId xmlns:a16="http://schemas.microsoft.com/office/drawing/2014/main" id="{AE42AFBE-BFAA-459C-8B67-6F2F5C40DA4B}"/>
              </a:ext>
            </a:extLst>
          </p:cNvPr>
          <p:cNvGraphicFramePr/>
          <p:nvPr>
            <p:extLst>
              <p:ext uri="{D42A27DB-BD31-4B8C-83A1-F6EECF244321}">
                <p14:modId xmlns:p14="http://schemas.microsoft.com/office/powerpoint/2010/main" val="2089125448"/>
              </p:ext>
            </p:extLst>
          </p:nvPr>
        </p:nvGraphicFramePr>
        <p:xfrm>
          <a:off x="498106" y="5397367"/>
          <a:ext cx="8451291" cy="94641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27" name="Picture 4" descr="Image result for ubuntu logo png">
            <a:extLst>
              <a:ext uri="{FF2B5EF4-FFF2-40B4-BE49-F238E27FC236}">
                <a16:creationId xmlns:a16="http://schemas.microsoft.com/office/drawing/2014/main" id="{212F909F-0F18-4F93-93EE-D00B67BCACFD}"/>
              </a:ext>
            </a:extLst>
          </p:cNvPr>
          <p:cNvPicPr>
            <a:picLocks noChangeAspect="1" noChangeArrowheads="1"/>
          </p:cNvPicPr>
          <p:nvPr/>
        </p:nvPicPr>
        <p:blipFill>
          <a:blip r:embed="rId9" cstate="screen">
            <a:extLst>
              <a:ext uri="{28A0092B-C50C-407E-A947-70E740481C1C}">
                <a14:useLocalDpi xmlns:a14="http://schemas.microsoft.com/office/drawing/2010/main" val="0"/>
              </a:ext>
            </a:extLst>
          </a:blip>
          <a:srcRect/>
          <a:stretch>
            <a:fillRect/>
          </a:stretch>
        </p:blipFill>
        <p:spPr bwMode="auto">
          <a:xfrm>
            <a:off x="7872461" y="368083"/>
            <a:ext cx="1553006" cy="1553006"/>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6" descr="Image result for SLES logo png">
            <a:extLst>
              <a:ext uri="{FF2B5EF4-FFF2-40B4-BE49-F238E27FC236}">
                <a16:creationId xmlns:a16="http://schemas.microsoft.com/office/drawing/2014/main" id="{280F5838-A872-4B02-AAB1-7CDDDFA3C9FB}"/>
              </a:ext>
            </a:extLst>
          </p:cNvPr>
          <p:cNvPicPr>
            <a:picLocks noChangeAspect="1" noChangeArrowheads="1"/>
          </p:cNvPicPr>
          <p:nvPr/>
        </p:nvPicPr>
        <p:blipFill>
          <a:blip r:embed="rId10" cstate="screen">
            <a:extLst>
              <a:ext uri="{28A0092B-C50C-407E-A947-70E740481C1C}">
                <a14:useLocalDpi xmlns:a14="http://schemas.microsoft.com/office/drawing/2010/main" val="0"/>
              </a:ext>
            </a:extLst>
          </a:blip>
          <a:srcRect/>
          <a:stretch>
            <a:fillRect/>
          </a:stretch>
        </p:blipFill>
        <p:spPr bwMode="auto">
          <a:xfrm>
            <a:off x="7777304" y="3509145"/>
            <a:ext cx="2688900" cy="1246579"/>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descr="Image result for red hat">
            <a:extLst>
              <a:ext uri="{FF2B5EF4-FFF2-40B4-BE49-F238E27FC236}">
                <a16:creationId xmlns:a16="http://schemas.microsoft.com/office/drawing/2014/main" id="{9D2D1235-647B-4451-A48E-A7ACF6D7D8E2}"/>
              </a:ext>
            </a:extLst>
          </p:cNvPr>
          <p:cNvPicPr>
            <a:picLocks noChangeAspect="1" noChangeArrowheads="1"/>
          </p:cNvPicPr>
          <p:nvPr/>
        </p:nvPicPr>
        <p:blipFill>
          <a:blip r:embed="rId11" cstate="screen">
            <a:extLst>
              <a:ext uri="{28A0092B-C50C-407E-A947-70E740481C1C}">
                <a14:useLocalDpi xmlns:a14="http://schemas.microsoft.com/office/drawing/2010/main" val="0"/>
              </a:ext>
            </a:extLst>
          </a:blip>
          <a:srcRect/>
          <a:stretch>
            <a:fillRect/>
          </a:stretch>
        </p:blipFill>
        <p:spPr bwMode="auto">
          <a:xfrm>
            <a:off x="9425467" y="2350531"/>
            <a:ext cx="2259904" cy="729172"/>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279942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88263" y="457200"/>
            <a:ext cx="11018520" cy="553998"/>
          </a:xfrm>
        </p:spPr>
        <p:txBody>
          <a:bodyPr/>
          <a:lstStyle/>
          <a:p>
            <a:r>
              <a:rPr lang="en-US" dirty="0"/>
              <a:t>Configuring and Updating SQL Server on Linux</a:t>
            </a:r>
          </a:p>
        </p:txBody>
      </p:sp>
      <p:graphicFrame>
        <p:nvGraphicFramePr>
          <p:cNvPr id="2" name="Diagram 1">
            <a:extLst>
              <a:ext uri="{FF2B5EF4-FFF2-40B4-BE49-F238E27FC236}">
                <a16:creationId xmlns:a16="http://schemas.microsoft.com/office/drawing/2014/main" id="{5CD58392-0573-443B-BF77-ED172E81C9A7}"/>
              </a:ext>
            </a:extLst>
          </p:cNvPr>
          <p:cNvGraphicFramePr/>
          <p:nvPr>
            <p:extLst>
              <p:ext uri="{D42A27DB-BD31-4B8C-83A1-F6EECF244321}">
                <p14:modId xmlns:p14="http://schemas.microsoft.com/office/powerpoint/2010/main" val="2275260910"/>
              </p:ext>
            </p:extLst>
          </p:nvPr>
        </p:nvGraphicFramePr>
        <p:xfrm>
          <a:off x="516238" y="1754659"/>
          <a:ext cx="6279978" cy="464614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 name="TextBox 2">
            <a:extLst>
              <a:ext uri="{FF2B5EF4-FFF2-40B4-BE49-F238E27FC236}">
                <a16:creationId xmlns:a16="http://schemas.microsoft.com/office/drawing/2014/main" id="{1AEC8ACB-B832-4687-81DD-DB98306BD403}"/>
              </a:ext>
            </a:extLst>
          </p:cNvPr>
          <p:cNvSpPr txBox="1"/>
          <p:nvPr/>
        </p:nvSpPr>
        <p:spPr>
          <a:xfrm>
            <a:off x="2669060" y="1245060"/>
            <a:ext cx="1559722"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Configuration</a:t>
            </a:r>
          </a:p>
        </p:txBody>
      </p:sp>
      <p:graphicFrame>
        <p:nvGraphicFramePr>
          <p:cNvPr id="4" name="Diagram 3">
            <a:extLst>
              <a:ext uri="{FF2B5EF4-FFF2-40B4-BE49-F238E27FC236}">
                <a16:creationId xmlns:a16="http://schemas.microsoft.com/office/drawing/2014/main" id="{984E7BC2-1D6B-4859-A038-26D766A03495}"/>
              </a:ext>
            </a:extLst>
          </p:cNvPr>
          <p:cNvGraphicFramePr/>
          <p:nvPr>
            <p:extLst>
              <p:ext uri="{D42A27DB-BD31-4B8C-83A1-F6EECF244321}">
                <p14:modId xmlns:p14="http://schemas.microsoft.com/office/powerpoint/2010/main" val="719830283"/>
              </p:ext>
            </p:extLst>
          </p:nvPr>
        </p:nvGraphicFramePr>
        <p:xfrm>
          <a:off x="8402594" y="1754659"/>
          <a:ext cx="2792627" cy="4646141"/>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9" name="TextBox 8">
            <a:extLst>
              <a:ext uri="{FF2B5EF4-FFF2-40B4-BE49-F238E27FC236}">
                <a16:creationId xmlns:a16="http://schemas.microsoft.com/office/drawing/2014/main" id="{F6CB614A-B469-45E5-ADCC-CE4E7D462A4A}"/>
              </a:ext>
            </a:extLst>
          </p:cNvPr>
          <p:cNvSpPr txBox="1"/>
          <p:nvPr/>
        </p:nvSpPr>
        <p:spPr>
          <a:xfrm>
            <a:off x="9280558" y="1245060"/>
            <a:ext cx="1053173"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Updating</a:t>
            </a:r>
          </a:p>
        </p:txBody>
      </p:sp>
    </p:spTree>
    <p:custDataLst>
      <p:tags r:id="rId1"/>
    </p:custDataLst>
    <p:extLst>
      <p:ext uri="{BB962C8B-B14F-4D97-AF65-F5344CB8AC3E}">
        <p14:creationId xmlns:p14="http://schemas.microsoft.com/office/powerpoint/2010/main" val="1881181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CA1ECC2E-6358-479D-9E85-FFCFE454E6E4}"/>
              </a:ext>
            </a:extLst>
          </p:cNvPr>
          <p:cNvSpPr txBox="1"/>
          <p:nvPr/>
        </p:nvSpPr>
        <p:spPr>
          <a:xfrm>
            <a:off x="270067" y="3900566"/>
            <a:ext cx="4662582" cy="2296880"/>
          </a:xfrm>
          <a:prstGeom prst="rect">
            <a:avLst/>
          </a:prstGeom>
          <a:noFill/>
        </p:spPr>
        <p:txBody>
          <a:bodyPr wrap="square" lIns="146284" tIns="182828" rIns="182828" bIns="91414" rtlCol="0">
            <a:noAutofit/>
          </a:bodyPr>
          <a:lstStyle/>
          <a:p>
            <a:pPr defTabSz="914049">
              <a:spcAft>
                <a:spcPts val="900"/>
              </a:spcAft>
              <a:buClr>
                <a:srgbClr val="0078D8"/>
              </a:buClr>
              <a:defRPr/>
            </a:pPr>
            <a:r>
              <a:rPr lang="en-US" sz="1600" dirty="0">
                <a:solidFill>
                  <a:srgbClr val="000000"/>
                </a:solidFill>
                <a:latin typeface="Segoe UI"/>
                <a:ea typeface="Segoe UI" charset="0"/>
                <a:cs typeface="Segoe UI" charset="0"/>
              </a:rPr>
              <a:t>Azure Data Studio</a:t>
            </a:r>
          </a:p>
          <a:p>
            <a:pPr defTabSz="914049">
              <a:spcAft>
                <a:spcPts val="900"/>
              </a:spcAft>
              <a:buClr>
                <a:srgbClr val="0078D8"/>
              </a:buClr>
              <a:defRPr/>
            </a:pPr>
            <a:r>
              <a:rPr lang="en-US" sz="1600" dirty="0">
                <a:solidFill>
                  <a:srgbClr val="000000"/>
                </a:solidFill>
                <a:latin typeface="Segoe UI"/>
                <a:ea typeface="Segoe UI" charset="0"/>
                <a:cs typeface="Segoe UI" charset="0"/>
              </a:rPr>
              <a:t>Visual Studio Code mssql extension</a:t>
            </a:r>
          </a:p>
          <a:p>
            <a:pPr defTabSz="914049">
              <a:spcAft>
                <a:spcPts val="900"/>
              </a:spcAft>
              <a:buClr>
                <a:srgbClr val="0078D8"/>
              </a:buClr>
              <a:defRPr/>
            </a:pPr>
            <a:r>
              <a:rPr lang="en-US" sz="1600" dirty="0">
                <a:solidFill>
                  <a:srgbClr val="000000"/>
                </a:solidFill>
                <a:latin typeface="Segoe UI"/>
                <a:ea typeface="Segoe UI" charset="0"/>
                <a:cs typeface="Segoe UI" charset="0"/>
              </a:rPr>
              <a:t>Native OS command line tools</a:t>
            </a:r>
          </a:p>
          <a:p>
            <a:pPr marL="137133" lvl="1" indent="-137133" defTabSz="914049">
              <a:spcAft>
                <a:spcPts val="900"/>
              </a:spcAft>
              <a:buClr>
                <a:srgbClr val="0078D7"/>
              </a:buClr>
              <a:buFont typeface="Arial" panose="020B0604020202020204" pitchFamily="34" charset="0"/>
              <a:buChar char="•"/>
              <a:defRPr/>
            </a:pPr>
            <a:r>
              <a:rPr lang="en-US" sz="1600" dirty="0">
                <a:solidFill>
                  <a:srgbClr val="000000"/>
                </a:solidFill>
                <a:latin typeface="Segoe UI"/>
                <a:ea typeface="Segoe UI" charset="0"/>
                <a:cs typeface="Segoe UI" charset="0"/>
              </a:rPr>
              <a:t>sqlcmd, bcp, sqlpackage</a:t>
            </a:r>
          </a:p>
          <a:p>
            <a:pPr defTabSz="914049">
              <a:spcAft>
                <a:spcPts val="900"/>
              </a:spcAft>
              <a:buClr>
                <a:srgbClr val="0078D8"/>
              </a:buClr>
              <a:defRPr/>
            </a:pPr>
            <a:r>
              <a:rPr lang="en-US" sz="1600" dirty="0">
                <a:solidFill>
                  <a:srgbClr val="000000"/>
                </a:solidFill>
                <a:latin typeface="Segoe UI"/>
                <a:ea typeface="Segoe UI" charset="0"/>
                <a:cs typeface="Segoe UI" charset="0"/>
              </a:rPr>
              <a:t>mssql-cli</a:t>
            </a:r>
          </a:p>
          <a:p>
            <a:pPr defTabSz="914049">
              <a:spcAft>
                <a:spcPts val="900"/>
              </a:spcAft>
              <a:buClr>
                <a:srgbClr val="0078D8"/>
              </a:buClr>
              <a:defRPr/>
            </a:pPr>
            <a:r>
              <a:rPr lang="en-US" sz="1600" dirty="0">
                <a:solidFill>
                  <a:srgbClr val="000000"/>
                </a:solidFill>
                <a:latin typeface="Segoe UI"/>
                <a:ea typeface="Segoe UI" charset="0"/>
                <a:cs typeface="Segoe UI" charset="0"/>
              </a:rPr>
              <a:t>mssql-scripter</a:t>
            </a:r>
          </a:p>
        </p:txBody>
      </p:sp>
      <p:sp>
        <p:nvSpPr>
          <p:cNvPr id="12" name="Content Placeholder 12"/>
          <p:cNvSpPr txBox="1">
            <a:spLocks/>
          </p:cNvSpPr>
          <p:nvPr/>
        </p:nvSpPr>
        <p:spPr>
          <a:xfrm>
            <a:off x="270701" y="1537096"/>
            <a:ext cx="4900785" cy="1451429"/>
          </a:xfrm>
          <a:prstGeom prst="rect">
            <a:avLst/>
          </a:prstGeom>
        </p:spPr>
        <p:txBody>
          <a:bodyPr lIns="146284" tIns="182828" rIns="182828" bIns="91414">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049">
              <a:lnSpc>
                <a:spcPct val="100000"/>
              </a:lnSpc>
              <a:spcBef>
                <a:spcPts val="0"/>
              </a:spcBef>
              <a:spcAft>
                <a:spcPts val="900"/>
              </a:spcAft>
              <a:buClr>
                <a:srgbClr val="0078D8"/>
              </a:buClr>
              <a:buNone/>
              <a:defRPr/>
            </a:pPr>
            <a:r>
              <a:rPr lang="en-US" sz="1600" dirty="0">
                <a:solidFill>
                  <a:srgbClr val="000000"/>
                </a:solidFill>
                <a:latin typeface="Segoe UI"/>
                <a:ea typeface="Segoe UI" charset="0"/>
                <a:cs typeface="Segoe UI" charset="0"/>
              </a:rPr>
              <a:t>Windows SQL Server Management Studio (SSMS)</a:t>
            </a:r>
          </a:p>
          <a:p>
            <a:pPr marL="0" indent="0" defTabSz="914049">
              <a:lnSpc>
                <a:spcPct val="100000"/>
              </a:lnSpc>
              <a:spcBef>
                <a:spcPts val="0"/>
              </a:spcBef>
              <a:spcAft>
                <a:spcPts val="900"/>
              </a:spcAft>
              <a:buClr>
                <a:srgbClr val="0078D8"/>
              </a:buClr>
              <a:buNone/>
              <a:defRPr/>
            </a:pPr>
            <a:r>
              <a:rPr lang="en-US" sz="1600" dirty="0">
                <a:solidFill>
                  <a:srgbClr val="000000"/>
                </a:solidFill>
                <a:latin typeface="Segoe UI"/>
                <a:ea typeface="Segoe UI" charset="0"/>
                <a:cs typeface="Segoe UI" charset="0"/>
              </a:rPr>
              <a:t>Windows SQL Server Data Tools (SSDT)</a:t>
            </a:r>
          </a:p>
          <a:p>
            <a:pPr marL="0" indent="0" defTabSz="914049">
              <a:lnSpc>
                <a:spcPct val="100000"/>
              </a:lnSpc>
              <a:spcBef>
                <a:spcPts val="0"/>
              </a:spcBef>
              <a:spcAft>
                <a:spcPts val="900"/>
              </a:spcAft>
              <a:buClr>
                <a:srgbClr val="0078D8"/>
              </a:buClr>
              <a:buNone/>
              <a:defRPr/>
            </a:pPr>
            <a:r>
              <a:rPr lang="en-US" sz="1600" dirty="0">
                <a:solidFill>
                  <a:srgbClr val="000000"/>
                </a:solidFill>
                <a:latin typeface="Segoe UI"/>
                <a:ea typeface="Segoe UI" charset="0"/>
                <a:cs typeface="Segoe UI" charset="0"/>
              </a:rPr>
              <a:t>3rd party tools continue to work</a:t>
            </a:r>
          </a:p>
          <a:p>
            <a:pPr marL="0" indent="0" defTabSz="914049">
              <a:lnSpc>
                <a:spcPct val="100000"/>
              </a:lnSpc>
              <a:spcBef>
                <a:spcPts val="0"/>
              </a:spcBef>
              <a:spcAft>
                <a:spcPts val="900"/>
              </a:spcAft>
              <a:buClr>
                <a:srgbClr val="0078D8"/>
              </a:buClr>
              <a:buNone/>
              <a:defRPr/>
            </a:pPr>
            <a:r>
              <a:rPr lang="en-US" sz="1600" dirty="0">
                <a:solidFill>
                  <a:srgbClr val="000000"/>
                </a:solidFill>
                <a:latin typeface="Segoe UI"/>
                <a:ea typeface="Segoe UI" charset="0"/>
                <a:cs typeface="Segoe UI" charset="0"/>
              </a:rPr>
              <a:t>Existing drivers/frameworks supported</a:t>
            </a:r>
          </a:p>
        </p:txBody>
      </p:sp>
      <p:sp>
        <p:nvSpPr>
          <p:cNvPr id="7" name="Title 6">
            <a:extLst>
              <a:ext uri="{FF2B5EF4-FFF2-40B4-BE49-F238E27FC236}">
                <a16:creationId xmlns:a16="http://schemas.microsoft.com/office/drawing/2014/main" id="{B6C15758-2759-1249-86EB-95E395A72BC8}"/>
              </a:ext>
            </a:extLst>
          </p:cNvPr>
          <p:cNvSpPr>
            <a:spLocks noGrp="1"/>
          </p:cNvSpPr>
          <p:nvPr>
            <p:ph type="title"/>
          </p:nvPr>
        </p:nvSpPr>
        <p:spPr>
          <a:xfrm>
            <a:off x="270067" y="253536"/>
            <a:ext cx="11654187" cy="573397"/>
          </a:xfrm>
        </p:spPr>
        <p:txBody>
          <a:bodyPr/>
          <a:lstStyle/>
          <a:p>
            <a:r>
              <a:rPr lang="en-US" dirty="0"/>
              <a:t>SQL Server on Linux</a:t>
            </a:r>
          </a:p>
        </p:txBody>
      </p:sp>
      <p:sp>
        <p:nvSpPr>
          <p:cNvPr id="15" name="Text Placeholder 14">
            <a:extLst>
              <a:ext uri="{FF2B5EF4-FFF2-40B4-BE49-F238E27FC236}">
                <a16:creationId xmlns:a16="http://schemas.microsoft.com/office/drawing/2014/main" id="{1E47C575-2CAE-C14B-8688-E97C18C7961A}"/>
              </a:ext>
            </a:extLst>
          </p:cNvPr>
          <p:cNvSpPr>
            <a:spLocks noGrp="1"/>
          </p:cNvSpPr>
          <p:nvPr>
            <p:ph type="body" sz="quarter" idx="13"/>
          </p:nvPr>
        </p:nvSpPr>
        <p:spPr>
          <a:xfrm>
            <a:off x="269114" y="748111"/>
            <a:ext cx="11653772" cy="433903"/>
          </a:xfrm>
        </p:spPr>
        <p:txBody>
          <a:bodyPr/>
          <a:lstStyle/>
          <a:p>
            <a:r>
              <a:rPr lang="en-US" dirty="0"/>
              <a:t>Tools and programmability</a:t>
            </a:r>
          </a:p>
        </p:txBody>
      </p:sp>
      <p:sp>
        <p:nvSpPr>
          <p:cNvPr id="22" name="Freeform 21">
            <a:extLst>
              <a:ext uri="{FF2B5EF4-FFF2-40B4-BE49-F238E27FC236}">
                <a16:creationId xmlns:a16="http://schemas.microsoft.com/office/drawing/2014/main" id="{89216C8D-048F-D146-9469-EEF8DA124E35}"/>
              </a:ext>
            </a:extLst>
          </p:cNvPr>
          <p:cNvSpPr>
            <a:spLocks noChangeAspect="1" noEditPoints="1"/>
          </p:cNvSpPr>
          <p:nvPr/>
        </p:nvSpPr>
        <p:spPr bwMode="black">
          <a:xfrm>
            <a:off x="454801" y="3594715"/>
            <a:ext cx="365826" cy="364340"/>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chemeClr val="tx2"/>
          </a:solidFill>
          <a:ln>
            <a:noFill/>
          </a:ln>
          <a:extLst/>
        </p:spPr>
        <p:txBody>
          <a:bodyPr vert="horz" wrap="square" lIns="89630" tIns="44814" rIns="89630" bIns="44814" numCol="1" anchor="t" anchorCtr="0" compatLnSpc="1">
            <a:prstTxWarp prst="textNoShape">
              <a:avLst/>
            </a:prstTxWarp>
          </a:bodyPr>
          <a:lstStyle/>
          <a:p>
            <a:pPr defTabSz="914192"/>
            <a:endParaRPr lang="en-US" dirty="0">
              <a:solidFill>
                <a:srgbClr val="FFFFFF"/>
              </a:solidFill>
              <a:latin typeface="Segoe UI"/>
            </a:endParaRPr>
          </a:p>
        </p:txBody>
      </p:sp>
      <p:sp>
        <p:nvSpPr>
          <p:cNvPr id="23" name="Freeform 22">
            <a:extLst>
              <a:ext uri="{FF2B5EF4-FFF2-40B4-BE49-F238E27FC236}">
                <a16:creationId xmlns:a16="http://schemas.microsoft.com/office/drawing/2014/main" id="{A07C8E6D-CB20-184C-A370-E9F698FFB726}"/>
              </a:ext>
            </a:extLst>
          </p:cNvPr>
          <p:cNvSpPr>
            <a:spLocks/>
          </p:cNvSpPr>
          <p:nvPr/>
        </p:nvSpPr>
        <p:spPr bwMode="auto">
          <a:xfrm>
            <a:off x="1822137" y="3509050"/>
            <a:ext cx="364449" cy="450006"/>
          </a:xfrm>
          <a:custGeom>
            <a:avLst/>
            <a:gdLst>
              <a:gd name="connsiteX0" fmla="*/ 129808 w 426363"/>
              <a:gd name="connsiteY0" fmla="*/ 126536 h 526455"/>
              <a:gd name="connsiteX1" fmla="*/ 218389 w 426363"/>
              <a:gd name="connsiteY1" fmla="*/ 149608 h 526455"/>
              <a:gd name="connsiteX2" fmla="*/ 318525 w 426363"/>
              <a:gd name="connsiteY2" fmla="*/ 126536 h 526455"/>
              <a:gd name="connsiteX3" fmla="*/ 414809 w 426363"/>
              <a:gd name="connsiteY3" fmla="*/ 176526 h 526455"/>
              <a:gd name="connsiteX4" fmla="*/ 357039 w 426363"/>
              <a:gd name="connsiteY4" fmla="*/ 276505 h 526455"/>
              <a:gd name="connsiteX5" fmla="*/ 426363 w 426363"/>
              <a:gd name="connsiteY5" fmla="*/ 384176 h 526455"/>
              <a:gd name="connsiteX6" fmla="*/ 391701 w 426363"/>
              <a:gd name="connsiteY6" fmla="*/ 461084 h 526455"/>
              <a:gd name="connsiteX7" fmla="*/ 310822 w 426363"/>
              <a:gd name="connsiteY7" fmla="*/ 522610 h 526455"/>
              <a:gd name="connsiteX8" fmla="*/ 222241 w 426363"/>
              <a:gd name="connsiteY8" fmla="*/ 503383 h 526455"/>
              <a:gd name="connsiteX9" fmla="*/ 137511 w 426363"/>
              <a:gd name="connsiteY9" fmla="*/ 526455 h 526455"/>
              <a:gd name="connsiteX10" fmla="*/ 52780 w 426363"/>
              <a:gd name="connsiteY10" fmla="*/ 457238 h 526455"/>
              <a:gd name="connsiteX11" fmla="*/ 21970 w 426363"/>
              <a:gd name="connsiteY11" fmla="*/ 191907 h 526455"/>
              <a:gd name="connsiteX12" fmla="*/ 129808 w 426363"/>
              <a:gd name="connsiteY12" fmla="*/ 126536 h 526455"/>
              <a:gd name="connsiteX13" fmla="*/ 317672 w 426363"/>
              <a:gd name="connsiteY13" fmla="*/ 0 h 526455"/>
              <a:gd name="connsiteX14" fmla="*/ 290749 w 426363"/>
              <a:gd name="connsiteY14" fmla="*/ 84351 h 526455"/>
              <a:gd name="connsiteX15" fmla="*/ 213827 w 426363"/>
              <a:gd name="connsiteY15" fmla="*/ 118858 h 526455"/>
              <a:gd name="connsiteX16" fmla="*/ 240750 w 426363"/>
              <a:gd name="connsiteY16" fmla="*/ 38341 h 526455"/>
              <a:gd name="connsiteX17" fmla="*/ 317672 w 426363"/>
              <a:gd name="connsiteY17" fmla="*/ 0 h 526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26363" h="526455">
                <a:moveTo>
                  <a:pt x="129808" y="126536"/>
                </a:moveTo>
                <a:cubicBezTo>
                  <a:pt x="164470" y="126536"/>
                  <a:pt x="195281" y="149608"/>
                  <a:pt x="218389" y="149608"/>
                </a:cubicBezTo>
                <a:cubicBezTo>
                  <a:pt x="237646" y="149608"/>
                  <a:pt x="276160" y="122690"/>
                  <a:pt x="318525" y="126536"/>
                </a:cubicBezTo>
                <a:cubicBezTo>
                  <a:pt x="333930" y="126536"/>
                  <a:pt x="383998" y="134226"/>
                  <a:pt x="414809" y="176526"/>
                </a:cubicBezTo>
                <a:cubicBezTo>
                  <a:pt x="410958" y="180371"/>
                  <a:pt x="357039" y="211134"/>
                  <a:pt x="357039" y="276505"/>
                </a:cubicBezTo>
                <a:cubicBezTo>
                  <a:pt x="357039" y="357258"/>
                  <a:pt x="426363" y="384176"/>
                  <a:pt x="426363" y="384176"/>
                </a:cubicBezTo>
                <a:cubicBezTo>
                  <a:pt x="426363" y="388022"/>
                  <a:pt x="418660" y="422630"/>
                  <a:pt x="391701" y="461084"/>
                </a:cubicBezTo>
                <a:cubicBezTo>
                  <a:pt x="368593" y="491847"/>
                  <a:pt x="345484" y="522610"/>
                  <a:pt x="310822" y="522610"/>
                </a:cubicBezTo>
                <a:cubicBezTo>
                  <a:pt x="276160" y="526455"/>
                  <a:pt x="264606" y="503383"/>
                  <a:pt x="222241" y="503383"/>
                </a:cubicBezTo>
                <a:cubicBezTo>
                  <a:pt x="183727" y="503383"/>
                  <a:pt x="172173" y="522610"/>
                  <a:pt x="137511" y="526455"/>
                </a:cubicBezTo>
                <a:cubicBezTo>
                  <a:pt x="102848" y="526455"/>
                  <a:pt x="75889" y="491847"/>
                  <a:pt x="52780" y="457238"/>
                </a:cubicBezTo>
                <a:cubicBezTo>
                  <a:pt x="10415" y="391867"/>
                  <a:pt x="-24247" y="272660"/>
                  <a:pt x="21970" y="191907"/>
                </a:cubicBezTo>
                <a:cubicBezTo>
                  <a:pt x="45078" y="153453"/>
                  <a:pt x="83591" y="126536"/>
                  <a:pt x="129808" y="126536"/>
                </a:cubicBezTo>
                <a:close/>
                <a:moveTo>
                  <a:pt x="317672" y="0"/>
                </a:moveTo>
                <a:cubicBezTo>
                  <a:pt x="321518" y="30673"/>
                  <a:pt x="309980" y="61346"/>
                  <a:pt x="290749" y="84351"/>
                </a:cubicBezTo>
                <a:cubicBezTo>
                  <a:pt x="271519" y="103521"/>
                  <a:pt x="240750" y="122692"/>
                  <a:pt x="213827" y="118858"/>
                </a:cubicBezTo>
                <a:cubicBezTo>
                  <a:pt x="209981" y="88185"/>
                  <a:pt x="221519" y="57512"/>
                  <a:pt x="240750" y="38341"/>
                </a:cubicBezTo>
                <a:cubicBezTo>
                  <a:pt x="259980" y="15336"/>
                  <a:pt x="290749" y="0"/>
                  <a:pt x="317672" y="0"/>
                </a:cubicBezTo>
                <a:close/>
              </a:path>
            </a:pathLst>
          </a:custGeom>
          <a:solidFill>
            <a:schemeClr val="tx2"/>
          </a:solidFill>
          <a:ln>
            <a:noFill/>
          </a:ln>
          <a:extLst/>
        </p:spPr>
        <p:txBody>
          <a:bodyPr vert="horz" wrap="square" lIns="91427" tIns="45713" rIns="91427" bIns="45713" numCol="1" anchor="t" anchorCtr="0" compatLnSpc="1">
            <a:prstTxWarp prst="textNoShape">
              <a:avLst/>
            </a:prstTxWarp>
            <a:noAutofit/>
          </a:bodyPr>
          <a:lstStyle/>
          <a:p>
            <a:pPr defTabSz="914192"/>
            <a:endParaRPr lang="en-US" dirty="0">
              <a:solidFill>
                <a:srgbClr val="505050"/>
              </a:solidFill>
              <a:latin typeface="Segoe UI"/>
            </a:endParaRPr>
          </a:p>
        </p:txBody>
      </p:sp>
      <p:sp>
        <p:nvSpPr>
          <p:cNvPr id="24" name="Freeform 7">
            <a:extLst>
              <a:ext uri="{FF2B5EF4-FFF2-40B4-BE49-F238E27FC236}">
                <a16:creationId xmlns:a16="http://schemas.microsoft.com/office/drawing/2014/main" id="{C16B8289-D981-4A48-8E5A-FCAB91E58695}"/>
              </a:ext>
            </a:extLst>
          </p:cNvPr>
          <p:cNvSpPr>
            <a:spLocks noEditPoints="1"/>
          </p:cNvSpPr>
          <p:nvPr/>
        </p:nvSpPr>
        <p:spPr bwMode="auto">
          <a:xfrm>
            <a:off x="1128944" y="3509050"/>
            <a:ext cx="384879" cy="450006"/>
          </a:xfrm>
          <a:custGeom>
            <a:avLst/>
            <a:gdLst>
              <a:gd name="T0" fmla="*/ 956 w 1034"/>
              <a:gd name="T1" fmla="*/ 931 h 1208"/>
              <a:gd name="T2" fmla="*/ 903 w 1034"/>
              <a:gd name="T3" fmla="*/ 837 h 1208"/>
              <a:gd name="T4" fmla="*/ 762 w 1034"/>
              <a:gd name="T5" fmla="*/ 437 h 1208"/>
              <a:gd name="T6" fmla="*/ 623 w 1034"/>
              <a:gd name="T7" fmla="*/ 35 h 1208"/>
              <a:gd name="T8" fmla="*/ 356 w 1034"/>
              <a:gd name="T9" fmla="*/ 386 h 1208"/>
              <a:gd name="T10" fmla="*/ 221 w 1034"/>
              <a:gd name="T11" fmla="*/ 622 h 1208"/>
              <a:gd name="T12" fmla="*/ 151 w 1034"/>
              <a:gd name="T13" fmla="*/ 820 h 1208"/>
              <a:gd name="T14" fmla="*/ 85 w 1034"/>
              <a:gd name="T15" fmla="*/ 867 h 1208"/>
              <a:gd name="T16" fmla="*/ 18 w 1034"/>
              <a:gd name="T17" fmla="*/ 1031 h 1208"/>
              <a:gd name="T18" fmla="*/ 28 w 1034"/>
              <a:gd name="T19" fmla="*/ 1124 h 1208"/>
              <a:gd name="T20" fmla="*/ 313 w 1034"/>
              <a:gd name="T21" fmla="*/ 1207 h 1208"/>
              <a:gd name="T22" fmla="*/ 471 w 1034"/>
              <a:gd name="T23" fmla="*/ 1119 h 1208"/>
              <a:gd name="T24" fmla="*/ 664 w 1034"/>
              <a:gd name="T25" fmla="*/ 1167 h 1208"/>
              <a:gd name="T26" fmla="*/ 899 w 1034"/>
              <a:gd name="T27" fmla="*/ 1119 h 1208"/>
              <a:gd name="T28" fmla="*/ 773 w 1034"/>
              <a:gd name="T29" fmla="*/ 587 h 1208"/>
              <a:gd name="T30" fmla="*/ 856 w 1034"/>
              <a:gd name="T31" fmla="*/ 806 h 1208"/>
              <a:gd name="T32" fmla="*/ 783 w 1034"/>
              <a:gd name="T33" fmla="*/ 812 h 1208"/>
              <a:gd name="T34" fmla="*/ 815 w 1034"/>
              <a:gd name="T35" fmla="*/ 670 h 1208"/>
              <a:gd name="T36" fmla="*/ 617 w 1034"/>
              <a:gd name="T37" fmla="*/ 187 h 1208"/>
              <a:gd name="T38" fmla="*/ 566 w 1034"/>
              <a:gd name="T39" fmla="*/ 170 h 1208"/>
              <a:gd name="T40" fmla="*/ 569 w 1034"/>
              <a:gd name="T41" fmla="*/ 288 h 1208"/>
              <a:gd name="T42" fmla="*/ 547 w 1034"/>
              <a:gd name="T43" fmla="*/ 216 h 1208"/>
              <a:gd name="T44" fmla="*/ 512 w 1034"/>
              <a:gd name="T45" fmla="*/ 254 h 1208"/>
              <a:gd name="T46" fmla="*/ 584 w 1034"/>
              <a:gd name="T47" fmla="*/ 248 h 1208"/>
              <a:gd name="T48" fmla="*/ 424 w 1034"/>
              <a:gd name="T49" fmla="*/ 156 h 1208"/>
              <a:gd name="T50" fmla="*/ 407 w 1034"/>
              <a:gd name="T51" fmla="*/ 153 h 1208"/>
              <a:gd name="T52" fmla="*/ 457 w 1034"/>
              <a:gd name="T53" fmla="*/ 249 h 1208"/>
              <a:gd name="T54" fmla="*/ 393 w 1034"/>
              <a:gd name="T55" fmla="*/ 225 h 1208"/>
              <a:gd name="T56" fmla="*/ 391 w 1034"/>
              <a:gd name="T57" fmla="*/ 301 h 1208"/>
              <a:gd name="T58" fmla="*/ 413 w 1034"/>
              <a:gd name="T59" fmla="*/ 225 h 1208"/>
              <a:gd name="T60" fmla="*/ 374 w 1034"/>
              <a:gd name="T61" fmla="*/ 330 h 1208"/>
              <a:gd name="T62" fmla="*/ 589 w 1034"/>
              <a:gd name="T63" fmla="*/ 298 h 1208"/>
              <a:gd name="T64" fmla="*/ 613 w 1034"/>
              <a:gd name="T65" fmla="*/ 346 h 1208"/>
              <a:gd name="T66" fmla="*/ 435 w 1034"/>
              <a:gd name="T67" fmla="*/ 416 h 1208"/>
              <a:gd name="T68" fmla="*/ 486 w 1034"/>
              <a:gd name="T69" fmla="*/ 387 h 1208"/>
              <a:gd name="T70" fmla="*/ 593 w 1034"/>
              <a:gd name="T71" fmla="*/ 331 h 1208"/>
              <a:gd name="T72" fmla="*/ 584 w 1034"/>
              <a:gd name="T73" fmla="*/ 322 h 1208"/>
              <a:gd name="T74" fmla="*/ 410 w 1034"/>
              <a:gd name="T75" fmla="*/ 370 h 1208"/>
              <a:gd name="T76" fmla="*/ 372 w 1034"/>
              <a:gd name="T77" fmla="*/ 352 h 1208"/>
              <a:gd name="T78" fmla="*/ 245 w 1034"/>
              <a:gd name="T79" fmla="*/ 1165 h 1208"/>
              <a:gd name="T80" fmla="*/ 34 w 1034"/>
              <a:gd name="T81" fmla="*/ 1034 h 1208"/>
              <a:gd name="T82" fmla="*/ 108 w 1034"/>
              <a:gd name="T83" fmla="*/ 878 h 1208"/>
              <a:gd name="T84" fmla="*/ 220 w 1034"/>
              <a:gd name="T85" fmla="*/ 819 h 1208"/>
              <a:gd name="T86" fmla="*/ 584 w 1034"/>
              <a:gd name="T87" fmla="*/ 1049 h 1208"/>
              <a:gd name="T88" fmla="*/ 260 w 1034"/>
              <a:gd name="T89" fmla="*/ 845 h 1208"/>
              <a:gd name="T90" fmla="*/ 273 w 1034"/>
              <a:gd name="T91" fmla="*/ 598 h 1208"/>
              <a:gd name="T92" fmla="*/ 250 w 1034"/>
              <a:gd name="T93" fmla="*/ 769 h 1208"/>
              <a:gd name="T94" fmla="*/ 390 w 1034"/>
              <a:gd name="T95" fmla="*/ 382 h 1208"/>
              <a:gd name="T96" fmla="*/ 503 w 1034"/>
              <a:gd name="T97" fmla="*/ 431 h 1208"/>
              <a:gd name="T98" fmla="*/ 603 w 1034"/>
              <a:gd name="T99" fmla="*/ 381 h 1208"/>
              <a:gd name="T100" fmla="*/ 722 w 1034"/>
              <a:gd name="T101" fmla="*/ 607 h 1208"/>
              <a:gd name="T102" fmla="*/ 685 w 1034"/>
              <a:gd name="T103" fmla="*/ 830 h 1208"/>
              <a:gd name="T104" fmla="*/ 1003 w 1034"/>
              <a:gd name="T105" fmla="*/ 1035 h 1208"/>
              <a:gd name="T106" fmla="*/ 678 w 1034"/>
              <a:gd name="T107" fmla="*/ 1154 h 1208"/>
              <a:gd name="T108" fmla="*/ 712 w 1034"/>
              <a:gd name="T109" fmla="*/ 832 h 1208"/>
              <a:gd name="T110" fmla="*/ 914 w 1034"/>
              <a:gd name="T111" fmla="*/ 856 h 1208"/>
              <a:gd name="T112" fmla="*/ 1002 w 1034"/>
              <a:gd name="T113" fmla="*/ 986 h 1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34" h="1208">
                <a:moveTo>
                  <a:pt x="1026" y="993"/>
                </a:moveTo>
                <a:cubicBezTo>
                  <a:pt x="1022" y="986"/>
                  <a:pt x="1016" y="981"/>
                  <a:pt x="1012" y="978"/>
                </a:cubicBezTo>
                <a:cubicBezTo>
                  <a:pt x="1009" y="975"/>
                  <a:pt x="1006" y="973"/>
                  <a:pt x="1003" y="972"/>
                </a:cubicBezTo>
                <a:cubicBezTo>
                  <a:pt x="1002" y="971"/>
                  <a:pt x="1001" y="970"/>
                  <a:pt x="1000" y="969"/>
                </a:cubicBezTo>
                <a:cubicBezTo>
                  <a:pt x="996" y="966"/>
                  <a:pt x="992" y="963"/>
                  <a:pt x="988" y="960"/>
                </a:cubicBezTo>
                <a:cubicBezTo>
                  <a:pt x="984" y="957"/>
                  <a:pt x="980" y="953"/>
                  <a:pt x="976" y="950"/>
                </a:cubicBezTo>
                <a:cubicBezTo>
                  <a:pt x="966" y="943"/>
                  <a:pt x="960" y="937"/>
                  <a:pt x="956" y="931"/>
                </a:cubicBezTo>
                <a:cubicBezTo>
                  <a:pt x="956" y="931"/>
                  <a:pt x="955" y="931"/>
                  <a:pt x="955" y="930"/>
                </a:cubicBezTo>
                <a:cubicBezTo>
                  <a:pt x="948" y="923"/>
                  <a:pt x="945" y="917"/>
                  <a:pt x="944" y="910"/>
                </a:cubicBezTo>
                <a:cubicBezTo>
                  <a:pt x="943" y="906"/>
                  <a:pt x="943" y="901"/>
                  <a:pt x="943" y="894"/>
                </a:cubicBezTo>
                <a:cubicBezTo>
                  <a:pt x="943" y="893"/>
                  <a:pt x="943" y="892"/>
                  <a:pt x="943" y="892"/>
                </a:cubicBezTo>
                <a:cubicBezTo>
                  <a:pt x="942" y="884"/>
                  <a:pt x="941" y="876"/>
                  <a:pt x="937" y="867"/>
                </a:cubicBezTo>
                <a:cubicBezTo>
                  <a:pt x="934" y="862"/>
                  <a:pt x="931" y="856"/>
                  <a:pt x="925" y="850"/>
                </a:cubicBezTo>
                <a:cubicBezTo>
                  <a:pt x="919" y="843"/>
                  <a:pt x="909" y="839"/>
                  <a:pt x="903" y="837"/>
                </a:cubicBezTo>
                <a:cubicBezTo>
                  <a:pt x="903" y="837"/>
                  <a:pt x="903" y="837"/>
                  <a:pt x="902" y="837"/>
                </a:cubicBezTo>
                <a:cubicBezTo>
                  <a:pt x="908" y="826"/>
                  <a:pt x="911" y="814"/>
                  <a:pt x="914" y="803"/>
                </a:cubicBezTo>
                <a:cubicBezTo>
                  <a:pt x="919" y="776"/>
                  <a:pt x="916" y="747"/>
                  <a:pt x="911" y="720"/>
                </a:cubicBezTo>
                <a:cubicBezTo>
                  <a:pt x="905" y="682"/>
                  <a:pt x="894" y="646"/>
                  <a:pt x="880" y="610"/>
                </a:cubicBezTo>
                <a:cubicBezTo>
                  <a:pt x="869" y="584"/>
                  <a:pt x="857" y="558"/>
                  <a:pt x="841" y="536"/>
                </a:cubicBezTo>
                <a:cubicBezTo>
                  <a:pt x="824" y="514"/>
                  <a:pt x="803" y="496"/>
                  <a:pt x="787" y="473"/>
                </a:cubicBezTo>
                <a:cubicBezTo>
                  <a:pt x="778" y="461"/>
                  <a:pt x="771" y="449"/>
                  <a:pt x="762" y="437"/>
                </a:cubicBezTo>
                <a:cubicBezTo>
                  <a:pt x="759" y="430"/>
                  <a:pt x="755" y="422"/>
                  <a:pt x="752" y="415"/>
                </a:cubicBezTo>
                <a:cubicBezTo>
                  <a:pt x="741" y="392"/>
                  <a:pt x="732" y="369"/>
                  <a:pt x="719" y="346"/>
                </a:cubicBezTo>
                <a:cubicBezTo>
                  <a:pt x="717" y="343"/>
                  <a:pt x="715" y="339"/>
                  <a:pt x="713" y="336"/>
                </a:cubicBezTo>
                <a:cubicBezTo>
                  <a:pt x="711" y="315"/>
                  <a:pt x="709" y="294"/>
                  <a:pt x="708" y="273"/>
                </a:cubicBezTo>
                <a:cubicBezTo>
                  <a:pt x="706" y="230"/>
                  <a:pt x="708" y="186"/>
                  <a:pt x="697" y="145"/>
                </a:cubicBezTo>
                <a:cubicBezTo>
                  <a:pt x="692" y="125"/>
                  <a:pt x="683" y="106"/>
                  <a:pt x="672" y="89"/>
                </a:cubicBezTo>
                <a:cubicBezTo>
                  <a:pt x="659" y="68"/>
                  <a:pt x="642" y="50"/>
                  <a:pt x="623" y="35"/>
                </a:cubicBezTo>
                <a:cubicBezTo>
                  <a:pt x="591" y="12"/>
                  <a:pt x="552" y="1"/>
                  <a:pt x="513" y="0"/>
                </a:cubicBezTo>
                <a:cubicBezTo>
                  <a:pt x="485" y="0"/>
                  <a:pt x="456" y="6"/>
                  <a:pt x="430" y="19"/>
                </a:cubicBezTo>
                <a:cubicBezTo>
                  <a:pt x="403" y="34"/>
                  <a:pt x="382" y="57"/>
                  <a:pt x="368" y="84"/>
                </a:cubicBezTo>
                <a:cubicBezTo>
                  <a:pt x="354" y="112"/>
                  <a:pt x="349" y="142"/>
                  <a:pt x="348" y="173"/>
                </a:cubicBezTo>
                <a:cubicBezTo>
                  <a:pt x="347" y="203"/>
                  <a:pt x="350" y="233"/>
                  <a:pt x="351" y="262"/>
                </a:cubicBezTo>
                <a:cubicBezTo>
                  <a:pt x="352" y="294"/>
                  <a:pt x="352" y="325"/>
                  <a:pt x="354" y="356"/>
                </a:cubicBezTo>
                <a:cubicBezTo>
                  <a:pt x="355" y="366"/>
                  <a:pt x="356" y="376"/>
                  <a:pt x="356" y="386"/>
                </a:cubicBezTo>
                <a:cubicBezTo>
                  <a:pt x="356" y="391"/>
                  <a:pt x="356" y="395"/>
                  <a:pt x="356" y="400"/>
                </a:cubicBezTo>
                <a:cubicBezTo>
                  <a:pt x="356" y="401"/>
                  <a:pt x="355" y="401"/>
                  <a:pt x="355" y="402"/>
                </a:cubicBezTo>
                <a:cubicBezTo>
                  <a:pt x="351" y="412"/>
                  <a:pt x="346" y="421"/>
                  <a:pt x="341" y="430"/>
                </a:cubicBezTo>
                <a:cubicBezTo>
                  <a:pt x="331" y="443"/>
                  <a:pt x="321" y="455"/>
                  <a:pt x="311" y="468"/>
                </a:cubicBezTo>
                <a:cubicBezTo>
                  <a:pt x="299" y="482"/>
                  <a:pt x="288" y="497"/>
                  <a:pt x="276" y="511"/>
                </a:cubicBezTo>
                <a:cubicBezTo>
                  <a:pt x="262" y="529"/>
                  <a:pt x="248" y="546"/>
                  <a:pt x="239" y="567"/>
                </a:cubicBezTo>
                <a:cubicBezTo>
                  <a:pt x="231" y="584"/>
                  <a:pt x="227" y="604"/>
                  <a:pt x="221" y="622"/>
                </a:cubicBezTo>
                <a:cubicBezTo>
                  <a:pt x="215" y="643"/>
                  <a:pt x="207" y="664"/>
                  <a:pt x="198" y="683"/>
                </a:cubicBezTo>
                <a:cubicBezTo>
                  <a:pt x="189" y="702"/>
                  <a:pt x="179" y="720"/>
                  <a:pt x="170" y="738"/>
                </a:cubicBezTo>
                <a:cubicBezTo>
                  <a:pt x="163" y="751"/>
                  <a:pt x="156" y="764"/>
                  <a:pt x="153" y="778"/>
                </a:cubicBezTo>
                <a:cubicBezTo>
                  <a:pt x="151" y="790"/>
                  <a:pt x="153" y="802"/>
                  <a:pt x="156" y="813"/>
                </a:cubicBezTo>
                <a:cubicBezTo>
                  <a:pt x="156" y="813"/>
                  <a:pt x="156" y="814"/>
                  <a:pt x="156" y="814"/>
                </a:cubicBezTo>
                <a:cubicBezTo>
                  <a:pt x="155" y="816"/>
                  <a:pt x="153" y="817"/>
                  <a:pt x="152" y="819"/>
                </a:cubicBezTo>
                <a:cubicBezTo>
                  <a:pt x="151" y="819"/>
                  <a:pt x="151" y="820"/>
                  <a:pt x="151" y="820"/>
                </a:cubicBezTo>
                <a:cubicBezTo>
                  <a:pt x="147" y="824"/>
                  <a:pt x="142" y="831"/>
                  <a:pt x="138" y="840"/>
                </a:cubicBezTo>
                <a:cubicBezTo>
                  <a:pt x="135" y="845"/>
                  <a:pt x="132" y="850"/>
                  <a:pt x="130" y="854"/>
                </a:cubicBezTo>
                <a:cubicBezTo>
                  <a:pt x="126" y="858"/>
                  <a:pt x="123" y="861"/>
                  <a:pt x="119" y="864"/>
                </a:cubicBezTo>
                <a:cubicBezTo>
                  <a:pt x="115" y="866"/>
                  <a:pt x="111" y="867"/>
                  <a:pt x="107" y="867"/>
                </a:cubicBezTo>
                <a:cubicBezTo>
                  <a:pt x="106" y="867"/>
                  <a:pt x="106" y="867"/>
                  <a:pt x="105" y="867"/>
                </a:cubicBezTo>
                <a:cubicBezTo>
                  <a:pt x="101" y="868"/>
                  <a:pt x="97" y="867"/>
                  <a:pt x="93" y="867"/>
                </a:cubicBezTo>
                <a:cubicBezTo>
                  <a:pt x="90" y="867"/>
                  <a:pt x="88" y="867"/>
                  <a:pt x="85" y="867"/>
                </a:cubicBezTo>
                <a:cubicBezTo>
                  <a:pt x="78" y="867"/>
                  <a:pt x="69" y="867"/>
                  <a:pt x="61" y="869"/>
                </a:cubicBezTo>
                <a:cubicBezTo>
                  <a:pt x="50" y="871"/>
                  <a:pt x="41" y="876"/>
                  <a:pt x="34" y="883"/>
                </a:cubicBezTo>
                <a:cubicBezTo>
                  <a:pt x="26" y="890"/>
                  <a:pt x="21" y="900"/>
                  <a:pt x="19" y="911"/>
                </a:cubicBezTo>
                <a:cubicBezTo>
                  <a:pt x="17" y="919"/>
                  <a:pt x="17" y="928"/>
                  <a:pt x="18" y="938"/>
                </a:cubicBezTo>
                <a:cubicBezTo>
                  <a:pt x="19" y="947"/>
                  <a:pt x="20" y="956"/>
                  <a:pt x="21" y="964"/>
                </a:cubicBezTo>
                <a:cubicBezTo>
                  <a:pt x="22" y="973"/>
                  <a:pt x="23" y="981"/>
                  <a:pt x="23" y="989"/>
                </a:cubicBezTo>
                <a:cubicBezTo>
                  <a:pt x="24" y="1007"/>
                  <a:pt x="22" y="1021"/>
                  <a:pt x="18" y="1031"/>
                </a:cubicBezTo>
                <a:cubicBezTo>
                  <a:pt x="17" y="1032"/>
                  <a:pt x="17" y="1032"/>
                  <a:pt x="17" y="1032"/>
                </a:cubicBezTo>
                <a:cubicBezTo>
                  <a:pt x="16" y="1036"/>
                  <a:pt x="14" y="1039"/>
                  <a:pt x="12" y="1043"/>
                </a:cubicBezTo>
                <a:cubicBezTo>
                  <a:pt x="9" y="1049"/>
                  <a:pt x="6" y="1055"/>
                  <a:pt x="4" y="1062"/>
                </a:cubicBezTo>
                <a:cubicBezTo>
                  <a:pt x="1" y="1068"/>
                  <a:pt x="0" y="1075"/>
                  <a:pt x="0" y="1082"/>
                </a:cubicBezTo>
                <a:cubicBezTo>
                  <a:pt x="0" y="1086"/>
                  <a:pt x="0" y="1096"/>
                  <a:pt x="5" y="1104"/>
                </a:cubicBezTo>
                <a:cubicBezTo>
                  <a:pt x="5" y="1105"/>
                  <a:pt x="5" y="1105"/>
                  <a:pt x="6" y="1106"/>
                </a:cubicBezTo>
                <a:cubicBezTo>
                  <a:pt x="11" y="1113"/>
                  <a:pt x="18" y="1119"/>
                  <a:pt x="28" y="1124"/>
                </a:cubicBezTo>
                <a:cubicBezTo>
                  <a:pt x="35" y="1128"/>
                  <a:pt x="43" y="1130"/>
                  <a:pt x="52" y="1132"/>
                </a:cubicBezTo>
                <a:cubicBezTo>
                  <a:pt x="57" y="1133"/>
                  <a:pt x="63" y="1135"/>
                  <a:pt x="69" y="1137"/>
                </a:cubicBezTo>
                <a:cubicBezTo>
                  <a:pt x="78" y="1140"/>
                  <a:pt x="86" y="1143"/>
                  <a:pt x="95" y="1145"/>
                </a:cubicBezTo>
                <a:cubicBezTo>
                  <a:pt x="114" y="1151"/>
                  <a:pt x="134" y="1156"/>
                  <a:pt x="154" y="1160"/>
                </a:cubicBezTo>
                <a:cubicBezTo>
                  <a:pt x="183" y="1166"/>
                  <a:pt x="211" y="1173"/>
                  <a:pt x="238" y="1183"/>
                </a:cubicBezTo>
                <a:cubicBezTo>
                  <a:pt x="244" y="1185"/>
                  <a:pt x="249" y="1187"/>
                  <a:pt x="255" y="1190"/>
                </a:cubicBezTo>
                <a:cubicBezTo>
                  <a:pt x="273" y="1198"/>
                  <a:pt x="292" y="1206"/>
                  <a:pt x="313" y="1207"/>
                </a:cubicBezTo>
                <a:cubicBezTo>
                  <a:pt x="314" y="1207"/>
                  <a:pt x="314" y="1207"/>
                  <a:pt x="314" y="1207"/>
                </a:cubicBezTo>
                <a:cubicBezTo>
                  <a:pt x="333" y="1207"/>
                  <a:pt x="351" y="1202"/>
                  <a:pt x="366" y="1193"/>
                </a:cubicBezTo>
                <a:cubicBezTo>
                  <a:pt x="382" y="1183"/>
                  <a:pt x="395" y="1170"/>
                  <a:pt x="404" y="1154"/>
                </a:cubicBezTo>
                <a:cubicBezTo>
                  <a:pt x="404" y="1154"/>
                  <a:pt x="404" y="1154"/>
                  <a:pt x="404" y="1153"/>
                </a:cubicBezTo>
                <a:cubicBezTo>
                  <a:pt x="409" y="1145"/>
                  <a:pt x="412" y="1135"/>
                  <a:pt x="414" y="1125"/>
                </a:cubicBezTo>
                <a:cubicBezTo>
                  <a:pt x="428" y="1122"/>
                  <a:pt x="442" y="1120"/>
                  <a:pt x="457" y="1119"/>
                </a:cubicBezTo>
                <a:cubicBezTo>
                  <a:pt x="461" y="1119"/>
                  <a:pt x="466" y="1119"/>
                  <a:pt x="471" y="1119"/>
                </a:cubicBezTo>
                <a:cubicBezTo>
                  <a:pt x="483" y="1120"/>
                  <a:pt x="496" y="1120"/>
                  <a:pt x="508" y="1120"/>
                </a:cubicBezTo>
                <a:cubicBezTo>
                  <a:pt x="509" y="1120"/>
                  <a:pt x="510" y="1120"/>
                  <a:pt x="511" y="1120"/>
                </a:cubicBezTo>
                <a:cubicBezTo>
                  <a:pt x="515" y="1120"/>
                  <a:pt x="518" y="1120"/>
                  <a:pt x="522" y="1121"/>
                </a:cubicBezTo>
                <a:cubicBezTo>
                  <a:pt x="544" y="1122"/>
                  <a:pt x="566" y="1124"/>
                  <a:pt x="588" y="1127"/>
                </a:cubicBezTo>
                <a:cubicBezTo>
                  <a:pt x="607" y="1130"/>
                  <a:pt x="626" y="1134"/>
                  <a:pt x="645" y="1139"/>
                </a:cubicBezTo>
                <a:cubicBezTo>
                  <a:pt x="648" y="1140"/>
                  <a:pt x="651" y="1140"/>
                  <a:pt x="654" y="1141"/>
                </a:cubicBezTo>
                <a:cubicBezTo>
                  <a:pt x="655" y="1150"/>
                  <a:pt x="658" y="1159"/>
                  <a:pt x="664" y="1167"/>
                </a:cubicBezTo>
                <a:cubicBezTo>
                  <a:pt x="674" y="1183"/>
                  <a:pt x="691" y="1192"/>
                  <a:pt x="703" y="1197"/>
                </a:cubicBezTo>
                <a:cubicBezTo>
                  <a:pt x="720" y="1204"/>
                  <a:pt x="737" y="1208"/>
                  <a:pt x="753" y="1208"/>
                </a:cubicBezTo>
                <a:cubicBezTo>
                  <a:pt x="758" y="1208"/>
                  <a:pt x="763" y="1208"/>
                  <a:pt x="768" y="1207"/>
                </a:cubicBezTo>
                <a:cubicBezTo>
                  <a:pt x="786" y="1205"/>
                  <a:pt x="803" y="1197"/>
                  <a:pt x="821" y="1185"/>
                </a:cubicBezTo>
                <a:cubicBezTo>
                  <a:pt x="830" y="1177"/>
                  <a:pt x="840" y="1169"/>
                  <a:pt x="848" y="1161"/>
                </a:cubicBezTo>
                <a:cubicBezTo>
                  <a:pt x="851" y="1158"/>
                  <a:pt x="854" y="1155"/>
                  <a:pt x="857" y="1153"/>
                </a:cubicBezTo>
                <a:cubicBezTo>
                  <a:pt x="869" y="1142"/>
                  <a:pt x="883" y="1129"/>
                  <a:pt x="899" y="1119"/>
                </a:cubicBezTo>
                <a:cubicBezTo>
                  <a:pt x="914" y="1110"/>
                  <a:pt x="930" y="1102"/>
                  <a:pt x="947" y="1093"/>
                </a:cubicBezTo>
                <a:cubicBezTo>
                  <a:pt x="955" y="1089"/>
                  <a:pt x="963" y="1085"/>
                  <a:pt x="971" y="1081"/>
                </a:cubicBezTo>
                <a:cubicBezTo>
                  <a:pt x="986" y="1074"/>
                  <a:pt x="1003" y="1065"/>
                  <a:pt x="1016" y="1049"/>
                </a:cubicBezTo>
                <a:cubicBezTo>
                  <a:pt x="1022" y="1042"/>
                  <a:pt x="1026" y="1035"/>
                  <a:pt x="1030" y="1026"/>
                </a:cubicBezTo>
                <a:cubicBezTo>
                  <a:pt x="1030" y="1026"/>
                  <a:pt x="1030" y="1025"/>
                  <a:pt x="1030" y="1025"/>
                </a:cubicBezTo>
                <a:cubicBezTo>
                  <a:pt x="1034" y="1014"/>
                  <a:pt x="1032" y="1003"/>
                  <a:pt x="1026" y="993"/>
                </a:cubicBezTo>
                <a:close/>
                <a:moveTo>
                  <a:pt x="773" y="587"/>
                </a:moveTo>
                <a:cubicBezTo>
                  <a:pt x="799" y="606"/>
                  <a:pt x="817" y="635"/>
                  <a:pt x="822" y="667"/>
                </a:cubicBezTo>
                <a:cubicBezTo>
                  <a:pt x="827" y="692"/>
                  <a:pt x="827" y="713"/>
                  <a:pt x="820" y="742"/>
                </a:cubicBezTo>
                <a:cubicBezTo>
                  <a:pt x="815" y="761"/>
                  <a:pt x="808" y="779"/>
                  <a:pt x="801" y="798"/>
                </a:cubicBezTo>
                <a:cubicBezTo>
                  <a:pt x="808" y="798"/>
                  <a:pt x="814" y="798"/>
                  <a:pt x="821" y="799"/>
                </a:cubicBezTo>
                <a:cubicBezTo>
                  <a:pt x="828" y="801"/>
                  <a:pt x="835" y="802"/>
                  <a:pt x="842" y="803"/>
                </a:cubicBezTo>
                <a:cubicBezTo>
                  <a:pt x="844" y="803"/>
                  <a:pt x="846" y="804"/>
                  <a:pt x="848" y="804"/>
                </a:cubicBezTo>
                <a:cubicBezTo>
                  <a:pt x="851" y="805"/>
                  <a:pt x="853" y="805"/>
                  <a:pt x="856" y="806"/>
                </a:cubicBezTo>
                <a:cubicBezTo>
                  <a:pt x="851" y="805"/>
                  <a:pt x="846" y="805"/>
                  <a:pt x="842" y="805"/>
                </a:cubicBezTo>
                <a:cubicBezTo>
                  <a:pt x="836" y="805"/>
                  <a:pt x="831" y="805"/>
                  <a:pt x="826" y="805"/>
                </a:cubicBezTo>
                <a:cubicBezTo>
                  <a:pt x="820" y="805"/>
                  <a:pt x="814" y="805"/>
                  <a:pt x="808" y="806"/>
                </a:cubicBezTo>
                <a:cubicBezTo>
                  <a:pt x="804" y="806"/>
                  <a:pt x="801" y="807"/>
                  <a:pt x="797" y="807"/>
                </a:cubicBezTo>
                <a:cubicBezTo>
                  <a:pt x="795" y="808"/>
                  <a:pt x="792" y="808"/>
                  <a:pt x="790" y="809"/>
                </a:cubicBezTo>
                <a:cubicBezTo>
                  <a:pt x="790" y="810"/>
                  <a:pt x="790" y="810"/>
                  <a:pt x="790" y="809"/>
                </a:cubicBezTo>
                <a:cubicBezTo>
                  <a:pt x="788" y="810"/>
                  <a:pt x="785" y="811"/>
                  <a:pt x="783" y="812"/>
                </a:cubicBezTo>
                <a:cubicBezTo>
                  <a:pt x="776" y="815"/>
                  <a:pt x="771" y="819"/>
                  <a:pt x="765" y="823"/>
                </a:cubicBezTo>
                <a:cubicBezTo>
                  <a:pt x="764" y="824"/>
                  <a:pt x="762" y="824"/>
                  <a:pt x="761" y="825"/>
                </a:cubicBezTo>
                <a:cubicBezTo>
                  <a:pt x="764" y="820"/>
                  <a:pt x="768" y="814"/>
                  <a:pt x="773" y="810"/>
                </a:cubicBezTo>
                <a:cubicBezTo>
                  <a:pt x="779" y="804"/>
                  <a:pt x="786" y="800"/>
                  <a:pt x="794" y="799"/>
                </a:cubicBezTo>
                <a:cubicBezTo>
                  <a:pt x="794" y="799"/>
                  <a:pt x="794" y="799"/>
                  <a:pt x="794" y="799"/>
                </a:cubicBezTo>
                <a:cubicBezTo>
                  <a:pt x="800" y="781"/>
                  <a:pt x="806" y="762"/>
                  <a:pt x="811" y="743"/>
                </a:cubicBezTo>
                <a:cubicBezTo>
                  <a:pt x="816" y="719"/>
                  <a:pt x="819" y="694"/>
                  <a:pt x="815" y="670"/>
                </a:cubicBezTo>
                <a:cubicBezTo>
                  <a:pt x="810" y="640"/>
                  <a:pt x="795" y="610"/>
                  <a:pt x="770" y="590"/>
                </a:cubicBezTo>
                <a:cubicBezTo>
                  <a:pt x="757" y="579"/>
                  <a:pt x="740" y="571"/>
                  <a:pt x="726" y="560"/>
                </a:cubicBezTo>
                <a:cubicBezTo>
                  <a:pt x="742" y="569"/>
                  <a:pt x="758" y="576"/>
                  <a:pt x="773" y="587"/>
                </a:cubicBezTo>
                <a:close/>
                <a:moveTo>
                  <a:pt x="575" y="143"/>
                </a:moveTo>
                <a:cubicBezTo>
                  <a:pt x="581" y="143"/>
                  <a:pt x="586" y="143"/>
                  <a:pt x="592" y="147"/>
                </a:cubicBezTo>
                <a:cubicBezTo>
                  <a:pt x="605" y="156"/>
                  <a:pt x="611" y="165"/>
                  <a:pt x="616" y="177"/>
                </a:cubicBezTo>
                <a:cubicBezTo>
                  <a:pt x="617" y="180"/>
                  <a:pt x="618" y="185"/>
                  <a:pt x="617" y="187"/>
                </a:cubicBezTo>
                <a:cubicBezTo>
                  <a:pt x="610" y="174"/>
                  <a:pt x="601" y="162"/>
                  <a:pt x="589" y="154"/>
                </a:cubicBezTo>
                <a:cubicBezTo>
                  <a:pt x="583" y="150"/>
                  <a:pt x="576" y="147"/>
                  <a:pt x="569" y="146"/>
                </a:cubicBezTo>
                <a:cubicBezTo>
                  <a:pt x="570" y="143"/>
                  <a:pt x="573" y="143"/>
                  <a:pt x="575" y="143"/>
                </a:cubicBezTo>
                <a:close/>
                <a:moveTo>
                  <a:pt x="508" y="209"/>
                </a:moveTo>
                <a:cubicBezTo>
                  <a:pt x="513" y="196"/>
                  <a:pt x="522" y="186"/>
                  <a:pt x="533" y="178"/>
                </a:cubicBezTo>
                <a:cubicBezTo>
                  <a:pt x="536" y="176"/>
                  <a:pt x="540" y="174"/>
                  <a:pt x="544" y="172"/>
                </a:cubicBezTo>
                <a:cubicBezTo>
                  <a:pt x="551" y="169"/>
                  <a:pt x="558" y="169"/>
                  <a:pt x="566" y="170"/>
                </a:cubicBezTo>
                <a:cubicBezTo>
                  <a:pt x="573" y="171"/>
                  <a:pt x="580" y="173"/>
                  <a:pt x="586" y="177"/>
                </a:cubicBezTo>
                <a:cubicBezTo>
                  <a:pt x="598" y="185"/>
                  <a:pt x="607" y="198"/>
                  <a:pt x="612" y="212"/>
                </a:cubicBezTo>
                <a:cubicBezTo>
                  <a:pt x="616" y="225"/>
                  <a:pt x="618" y="238"/>
                  <a:pt x="617" y="252"/>
                </a:cubicBezTo>
                <a:cubicBezTo>
                  <a:pt x="616" y="263"/>
                  <a:pt x="615" y="273"/>
                  <a:pt x="610" y="283"/>
                </a:cubicBezTo>
                <a:cubicBezTo>
                  <a:pt x="608" y="288"/>
                  <a:pt x="605" y="293"/>
                  <a:pt x="601" y="297"/>
                </a:cubicBezTo>
                <a:cubicBezTo>
                  <a:pt x="596" y="296"/>
                  <a:pt x="592" y="295"/>
                  <a:pt x="589" y="294"/>
                </a:cubicBezTo>
                <a:cubicBezTo>
                  <a:pt x="582" y="292"/>
                  <a:pt x="575" y="290"/>
                  <a:pt x="569" y="288"/>
                </a:cubicBezTo>
                <a:cubicBezTo>
                  <a:pt x="573" y="287"/>
                  <a:pt x="576" y="286"/>
                  <a:pt x="580" y="284"/>
                </a:cubicBezTo>
                <a:cubicBezTo>
                  <a:pt x="584" y="281"/>
                  <a:pt x="587" y="277"/>
                  <a:pt x="590" y="272"/>
                </a:cubicBezTo>
                <a:cubicBezTo>
                  <a:pt x="592" y="268"/>
                  <a:pt x="594" y="263"/>
                  <a:pt x="594" y="258"/>
                </a:cubicBezTo>
                <a:cubicBezTo>
                  <a:pt x="595" y="249"/>
                  <a:pt x="594" y="239"/>
                  <a:pt x="590" y="231"/>
                </a:cubicBezTo>
                <a:cubicBezTo>
                  <a:pt x="586" y="223"/>
                  <a:pt x="579" y="216"/>
                  <a:pt x="570" y="213"/>
                </a:cubicBezTo>
                <a:cubicBezTo>
                  <a:pt x="567" y="212"/>
                  <a:pt x="563" y="211"/>
                  <a:pt x="559" y="212"/>
                </a:cubicBezTo>
                <a:cubicBezTo>
                  <a:pt x="554" y="212"/>
                  <a:pt x="550" y="213"/>
                  <a:pt x="547" y="216"/>
                </a:cubicBezTo>
                <a:cubicBezTo>
                  <a:pt x="543" y="218"/>
                  <a:pt x="540" y="221"/>
                  <a:pt x="538" y="224"/>
                </a:cubicBezTo>
                <a:cubicBezTo>
                  <a:pt x="533" y="231"/>
                  <a:pt x="531" y="240"/>
                  <a:pt x="531" y="248"/>
                </a:cubicBezTo>
                <a:cubicBezTo>
                  <a:pt x="530" y="254"/>
                  <a:pt x="531" y="261"/>
                  <a:pt x="533" y="267"/>
                </a:cubicBezTo>
                <a:cubicBezTo>
                  <a:pt x="534" y="269"/>
                  <a:pt x="535" y="272"/>
                  <a:pt x="536" y="274"/>
                </a:cubicBezTo>
                <a:cubicBezTo>
                  <a:pt x="532" y="272"/>
                  <a:pt x="529" y="269"/>
                  <a:pt x="525" y="267"/>
                </a:cubicBezTo>
                <a:cubicBezTo>
                  <a:pt x="522" y="266"/>
                  <a:pt x="519" y="264"/>
                  <a:pt x="516" y="263"/>
                </a:cubicBezTo>
                <a:cubicBezTo>
                  <a:pt x="515" y="260"/>
                  <a:pt x="514" y="257"/>
                  <a:pt x="512" y="254"/>
                </a:cubicBezTo>
                <a:cubicBezTo>
                  <a:pt x="511" y="251"/>
                  <a:pt x="508" y="247"/>
                  <a:pt x="506" y="244"/>
                </a:cubicBezTo>
                <a:cubicBezTo>
                  <a:pt x="504" y="232"/>
                  <a:pt x="504" y="220"/>
                  <a:pt x="508" y="209"/>
                </a:cubicBezTo>
                <a:close/>
                <a:moveTo>
                  <a:pt x="562" y="229"/>
                </a:moveTo>
                <a:cubicBezTo>
                  <a:pt x="561" y="227"/>
                  <a:pt x="560" y="225"/>
                  <a:pt x="561" y="224"/>
                </a:cubicBezTo>
                <a:cubicBezTo>
                  <a:pt x="562" y="222"/>
                  <a:pt x="565" y="221"/>
                  <a:pt x="568" y="222"/>
                </a:cubicBezTo>
                <a:cubicBezTo>
                  <a:pt x="572" y="222"/>
                  <a:pt x="577" y="226"/>
                  <a:pt x="580" y="230"/>
                </a:cubicBezTo>
                <a:cubicBezTo>
                  <a:pt x="583" y="235"/>
                  <a:pt x="587" y="242"/>
                  <a:pt x="584" y="248"/>
                </a:cubicBezTo>
                <a:cubicBezTo>
                  <a:pt x="584" y="249"/>
                  <a:pt x="582" y="250"/>
                  <a:pt x="580" y="249"/>
                </a:cubicBezTo>
                <a:cubicBezTo>
                  <a:pt x="576" y="247"/>
                  <a:pt x="577" y="240"/>
                  <a:pt x="574" y="236"/>
                </a:cubicBezTo>
                <a:cubicBezTo>
                  <a:pt x="573" y="234"/>
                  <a:pt x="571" y="233"/>
                  <a:pt x="569" y="232"/>
                </a:cubicBezTo>
                <a:cubicBezTo>
                  <a:pt x="567" y="230"/>
                  <a:pt x="564" y="231"/>
                  <a:pt x="562" y="229"/>
                </a:cubicBezTo>
                <a:close/>
                <a:moveTo>
                  <a:pt x="407" y="153"/>
                </a:moveTo>
                <a:cubicBezTo>
                  <a:pt x="408" y="153"/>
                  <a:pt x="409" y="152"/>
                  <a:pt x="409" y="153"/>
                </a:cubicBezTo>
                <a:cubicBezTo>
                  <a:pt x="415" y="153"/>
                  <a:pt x="420" y="154"/>
                  <a:pt x="424" y="156"/>
                </a:cubicBezTo>
                <a:cubicBezTo>
                  <a:pt x="430" y="158"/>
                  <a:pt x="435" y="162"/>
                  <a:pt x="440" y="165"/>
                </a:cubicBezTo>
                <a:cubicBezTo>
                  <a:pt x="442" y="167"/>
                  <a:pt x="444" y="168"/>
                  <a:pt x="445" y="170"/>
                </a:cubicBezTo>
                <a:cubicBezTo>
                  <a:pt x="449" y="176"/>
                  <a:pt x="451" y="182"/>
                  <a:pt x="452" y="189"/>
                </a:cubicBezTo>
                <a:cubicBezTo>
                  <a:pt x="448" y="180"/>
                  <a:pt x="442" y="172"/>
                  <a:pt x="433" y="165"/>
                </a:cubicBezTo>
                <a:cubicBezTo>
                  <a:pt x="429" y="161"/>
                  <a:pt x="424" y="158"/>
                  <a:pt x="418" y="156"/>
                </a:cubicBezTo>
                <a:cubicBezTo>
                  <a:pt x="414" y="154"/>
                  <a:pt x="410" y="153"/>
                  <a:pt x="406" y="153"/>
                </a:cubicBezTo>
                <a:lnTo>
                  <a:pt x="407" y="153"/>
                </a:lnTo>
                <a:close/>
                <a:moveTo>
                  <a:pt x="377" y="205"/>
                </a:moveTo>
                <a:cubicBezTo>
                  <a:pt x="379" y="198"/>
                  <a:pt x="383" y="191"/>
                  <a:pt x="388" y="187"/>
                </a:cubicBezTo>
                <a:cubicBezTo>
                  <a:pt x="393" y="182"/>
                  <a:pt x="400" y="178"/>
                  <a:pt x="407" y="178"/>
                </a:cubicBezTo>
                <a:cubicBezTo>
                  <a:pt x="412" y="178"/>
                  <a:pt x="418" y="179"/>
                  <a:pt x="422" y="181"/>
                </a:cubicBezTo>
                <a:cubicBezTo>
                  <a:pt x="427" y="184"/>
                  <a:pt x="432" y="187"/>
                  <a:pt x="435" y="191"/>
                </a:cubicBezTo>
                <a:cubicBezTo>
                  <a:pt x="443" y="199"/>
                  <a:pt x="448" y="209"/>
                  <a:pt x="452" y="219"/>
                </a:cubicBezTo>
                <a:cubicBezTo>
                  <a:pt x="455" y="229"/>
                  <a:pt x="457" y="239"/>
                  <a:pt x="457" y="249"/>
                </a:cubicBezTo>
                <a:cubicBezTo>
                  <a:pt x="454" y="253"/>
                  <a:pt x="451" y="257"/>
                  <a:pt x="448" y="261"/>
                </a:cubicBezTo>
                <a:cubicBezTo>
                  <a:pt x="444" y="262"/>
                  <a:pt x="440" y="264"/>
                  <a:pt x="436" y="266"/>
                </a:cubicBezTo>
                <a:cubicBezTo>
                  <a:pt x="438" y="258"/>
                  <a:pt x="437" y="249"/>
                  <a:pt x="435" y="240"/>
                </a:cubicBezTo>
                <a:cubicBezTo>
                  <a:pt x="432" y="233"/>
                  <a:pt x="429" y="226"/>
                  <a:pt x="423" y="221"/>
                </a:cubicBezTo>
                <a:cubicBezTo>
                  <a:pt x="420" y="218"/>
                  <a:pt x="416" y="216"/>
                  <a:pt x="413" y="216"/>
                </a:cubicBezTo>
                <a:cubicBezTo>
                  <a:pt x="409" y="215"/>
                  <a:pt x="405" y="215"/>
                  <a:pt x="402" y="217"/>
                </a:cubicBezTo>
                <a:cubicBezTo>
                  <a:pt x="398" y="218"/>
                  <a:pt x="395" y="221"/>
                  <a:pt x="393" y="225"/>
                </a:cubicBezTo>
                <a:cubicBezTo>
                  <a:pt x="391" y="229"/>
                  <a:pt x="390" y="233"/>
                  <a:pt x="390" y="237"/>
                </a:cubicBezTo>
                <a:cubicBezTo>
                  <a:pt x="388" y="246"/>
                  <a:pt x="388" y="255"/>
                  <a:pt x="391" y="264"/>
                </a:cubicBezTo>
                <a:cubicBezTo>
                  <a:pt x="393" y="270"/>
                  <a:pt x="397" y="275"/>
                  <a:pt x="401" y="279"/>
                </a:cubicBezTo>
                <a:cubicBezTo>
                  <a:pt x="403" y="282"/>
                  <a:pt x="406" y="284"/>
                  <a:pt x="409" y="286"/>
                </a:cubicBezTo>
                <a:cubicBezTo>
                  <a:pt x="407" y="288"/>
                  <a:pt x="404" y="290"/>
                  <a:pt x="402" y="293"/>
                </a:cubicBezTo>
                <a:cubicBezTo>
                  <a:pt x="399" y="296"/>
                  <a:pt x="395" y="299"/>
                  <a:pt x="392" y="302"/>
                </a:cubicBezTo>
                <a:cubicBezTo>
                  <a:pt x="392" y="302"/>
                  <a:pt x="391" y="301"/>
                  <a:pt x="391" y="301"/>
                </a:cubicBezTo>
                <a:cubicBezTo>
                  <a:pt x="387" y="297"/>
                  <a:pt x="383" y="291"/>
                  <a:pt x="381" y="285"/>
                </a:cubicBezTo>
                <a:cubicBezTo>
                  <a:pt x="376" y="273"/>
                  <a:pt x="375" y="260"/>
                  <a:pt x="374" y="247"/>
                </a:cubicBezTo>
                <a:cubicBezTo>
                  <a:pt x="373" y="233"/>
                  <a:pt x="372" y="218"/>
                  <a:pt x="377" y="205"/>
                </a:cubicBezTo>
                <a:close/>
                <a:moveTo>
                  <a:pt x="421" y="239"/>
                </a:moveTo>
                <a:cubicBezTo>
                  <a:pt x="421" y="237"/>
                  <a:pt x="419" y="236"/>
                  <a:pt x="418" y="234"/>
                </a:cubicBezTo>
                <a:cubicBezTo>
                  <a:pt x="416" y="232"/>
                  <a:pt x="414" y="232"/>
                  <a:pt x="413" y="229"/>
                </a:cubicBezTo>
                <a:cubicBezTo>
                  <a:pt x="413" y="228"/>
                  <a:pt x="412" y="226"/>
                  <a:pt x="413" y="225"/>
                </a:cubicBezTo>
                <a:cubicBezTo>
                  <a:pt x="415" y="224"/>
                  <a:pt x="418" y="225"/>
                  <a:pt x="420" y="226"/>
                </a:cubicBezTo>
                <a:cubicBezTo>
                  <a:pt x="424" y="228"/>
                  <a:pt x="427" y="232"/>
                  <a:pt x="428" y="236"/>
                </a:cubicBezTo>
                <a:cubicBezTo>
                  <a:pt x="430" y="241"/>
                  <a:pt x="430" y="248"/>
                  <a:pt x="427" y="252"/>
                </a:cubicBezTo>
                <a:cubicBezTo>
                  <a:pt x="426" y="253"/>
                  <a:pt x="424" y="253"/>
                  <a:pt x="423" y="252"/>
                </a:cubicBezTo>
                <a:cubicBezTo>
                  <a:pt x="420" y="249"/>
                  <a:pt x="423" y="243"/>
                  <a:pt x="421" y="239"/>
                </a:cubicBezTo>
                <a:close/>
                <a:moveTo>
                  <a:pt x="371" y="342"/>
                </a:moveTo>
                <a:cubicBezTo>
                  <a:pt x="372" y="338"/>
                  <a:pt x="372" y="334"/>
                  <a:pt x="374" y="330"/>
                </a:cubicBezTo>
                <a:cubicBezTo>
                  <a:pt x="375" y="324"/>
                  <a:pt x="378" y="320"/>
                  <a:pt x="382" y="316"/>
                </a:cubicBezTo>
                <a:cubicBezTo>
                  <a:pt x="388" y="309"/>
                  <a:pt x="395" y="302"/>
                  <a:pt x="402" y="297"/>
                </a:cubicBezTo>
                <a:cubicBezTo>
                  <a:pt x="415" y="282"/>
                  <a:pt x="432" y="270"/>
                  <a:pt x="451" y="264"/>
                </a:cubicBezTo>
                <a:cubicBezTo>
                  <a:pt x="467" y="258"/>
                  <a:pt x="486" y="257"/>
                  <a:pt x="503" y="262"/>
                </a:cubicBezTo>
                <a:cubicBezTo>
                  <a:pt x="510" y="264"/>
                  <a:pt x="518" y="268"/>
                  <a:pt x="525" y="271"/>
                </a:cubicBezTo>
                <a:cubicBezTo>
                  <a:pt x="531" y="275"/>
                  <a:pt x="538" y="279"/>
                  <a:pt x="545" y="282"/>
                </a:cubicBezTo>
                <a:cubicBezTo>
                  <a:pt x="559" y="289"/>
                  <a:pt x="573" y="294"/>
                  <a:pt x="589" y="298"/>
                </a:cubicBezTo>
                <a:cubicBezTo>
                  <a:pt x="593" y="299"/>
                  <a:pt x="598" y="300"/>
                  <a:pt x="603" y="302"/>
                </a:cubicBezTo>
                <a:cubicBezTo>
                  <a:pt x="606" y="304"/>
                  <a:pt x="610" y="306"/>
                  <a:pt x="612" y="309"/>
                </a:cubicBezTo>
                <a:cubicBezTo>
                  <a:pt x="612" y="309"/>
                  <a:pt x="612" y="310"/>
                  <a:pt x="612" y="310"/>
                </a:cubicBezTo>
                <a:cubicBezTo>
                  <a:pt x="612" y="310"/>
                  <a:pt x="613" y="311"/>
                  <a:pt x="613" y="311"/>
                </a:cubicBezTo>
                <a:cubicBezTo>
                  <a:pt x="614" y="314"/>
                  <a:pt x="615" y="317"/>
                  <a:pt x="616" y="319"/>
                </a:cubicBezTo>
                <a:cubicBezTo>
                  <a:pt x="616" y="322"/>
                  <a:pt x="616" y="325"/>
                  <a:pt x="616" y="328"/>
                </a:cubicBezTo>
                <a:cubicBezTo>
                  <a:pt x="615" y="334"/>
                  <a:pt x="613" y="340"/>
                  <a:pt x="613" y="346"/>
                </a:cubicBezTo>
                <a:cubicBezTo>
                  <a:pt x="612" y="350"/>
                  <a:pt x="612" y="355"/>
                  <a:pt x="610" y="359"/>
                </a:cubicBezTo>
                <a:cubicBezTo>
                  <a:pt x="608" y="363"/>
                  <a:pt x="604" y="366"/>
                  <a:pt x="600" y="368"/>
                </a:cubicBezTo>
                <a:cubicBezTo>
                  <a:pt x="596" y="370"/>
                  <a:pt x="591" y="372"/>
                  <a:pt x="586" y="373"/>
                </a:cubicBezTo>
                <a:cubicBezTo>
                  <a:pt x="566" y="381"/>
                  <a:pt x="551" y="397"/>
                  <a:pt x="532" y="409"/>
                </a:cubicBezTo>
                <a:cubicBezTo>
                  <a:pt x="522" y="415"/>
                  <a:pt x="512" y="419"/>
                  <a:pt x="501" y="423"/>
                </a:cubicBezTo>
                <a:cubicBezTo>
                  <a:pt x="489" y="426"/>
                  <a:pt x="476" y="428"/>
                  <a:pt x="464" y="427"/>
                </a:cubicBezTo>
                <a:cubicBezTo>
                  <a:pt x="454" y="426"/>
                  <a:pt x="443" y="422"/>
                  <a:pt x="435" y="416"/>
                </a:cubicBezTo>
                <a:cubicBezTo>
                  <a:pt x="423" y="408"/>
                  <a:pt x="415" y="395"/>
                  <a:pt x="405" y="383"/>
                </a:cubicBezTo>
                <a:cubicBezTo>
                  <a:pt x="400" y="376"/>
                  <a:pt x="394" y="369"/>
                  <a:pt x="387" y="363"/>
                </a:cubicBezTo>
                <a:cubicBezTo>
                  <a:pt x="389" y="364"/>
                  <a:pt x="392" y="366"/>
                  <a:pt x="395" y="369"/>
                </a:cubicBezTo>
                <a:cubicBezTo>
                  <a:pt x="399" y="372"/>
                  <a:pt x="402" y="376"/>
                  <a:pt x="406" y="379"/>
                </a:cubicBezTo>
                <a:cubicBezTo>
                  <a:pt x="416" y="387"/>
                  <a:pt x="429" y="392"/>
                  <a:pt x="446" y="392"/>
                </a:cubicBezTo>
                <a:cubicBezTo>
                  <a:pt x="448" y="392"/>
                  <a:pt x="450" y="392"/>
                  <a:pt x="452" y="392"/>
                </a:cubicBezTo>
                <a:cubicBezTo>
                  <a:pt x="464" y="392"/>
                  <a:pt x="475" y="390"/>
                  <a:pt x="486" y="387"/>
                </a:cubicBezTo>
                <a:cubicBezTo>
                  <a:pt x="498" y="385"/>
                  <a:pt x="509" y="381"/>
                  <a:pt x="517" y="379"/>
                </a:cubicBezTo>
                <a:cubicBezTo>
                  <a:pt x="534" y="372"/>
                  <a:pt x="548" y="363"/>
                  <a:pt x="560" y="353"/>
                </a:cubicBezTo>
                <a:cubicBezTo>
                  <a:pt x="562" y="351"/>
                  <a:pt x="562" y="351"/>
                  <a:pt x="562" y="351"/>
                </a:cubicBezTo>
                <a:cubicBezTo>
                  <a:pt x="567" y="347"/>
                  <a:pt x="572" y="343"/>
                  <a:pt x="576" y="340"/>
                </a:cubicBezTo>
                <a:cubicBezTo>
                  <a:pt x="576" y="340"/>
                  <a:pt x="577" y="340"/>
                  <a:pt x="577" y="340"/>
                </a:cubicBezTo>
                <a:cubicBezTo>
                  <a:pt x="580" y="337"/>
                  <a:pt x="583" y="336"/>
                  <a:pt x="587" y="334"/>
                </a:cubicBezTo>
                <a:cubicBezTo>
                  <a:pt x="589" y="333"/>
                  <a:pt x="591" y="332"/>
                  <a:pt x="593" y="331"/>
                </a:cubicBezTo>
                <a:cubicBezTo>
                  <a:pt x="593" y="331"/>
                  <a:pt x="594" y="331"/>
                  <a:pt x="594" y="330"/>
                </a:cubicBezTo>
                <a:cubicBezTo>
                  <a:pt x="595" y="329"/>
                  <a:pt x="595" y="329"/>
                  <a:pt x="595" y="329"/>
                </a:cubicBezTo>
                <a:cubicBezTo>
                  <a:pt x="595" y="329"/>
                  <a:pt x="596" y="329"/>
                  <a:pt x="596" y="329"/>
                </a:cubicBezTo>
                <a:cubicBezTo>
                  <a:pt x="596" y="329"/>
                  <a:pt x="596" y="328"/>
                  <a:pt x="596" y="328"/>
                </a:cubicBezTo>
                <a:cubicBezTo>
                  <a:pt x="598" y="327"/>
                  <a:pt x="599" y="324"/>
                  <a:pt x="599" y="322"/>
                </a:cubicBezTo>
                <a:cubicBezTo>
                  <a:pt x="597" y="322"/>
                  <a:pt x="596" y="322"/>
                  <a:pt x="595" y="322"/>
                </a:cubicBezTo>
                <a:cubicBezTo>
                  <a:pt x="592" y="321"/>
                  <a:pt x="588" y="321"/>
                  <a:pt x="584" y="322"/>
                </a:cubicBezTo>
                <a:cubicBezTo>
                  <a:pt x="582" y="323"/>
                  <a:pt x="580" y="324"/>
                  <a:pt x="578" y="326"/>
                </a:cubicBezTo>
                <a:cubicBezTo>
                  <a:pt x="576" y="327"/>
                  <a:pt x="574" y="329"/>
                  <a:pt x="573" y="331"/>
                </a:cubicBezTo>
                <a:cubicBezTo>
                  <a:pt x="568" y="336"/>
                  <a:pt x="562" y="340"/>
                  <a:pt x="556" y="344"/>
                </a:cubicBezTo>
                <a:cubicBezTo>
                  <a:pt x="543" y="354"/>
                  <a:pt x="530" y="363"/>
                  <a:pt x="515" y="369"/>
                </a:cubicBezTo>
                <a:cubicBezTo>
                  <a:pt x="506" y="372"/>
                  <a:pt x="496" y="375"/>
                  <a:pt x="485" y="377"/>
                </a:cubicBezTo>
                <a:cubicBezTo>
                  <a:pt x="473" y="379"/>
                  <a:pt x="460" y="381"/>
                  <a:pt x="447" y="381"/>
                </a:cubicBezTo>
                <a:cubicBezTo>
                  <a:pt x="434" y="380"/>
                  <a:pt x="421" y="377"/>
                  <a:pt x="410" y="370"/>
                </a:cubicBezTo>
                <a:cubicBezTo>
                  <a:pt x="405" y="367"/>
                  <a:pt x="400" y="363"/>
                  <a:pt x="395" y="360"/>
                </a:cubicBezTo>
                <a:cubicBezTo>
                  <a:pt x="390" y="357"/>
                  <a:pt x="385" y="354"/>
                  <a:pt x="379" y="353"/>
                </a:cubicBezTo>
                <a:cubicBezTo>
                  <a:pt x="378" y="353"/>
                  <a:pt x="377" y="353"/>
                  <a:pt x="375" y="353"/>
                </a:cubicBezTo>
                <a:cubicBezTo>
                  <a:pt x="375" y="353"/>
                  <a:pt x="374" y="352"/>
                  <a:pt x="374" y="352"/>
                </a:cubicBezTo>
                <a:cubicBezTo>
                  <a:pt x="374" y="353"/>
                  <a:pt x="374" y="353"/>
                  <a:pt x="374" y="353"/>
                </a:cubicBezTo>
                <a:cubicBezTo>
                  <a:pt x="374" y="354"/>
                  <a:pt x="374" y="354"/>
                  <a:pt x="374" y="355"/>
                </a:cubicBezTo>
                <a:cubicBezTo>
                  <a:pt x="373" y="354"/>
                  <a:pt x="373" y="353"/>
                  <a:pt x="372" y="352"/>
                </a:cubicBezTo>
                <a:cubicBezTo>
                  <a:pt x="371" y="351"/>
                  <a:pt x="371" y="350"/>
                  <a:pt x="371" y="349"/>
                </a:cubicBezTo>
                <a:cubicBezTo>
                  <a:pt x="370" y="348"/>
                  <a:pt x="370" y="347"/>
                  <a:pt x="370" y="347"/>
                </a:cubicBezTo>
                <a:cubicBezTo>
                  <a:pt x="370" y="345"/>
                  <a:pt x="371" y="343"/>
                  <a:pt x="371" y="342"/>
                </a:cubicBezTo>
                <a:close/>
                <a:moveTo>
                  <a:pt x="390" y="1142"/>
                </a:moveTo>
                <a:cubicBezTo>
                  <a:pt x="382" y="1156"/>
                  <a:pt x="372" y="1168"/>
                  <a:pt x="358" y="1176"/>
                </a:cubicBezTo>
                <a:cubicBezTo>
                  <a:pt x="345" y="1184"/>
                  <a:pt x="330" y="1188"/>
                  <a:pt x="314" y="1187"/>
                </a:cubicBezTo>
                <a:cubicBezTo>
                  <a:pt x="290" y="1186"/>
                  <a:pt x="268" y="1174"/>
                  <a:pt x="245" y="1165"/>
                </a:cubicBezTo>
                <a:cubicBezTo>
                  <a:pt x="198" y="1146"/>
                  <a:pt x="148" y="1141"/>
                  <a:pt x="100" y="1126"/>
                </a:cubicBezTo>
                <a:cubicBezTo>
                  <a:pt x="86" y="1122"/>
                  <a:pt x="71" y="1117"/>
                  <a:pt x="57" y="1113"/>
                </a:cubicBezTo>
                <a:cubicBezTo>
                  <a:pt x="50" y="1111"/>
                  <a:pt x="43" y="1109"/>
                  <a:pt x="37" y="1106"/>
                </a:cubicBezTo>
                <a:cubicBezTo>
                  <a:pt x="31" y="1104"/>
                  <a:pt x="25" y="1099"/>
                  <a:pt x="22" y="1094"/>
                </a:cubicBezTo>
                <a:cubicBezTo>
                  <a:pt x="19" y="1089"/>
                  <a:pt x="18" y="1084"/>
                  <a:pt x="18" y="1078"/>
                </a:cubicBezTo>
                <a:cubicBezTo>
                  <a:pt x="18" y="1073"/>
                  <a:pt x="19" y="1068"/>
                  <a:pt x="21" y="1063"/>
                </a:cubicBezTo>
                <a:cubicBezTo>
                  <a:pt x="25" y="1053"/>
                  <a:pt x="30" y="1044"/>
                  <a:pt x="34" y="1034"/>
                </a:cubicBezTo>
                <a:cubicBezTo>
                  <a:pt x="41" y="1018"/>
                  <a:pt x="42" y="1001"/>
                  <a:pt x="41" y="984"/>
                </a:cubicBezTo>
                <a:cubicBezTo>
                  <a:pt x="40" y="966"/>
                  <a:pt x="37" y="949"/>
                  <a:pt x="36" y="932"/>
                </a:cubicBezTo>
                <a:cubicBezTo>
                  <a:pt x="36" y="925"/>
                  <a:pt x="35" y="917"/>
                  <a:pt x="37" y="909"/>
                </a:cubicBezTo>
                <a:cubicBezTo>
                  <a:pt x="38" y="902"/>
                  <a:pt x="42" y="894"/>
                  <a:pt x="47" y="889"/>
                </a:cubicBezTo>
                <a:cubicBezTo>
                  <a:pt x="52" y="884"/>
                  <a:pt x="59" y="881"/>
                  <a:pt x="66" y="880"/>
                </a:cubicBezTo>
                <a:cubicBezTo>
                  <a:pt x="73" y="878"/>
                  <a:pt x="80" y="878"/>
                  <a:pt x="87" y="879"/>
                </a:cubicBezTo>
                <a:cubicBezTo>
                  <a:pt x="94" y="879"/>
                  <a:pt x="101" y="879"/>
                  <a:pt x="108" y="878"/>
                </a:cubicBezTo>
                <a:cubicBezTo>
                  <a:pt x="115" y="878"/>
                  <a:pt x="122" y="876"/>
                  <a:pt x="129" y="873"/>
                </a:cubicBezTo>
                <a:cubicBezTo>
                  <a:pt x="134" y="869"/>
                  <a:pt x="139" y="864"/>
                  <a:pt x="143" y="859"/>
                </a:cubicBezTo>
                <a:cubicBezTo>
                  <a:pt x="147" y="854"/>
                  <a:pt x="150" y="848"/>
                  <a:pt x="154" y="842"/>
                </a:cubicBezTo>
                <a:cubicBezTo>
                  <a:pt x="157" y="836"/>
                  <a:pt x="160" y="830"/>
                  <a:pt x="165" y="825"/>
                </a:cubicBezTo>
                <a:cubicBezTo>
                  <a:pt x="169" y="820"/>
                  <a:pt x="174" y="815"/>
                  <a:pt x="180" y="813"/>
                </a:cubicBezTo>
                <a:cubicBezTo>
                  <a:pt x="187" y="810"/>
                  <a:pt x="194" y="809"/>
                  <a:pt x="201" y="811"/>
                </a:cubicBezTo>
                <a:cubicBezTo>
                  <a:pt x="208" y="812"/>
                  <a:pt x="214" y="815"/>
                  <a:pt x="220" y="819"/>
                </a:cubicBezTo>
                <a:cubicBezTo>
                  <a:pt x="231" y="827"/>
                  <a:pt x="240" y="838"/>
                  <a:pt x="248" y="849"/>
                </a:cubicBezTo>
                <a:cubicBezTo>
                  <a:pt x="266" y="875"/>
                  <a:pt x="284" y="901"/>
                  <a:pt x="301" y="928"/>
                </a:cubicBezTo>
                <a:cubicBezTo>
                  <a:pt x="314" y="951"/>
                  <a:pt x="326" y="974"/>
                  <a:pt x="341" y="994"/>
                </a:cubicBezTo>
                <a:cubicBezTo>
                  <a:pt x="351" y="1008"/>
                  <a:pt x="363" y="1020"/>
                  <a:pt x="373" y="1034"/>
                </a:cubicBezTo>
                <a:cubicBezTo>
                  <a:pt x="383" y="1048"/>
                  <a:pt x="392" y="1062"/>
                  <a:pt x="396" y="1078"/>
                </a:cubicBezTo>
                <a:cubicBezTo>
                  <a:pt x="402" y="1100"/>
                  <a:pt x="400" y="1123"/>
                  <a:pt x="390" y="1142"/>
                </a:cubicBezTo>
                <a:close/>
                <a:moveTo>
                  <a:pt x="584" y="1049"/>
                </a:moveTo>
                <a:cubicBezTo>
                  <a:pt x="529" y="1078"/>
                  <a:pt x="462" y="1081"/>
                  <a:pt x="404" y="1058"/>
                </a:cubicBezTo>
                <a:cubicBezTo>
                  <a:pt x="400" y="1048"/>
                  <a:pt x="394" y="1038"/>
                  <a:pt x="386" y="1028"/>
                </a:cubicBezTo>
                <a:cubicBezTo>
                  <a:pt x="380" y="1021"/>
                  <a:pt x="375" y="1015"/>
                  <a:pt x="369" y="1008"/>
                </a:cubicBezTo>
                <a:cubicBezTo>
                  <a:pt x="364" y="1002"/>
                  <a:pt x="359" y="996"/>
                  <a:pt x="354" y="989"/>
                </a:cubicBezTo>
                <a:cubicBezTo>
                  <a:pt x="345" y="977"/>
                  <a:pt x="337" y="964"/>
                  <a:pt x="329" y="950"/>
                </a:cubicBezTo>
                <a:cubicBezTo>
                  <a:pt x="324" y="942"/>
                  <a:pt x="319" y="933"/>
                  <a:pt x="314" y="925"/>
                </a:cubicBezTo>
                <a:cubicBezTo>
                  <a:pt x="299" y="901"/>
                  <a:pt x="283" y="876"/>
                  <a:pt x="260" y="845"/>
                </a:cubicBezTo>
                <a:cubicBezTo>
                  <a:pt x="257" y="841"/>
                  <a:pt x="254" y="836"/>
                  <a:pt x="250" y="832"/>
                </a:cubicBezTo>
                <a:cubicBezTo>
                  <a:pt x="249" y="828"/>
                  <a:pt x="249" y="824"/>
                  <a:pt x="249" y="820"/>
                </a:cubicBezTo>
                <a:cubicBezTo>
                  <a:pt x="244" y="815"/>
                  <a:pt x="239" y="809"/>
                  <a:pt x="236" y="803"/>
                </a:cubicBezTo>
                <a:cubicBezTo>
                  <a:pt x="230" y="794"/>
                  <a:pt x="227" y="783"/>
                  <a:pt x="225" y="772"/>
                </a:cubicBezTo>
                <a:cubicBezTo>
                  <a:pt x="219" y="743"/>
                  <a:pt x="221" y="712"/>
                  <a:pt x="231" y="684"/>
                </a:cubicBezTo>
                <a:cubicBezTo>
                  <a:pt x="235" y="673"/>
                  <a:pt x="240" y="662"/>
                  <a:pt x="245" y="652"/>
                </a:cubicBezTo>
                <a:cubicBezTo>
                  <a:pt x="254" y="633"/>
                  <a:pt x="262" y="615"/>
                  <a:pt x="273" y="598"/>
                </a:cubicBezTo>
                <a:cubicBezTo>
                  <a:pt x="274" y="597"/>
                  <a:pt x="275" y="595"/>
                  <a:pt x="276" y="594"/>
                </a:cubicBezTo>
                <a:cubicBezTo>
                  <a:pt x="269" y="614"/>
                  <a:pt x="262" y="634"/>
                  <a:pt x="254" y="653"/>
                </a:cubicBezTo>
                <a:cubicBezTo>
                  <a:pt x="249" y="665"/>
                  <a:pt x="243" y="676"/>
                  <a:pt x="239" y="688"/>
                </a:cubicBezTo>
                <a:cubicBezTo>
                  <a:pt x="229" y="715"/>
                  <a:pt x="226" y="746"/>
                  <a:pt x="234" y="774"/>
                </a:cubicBezTo>
                <a:cubicBezTo>
                  <a:pt x="237" y="785"/>
                  <a:pt x="241" y="796"/>
                  <a:pt x="247" y="806"/>
                </a:cubicBezTo>
                <a:cubicBezTo>
                  <a:pt x="248" y="807"/>
                  <a:pt x="248" y="808"/>
                  <a:pt x="249" y="808"/>
                </a:cubicBezTo>
                <a:cubicBezTo>
                  <a:pt x="248" y="795"/>
                  <a:pt x="249" y="782"/>
                  <a:pt x="250" y="769"/>
                </a:cubicBezTo>
                <a:cubicBezTo>
                  <a:pt x="254" y="726"/>
                  <a:pt x="266" y="684"/>
                  <a:pt x="284" y="644"/>
                </a:cubicBezTo>
                <a:cubicBezTo>
                  <a:pt x="295" y="618"/>
                  <a:pt x="309" y="593"/>
                  <a:pt x="326" y="569"/>
                </a:cubicBezTo>
                <a:cubicBezTo>
                  <a:pt x="324" y="554"/>
                  <a:pt x="325" y="539"/>
                  <a:pt x="330" y="524"/>
                </a:cubicBezTo>
                <a:cubicBezTo>
                  <a:pt x="337" y="500"/>
                  <a:pt x="351" y="480"/>
                  <a:pt x="366" y="459"/>
                </a:cubicBezTo>
                <a:cubicBezTo>
                  <a:pt x="374" y="448"/>
                  <a:pt x="383" y="436"/>
                  <a:pt x="387" y="422"/>
                </a:cubicBezTo>
                <a:cubicBezTo>
                  <a:pt x="390" y="409"/>
                  <a:pt x="389" y="395"/>
                  <a:pt x="390" y="382"/>
                </a:cubicBezTo>
                <a:cubicBezTo>
                  <a:pt x="390" y="382"/>
                  <a:pt x="390" y="382"/>
                  <a:pt x="390" y="382"/>
                </a:cubicBezTo>
                <a:cubicBezTo>
                  <a:pt x="394" y="385"/>
                  <a:pt x="397" y="389"/>
                  <a:pt x="400" y="393"/>
                </a:cubicBezTo>
                <a:cubicBezTo>
                  <a:pt x="401" y="393"/>
                  <a:pt x="401" y="393"/>
                  <a:pt x="401" y="393"/>
                </a:cubicBezTo>
                <a:cubicBezTo>
                  <a:pt x="404" y="396"/>
                  <a:pt x="407" y="400"/>
                  <a:pt x="410" y="404"/>
                </a:cubicBezTo>
                <a:cubicBezTo>
                  <a:pt x="416" y="411"/>
                  <a:pt x="423" y="419"/>
                  <a:pt x="432" y="424"/>
                </a:cubicBezTo>
                <a:cubicBezTo>
                  <a:pt x="441" y="430"/>
                  <a:pt x="451" y="434"/>
                  <a:pt x="464" y="435"/>
                </a:cubicBezTo>
                <a:cubicBezTo>
                  <a:pt x="466" y="435"/>
                  <a:pt x="468" y="435"/>
                  <a:pt x="470" y="435"/>
                </a:cubicBezTo>
                <a:cubicBezTo>
                  <a:pt x="480" y="435"/>
                  <a:pt x="491" y="434"/>
                  <a:pt x="503" y="431"/>
                </a:cubicBezTo>
                <a:cubicBezTo>
                  <a:pt x="513" y="428"/>
                  <a:pt x="524" y="424"/>
                  <a:pt x="535" y="418"/>
                </a:cubicBezTo>
                <a:cubicBezTo>
                  <a:pt x="535" y="418"/>
                  <a:pt x="535" y="418"/>
                  <a:pt x="535" y="418"/>
                </a:cubicBezTo>
                <a:cubicBezTo>
                  <a:pt x="541" y="414"/>
                  <a:pt x="547" y="410"/>
                  <a:pt x="553" y="406"/>
                </a:cubicBezTo>
                <a:cubicBezTo>
                  <a:pt x="565" y="397"/>
                  <a:pt x="575" y="389"/>
                  <a:pt x="588" y="386"/>
                </a:cubicBezTo>
                <a:cubicBezTo>
                  <a:pt x="588" y="386"/>
                  <a:pt x="588" y="386"/>
                  <a:pt x="588" y="386"/>
                </a:cubicBezTo>
                <a:cubicBezTo>
                  <a:pt x="593" y="384"/>
                  <a:pt x="596" y="383"/>
                  <a:pt x="601" y="382"/>
                </a:cubicBezTo>
                <a:cubicBezTo>
                  <a:pt x="602" y="382"/>
                  <a:pt x="602" y="382"/>
                  <a:pt x="603" y="381"/>
                </a:cubicBezTo>
                <a:cubicBezTo>
                  <a:pt x="604" y="381"/>
                  <a:pt x="605" y="380"/>
                  <a:pt x="607" y="379"/>
                </a:cubicBezTo>
                <a:cubicBezTo>
                  <a:pt x="607" y="378"/>
                  <a:pt x="608" y="378"/>
                  <a:pt x="609" y="377"/>
                </a:cubicBezTo>
                <a:cubicBezTo>
                  <a:pt x="611" y="376"/>
                  <a:pt x="612" y="375"/>
                  <a:pt x="613" y="373"/>
                </a:cubicBezTo>
                <a:cubicBezTo>
                  <a:pt x="617" y="380"/>
                  <a:pt x="620" y="388"/>
                  <a:pt x="623" y="395"/>
                </a:cubicBezTo>
                <a:cubicBezTo>
                  <a:pt x="632" y="416"/>
                  <a:pt x="644" y="436"/>
                  <a:pt x="653" y="457"/>
                </a:cubicBezTo>
                <a:cubicBezTo>
                  <a:pt x="666" y="485"/>
                  <a:pt x="675" y="516"/>
                  <a:pt x="680" y="547"/>
                </a:cubicBezTo>
                <a:cubicBezTo>
                  <a:pt x="697" y="564"/>
                  <a:pt x="711" y="585"/>
                  <a:pt x="722" y="607"/>
                </a:cubicBezTo>
                <a:cubicBezTo>
                  <a:pt x="753" y="672"/>
                  <a:pt x="753" y="747"/>
                  <a:pt x="745" y="819"/>
                </a:cubicBezTo>
                <a:cubicBezTo>
                  <a:pt x="745" y="821"/>
                  <a:pt x="745" y="823"/>
                  <a:pt x="744" y="824"/>
                </a:cubicBezTo>
                <a:cubicBezTo>
                  <a:pt x="741" y="824"/>
                  <a:pt x="738" y="823"/>
                  <a:pt x="735" y="823"/>
                </a:cubicBezTo>
                <a:cubicBezTo>
                  <a:pt x="729" y="822"/>
                  <a:pt x="729" y="822"/>
                  <a:pt x="729" y="822"/>
                </a:cubicBezTo>
                <a:cubicBezTo>
                  <a:pt x="724" y="821"/>
                  <a:pt x="717" y="820"/>
                  <a:pt x="710" y="821"/>
                </a:cubicBezTo>
                <a:cubicBezTo>
                  <a:pt x="701" y="821"/>
                  <a:pt x="692" y="824"/>
                  <a:pt x="685" y="829"/>
                </a:cubicBezTo>
                <a:cubicBezTo>
                  <a:pt x="685" y="829"/>
                  <a:pt x="685" y="829"/>
                  <a:pt x="685" y="830"/>
                </a:cubicBezTo>
                <a:cubicBezTo>
                  <a:pt x="675" y="838"/>
                  <a:pt x="672" y="849"/>
                  <a:pt x="671" y="856"/>
                </a:cubicBezTo>
                <a:cubicBezTo>
                  <a:pt x="670" y="864"/>
                  <a:pt x="670" y="871"/>
                  <a:pt x="671" y="879"/>
                </a:cubicBezTo>
                <a:cubicBezTo>
                  <a:pt x="673" y="914"/>
                  <a:pt x="673" y="948"/>
                  <a:pt x="670" y="980"/>
                </a:cubicBezTo>
                <a:cubicBezTo>
                  <a:pt x="669" y="981"/>
                  <a:pt x="668" y="982"/>
                  <a:pt x="667" y="983"/>
                </a:cubicBezTo>
                <a:cubicBezTo>
                  <a:pt x="642" y="1008"/>
                  <a:pt x="615" y="1032"/>
                  <a:pt x="584" y="1049"/>
                </a:cubicBezTo>
                <a:close/>
                <a:moveTo>
                  <a:pt x="1014" y="1016"/>
                </a:moveTo>
                <a:cubicBezTo>
                  <a:pt x="1011" y="1023"/>
                  <a:pt x="1008" y="1029"/>
                  <a:pt x="1003" y="1035"/>
                </a:cubicBezTo>
                <a:cubicBezTo>
                  <a:pt x="992" y="1047"/>
                  <a:pt x="978" y="1056"/>
                  <a:pt x="963" y="1063"/>
                </a:cubicBezTo>
                <a:cubicBezTo>
                  <a:pt x="938" y="1076"/>
                  <a:pt x="913" y="1087"/>
                  <a:pt x="889" y="1102"/>
                </a:cubicBezTo>
                <a:cubicBezTo>
                  <a:pt x="874" y="1112"/>
                  <a:pt x="860" y="1124"/>
                  <a:pt x="846" y="1137"/>
                </a:cubicBezTo>
                <a:cubicBezTo>
                  <a:pt x="835" y="1148"/>
                  <a:pt x="824" y="1160"/>
                  <a:pt x="811" y="1169"/>
                </a:cubicBezTo>
                <a:cubicBezTo>
                  <a:pt x="798" y="1178"/>
                  <a:pt x="783" y="1185"/>
                  <a:pt x="767" y="1188"/>
                </a:cubicBezTo>
                <a:cubicBezTo>
                  <a:pt x="747" y="1190"/>
                  <a:pt x="727" y="1187"/>
                  <a:pt x="710" y="1179"/>
                </a:cubicBezTo>
                <a:cubicBezTo>
                  <a:pt x="697" y="1173"/>
                  <a:pt x="685" y="1166"/>
                  <a:pt x="678" y="1154"/>
                </a:cubicBezTo>
                <a:cubicBezTo>
                  <a:pt x="670" y="1142"/>
                  <a:pt x="669" y="1128"/>
                  <a:pt x="669" y="1114"/>
                </a:cubicBezTo>
                <a:cubicBezTo>
                  <a:pt x="669" y="1090"/>
                  <a:pt x="673" y="1066"/>
                  <a:pt x="677" y="1042"/>
                </a:cubicBezTo>
                <a:cubicBezTo>
                  <a:pt x="681" y="1022"/>
                  <a:pt x="684" y="1002"/>
                  <a:pt x="687" y="982"/>
                </a:cubicBezTo>
                <a:cubicBezTo>
                  <a:pt x="690" y="946"/>
                  <a:pt x="690" y="909"/>
                  <a:pt x="688" y="872"/>
                </a:cubicBezTo>
                <a:cubicBezTo>
                  <a:pt x="687" y="866"/>
                  <a:pt x="687" y="860"/>
                  <a:pt x="688" y="854"/>
                </a:cubicBezTo>
                <a:cubicBezTo>
                  <a:pt x="689" y="848"/>
                  <a:pt x="691" y="842"/>
                  <a:pt x="696" y="838"/>
                </a:cubicBezTo>
                <a:cubicBezTo>
                  <a:pt x="700" y="834"/>
                  <a:pt x="706" y="832"/>
                  <a:pt x="712" y="832"/>
                </a:cubicBezTo>
                <a:cubicBezTo>
                  <a:pt x="717" y="832"/>
                  <a:pt x="723" y="832"/>
                  <a:pt x="729" y="833"/>
                </a:cubicBezTo>
                <a:cubicBezTo>
                  <a:pt x="742" y="835"/>
                  <a:pt x="755" y="837"/>
                  <a:pt x="768" y="840"/>
                </a:cubicBezTo>
                <a:cubicBezTo>
                  <a:pt x="776" y="842"/>
                  <a:pt x="784" y="845"/>
                  <a:pt x="792" y="847"/>
                </a:cubicBezTo>
                <a:cubicBezTo>
                  <a:pt x="806" y="851"/>
                  <a:pt x="820" y="853"/>
                  <a:pt x="834" y="851"/>
                </a:cubicBezTo>
                <a:cubicBezTo>
                  <a:pt x="849" y="849"/>
                  <a:pt x="864" y="844"/>
                  <a:pt x="879" y="844"/>
                </a:cubicBezTo>
                <a:cubicBezTo>
                  <a:pt x="885" y="844"/>
                  <a:pt x="892" y="845"/>
                  <a:pt x="898" y="847"/>
                </a:cubicBezTo>
                <a:cubicBezTo>
                  <a:pt x="904" y="849"/>
                  <a:pt x="910" y="852"/>
                  <a:pt x="914" y="856"/>
                </a:cubicBezTo>
                <a:cubicBezTo>
                  <a:pt x="917" y="860"/>
                  <a:pt x="920" y="864"/>
                  <a:pt x="922" y="869"/>
                </a:cubicBezTo>
                <a:cubicBezTo>
                  <a:pt x="924" y="875"/>
                  <a:pt x="926" y="883"/>
                  <a:pt x="926" y="890"/>
                </a:cubicBezTo>
                <a:cubicBezTo>
                  <a:pt x="927" y="896"/>
                  <a:pt x="927" y="903"/>
                  <a:pt x="928" y="909"/>
                </a:cubicBezTo>
                <a:cubicBezTo>
                  <a:pt x="930" y="919"/>
                  <a:pt x="935" y="928"/>
                  <a:pt x="942" y="937"/>
                </a:cubicBezTo>
                <a:cubicBezTo>
                  <a:pt x="949" y="945"/>
                  <a:pt x="957" y="951"/>
                  <a:pt x="965" y="958"/>
                </a:cubicBezTo>
                <a:cubicBezTo>
                  <a:pt x="973" y="965"/>
                  <a:pt x="981" y="972"/>
                  <a:pt x="989" y="977"/>
                </a:cubicBezTo>
                <a:cubicBezTo>
                  <a:pt x="993" y="980"/>
                  <a:pt x="998" y="983"/>
                  <a:pt x="1002" y="986"/>
                </a:cubicBezTo>
                <a:cubicBezTo>
                  <a:pt x="1005" y="989"/>
                  <a:pt x="1009" y="992"/>
                  <a:pt x="1011" y="997"/>
                </a:cubicBezTo>
                <a:cubicBezTo>
                  <a:pt x="1015" y="1003"/>
                  <a:pt x="1016" y="1010"/>
                  <a:pt x="1014" y="101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sz="1800" dirty="0">
              <a:solidFill>
                <a:srgbClr val="000000"/>
              </a:solidFill>
              <a:latin typeface="Segoe UI"/>
            </a:endParaRPr>
          </a:p>
        </p:txBody>
      </p:sp>
      <p:grpSp>
        <p:nvGrpSpPr>
          <p:cNvPr id="28" name="Group 27">
            <a:extLst>
              <a:ext uri="{FF2B5EF4-FFF2-40B4-BE49-F238E27FC236}">
                <a16:creationId xmlns:a16="http://schemas.microsoft.com/office/drawing/2014/main" id="{9B3A5C5D-955B-CE4F-8F6F-BFEB2BDDCD9E}"/>
              </a:ext>
            </a:extLst>
          </p:cNvPr>
          <p:cNvGrpSpPr/>
          <p:nvPr/>
        </p:nvGrpSpPr>
        <p:grpSpPr>
          <a:xfrm>
            <a:off x="5490936" y="1209927"/>
            <a:ext cx="5995929" cy="5344599"/>
            <a:chOff x="5483166" y="1209612"/>
            <a:chExt cx="5996780" cy="5345357"/>
          </a:xfrm>
        </p:grpSpPr>
        <p:sp>
          <p:nvSpPr>
            <p:cNvPr id="25" name="Rectangle 24">
              <a:extLst>
                <a:ext uri="{FF2B5EF4-FFF2-40B4-BE49-F238E27FC236}">
                  <a16:creationId xmlns:a16="http://schemas.microsoft.com/office/drawing/2014/main" id="{AD166A44-9B72-8547-AE80-9C737238F3FF}"/>
                </a:ext>
              </a:extLst>
            </p:cNvPr>
            <p:cNvSpPr/>
            <p:nvPr/>
          </p:nvSpPr>
          <p:spPr bwMode="auto">
            <a:xfrm>
              <a:off x="5780619" y="1605963"/>
              <a:ext cx="5294299" cy="3596128"/>
            </a:xfrm>
            <a:prstGeom prst="rect">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6" name="Picture 25">
              <a:extLst>
                <a:ext uri="{FF2B5EF4-FFF2-40B4-BE49-F238E27FC236}">
                  <a16:creationId xmlns:a16="http://schemas.microsoft.com/office/drawing/2014/main" id="{9B830536-C4D4-EA4A-B0A6-463CA31CC186}"/>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483166" y="1209612"/>
              <a:ext cx="5996780" cy="5345357"/>
            </a:xfrm>
            <a:prstGeom prst="rect">
              <a:avLst/>
            </a:prstGeom>
          </p:spPr>
        </p:pic>
        <p:pic>
          <p:nvPicPr>
            <p:cNvPr id="27" name="Content Placeholder 3">
              <a:extLst>
                <a:ext uri="{FF2B5EF4-FFF2-40B4-BE49-F238E27FC236}">
                  <a16:creationId xmlns:a16="http://schemas.microsoft.com/office/drawing/2014/main" id="{52A640B2-2F65-7D48-BEC0-73065D4F5015}"/>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6287013" y="1727954"/>
              <a:ext cx="4281511" cy="3328204"/>
            </a:xfrm>
            <a:prstGeom prst="rect">
              <a:avLst/>
            </a:prstGeom>
          </p:spPr>
        </p:pic>
      </p:grpSp>
    </p:spTree>
    <p:extLst>
      <p:ext uri="{BB962C8B-B14F-4D97-AF65-F5344CB8AC3E}">
        <p14:creationId xmlns:p14="http://schemas.microsoft.com/office/powerpoint/2010/main" val="1395999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HADR with SQL Server on Linux</a:t>
            </a:r>
          </a:p>
        </p:txBody>
      </p:sp>
      <p:grpSp>
        <p:nvGrpSpPr>
          <p:cNvPr id="2" name="Group 1">
            <a:extLst>
              <a:ext uri="{FF2B5EF4-FFF2-40B4-BE49-F238E27FC236}">
                <a16:creationId xmlns:a16="http://schemas.microsoft.com/office/drawing/2014/main" id="{CF1D3BF2-7A29-4B5A-B4F8-202F5B3791D7}"/>
              </a:ext>
            </a:extLst>
          </p:cNvPr>
          <p:cNvGrpSpPr/>
          <p:nvPr/>
        </p:nvGrpSpPr>
        <p:grpSpPr>
          <a:xfrm>
            <a:off x="438793" y="1902016"/>
            <a:ext cx="3554379" cy="2708329"/>
            <a:chOff x="437990" y="2041282"/>
            <a:chExt cx="3554883" cy="2708714"/>
          </a:xfrm>
        </p:grpSpPr>
        <p:sp>
          <p:nvSpPr>
            <p:cNvPr id="16" name="Rectangle 15">
              <a:extLst>
                <a:ext uri="{FF2B5EF4-FFF2-40B4-BE49-F238E27FC236}">
                  <a16:creationId xmlns:a16="http://schemas.microsoft.com/office/drawing/2014/main" id="{0E011EF6-8D90-4B41-97B9-BEBFF76A4D2F}"/>
                </a:ext>
              </a:extLst>
            </p:cNvPr>
            <p:cNvSpPr/>
            <p:nvPr/>
          </p:nvSpPr>
          <p:spPr bwMode="auto">
            <a:xfrm>
              <a:off x="484096" y="2406226"/>
              <a:ext cx="3311818" cy="2196510"/>
            </a:xfrm>
            <a:prstGeom prst="rect">
              <a:avLst/>
            </a:prstGeom>
            <a:noFill/>
            <a:ln w="6350" cap="flat" cmpd="sng" algn="ctr">
              <a:noFill/>
              <a:prstDash val="solid"/>
              <a:headEnd type="none" w="med" len="med"/>
              <a:tailEnd type="none" w="med" len="med"/>
            </a:ln>
            <a:effectLst/>
          </p:spPr>
          <p:txBody>
            <a:bodyPr rot="0" spcFirstLastPara="0" vert="horz" wrap="square" lIns="91427" tIns="91427" rIns="91427" bIns="91427" numCol="1" spcCol="0" rtlCol="0" fromWordArt="0" anchor="t" anchorCtr="0" forceAA="0" compatLnSpc="1">
              <a:prstTxWarp prst="textNoShape">
                <a:avLst/>
              </a:prstTxWarp>
              <a:noAutofit/>
            </a:bodyPr>
            <a:lstStyle/>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Pacemaker and Corosync</a:t>
              </a:r>
            </a:p>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Single SQL Server instance</a:t>
              </a:r>
            </a:p>
            <a:p>
              <a:pPr marL="0" lvl="2" defTabSz="932384">
                <a:spcAft>
                  <a:spcPts val="300"/>
                </a:spcAft>
                <a:defRPr/>
              </a:pPr>
              <a:r>
                <a:rPr lang="en-US" sz="1200" kern="0" dirty="0">
                  <a:solidFill>
                    <a:srgbClr val="353535"/>
                  </a:solidFill>
                  <a:latin typeface="Segoe UI Semilight" panose="020B0402040204020203" pitchFamily="34" charset="0"/>
                  <a:cs typeface="Segoe UI Semilight" panose="020B0402040204020203" pitchFamily="34" charset="0"/>
                </a:rPr>
                <a:t>SQL resource agent (mssql-server-ha)</a:t>
              </a:r>
            </a:p>
            <a:p>
              <a:pPr marL="0" lvl="2" defTabSz="932384">
                <a:spcAft>
                  <a:spcPts val="300"/>
                </a:spcAft>
                <a:defRPr/>
              </a:pPr>
              <a:endParaRPr lang="en-US" sz="1200" kern="0" dirty="0">
                <a:solidFill>
                  <a:srgbClr val="353535"/>
                </a:solidFill>
                <a:latin typeface="Segoe UI Semilight" panose="020B0402040204020203" pitchFamily="34" charset="0"/>
                <a:cs typeface="Segoe UI Semilight" panose="020B0402040204020203" pitchFamily="34" charset="0"/>
              </a:endParaRPr>
            </a:p>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Open-source resource agent is available on GitHub Repository</a:t>
              </a:r>
              <a:r>
                <a:rPr lang="en-US" sz="1400" b="1" kern="0" baseline="30000" dirty="0">
                  <a:solidFill>
                    <a:srgbClr val="353535"/>
                  </a:solidFill>
                  <a:latin typeface="Segoe UI Semibold" panose="020B0502040204020203" pitchFamily="34" charset="0"/>
                  <a:cs typeface="Segoe UI Semibold" panose="020B0502040204020203" pitchFamily="34" charset="0"/>
                </a:rPr>
                <a:t>1</a:t>
              </a:r>
              <a:r>
                <a:rPr lang="en-US" sz="1400" b="1" kern="0" dirty="0">
                  <a:solidFill>
                    <a:srgbClr val="353535"/>
                  </a:solidFill>
                  <a:latin typeface="Segoe UI Semibold" panose="020B0502040204020203" pitchFamily="34" charset="0"/>
                  <a:cs typeface="Segoe UI Semibold" panose="020B0502040204020203" pitchFamily="34" charset="0"/>
                </a:rPr>
                <a:t> </a:t>
              </a:r>
            </a:p>
            <a:p>
              <a:pPr marL="0" lvl="2" defTabSz="932384">
                <a:spcAft>
                  <a:spcPts val="300"/>
                </a:spcAft>
                <a:defRPr/>
              </a:pPr>
              <a:endParaRPr lang="en-US" sz="1200" kern="0" dirty="0">
                <a:solidFill>
                  <a:srgbClr val="353535"/>
                </a:solidFill>
                <a:latin typeface="Segoe UI Semilight" panose="020B0402040204020203" pitchFamily="34" charset="0"/>
                <a:cs typeface="Segoe UI Semilight" panose="020B0402040204020203" pitchFamily="34" charset="0"/>
              </a:endParaRPr>
            </a:p>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Shared Storage</a:t>
              </a:r>
            </a:p>
            <a:p>
              <a:pPr marL="0" lvl="2" defTabSz="932384">
                <a:spcAft>
                  <a:spcPts val="300"/>
                </a:spcAft>
                <a:defRPr/>
              </a:pPr>
              <a:r>
                <a:rPr lang="en-US" sz="1200" kern="0" dirty="0">
                  <a:solidFill>
                    <a:srgbClr val="353535"/>
                  </a:solidFill>
                  <a:latin typeface="Segoe UI Semilight" panose="020B0402040204020203" pitchFamily="34" charset="0"/>
                  <a:cs typeface="Segoe UI Semilight" panose="020B0402040204020203" pitchFamily="34" charset="0"/>
                </a:rPr>
                <a:t>ISCI, NFS, SMB</a:t>
              </a:r>
            </a:p>
            <a:p>
              <a:pPr marL="0" lvl="2" defTabSz="932384">
                <a:spcAft>
                  <a:spcPts val="300"/>
                </a:spcAft>
                <a:defRPr/>
              </a:pPr>
              <a:endParaRPr lang="en-US" sz="2000" kern="0" dirty="0">
                <a:solidFill>
                  <a:srgbClr val="353535"/>
                </a:solidFill>
                <a:latin typeface="Segoe UI Semilight" panose="020B0402040204020203" pitchFamily="34" charset="0"/>
                <a:cs typeface="Segoe UI Semilight" panose="020B0402040204020203" pitchFamily="34" charset="0"/>
              </a:endParaRPr>
            </a:p>
          </p:txBody>
        </p:sp>
        <p:sp>
          <p:nvSpPr>
            <p:cNvPr id="18" name="Rectangle 17">
              <a:extLst>
                <a:ext uri="{FF2B5EF4-FFF2-40B4-BE49-F238E27FC236}">
                  <a16:creationId xmlns:a16="http://schemas.microsoft.com/office/drawing/2014/main" id="{74F62DCE-AEE5-B846-BA69-D0ABCCADA908}"/>
                </a:ext>
              </a:extLst>
            </p:cNvPr>
            <p:cNvSpPr/>
            <p:nvPr/>
          </p:nvSpPr>
          <p:spPr bwMode="auto">
            <a:xfrm>
              <a:off x="484095" y="2041282"/>
              <a:ext cx="3474720" cy="430887"/>
            </a:xfrm>
            <a:prstGeom prst="rect">
              <a:avLst/>
            </a:prstGeom>
            <a:noFill/>
            <a:ln w="6350" cap="flat" cmpd="sng" algn="ctr">
              <a:noFill/>
              <a:prstDash val="solid"/>
              <a:headEnd type="none" w="med" len="med"/>
              <a:tailEnd type="none" w="med" len="med"/>
            </a:ln>
            <a:effectLst/>
          </p:spPr>
          <p:txBody>
            <a:bodyPr rot="0" spcFirstLastPara="0" vert="horz" wrap="square" lIns="91427" tIns="91427" rIns="91427" bIns="91427"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022">
                <a:defRPr/>
              </a:pPr>
              <a:r>
                <a:rPr lang="en-US" sz="1600" b="1" kern="0" dirty="0">
                  <a:solidFill>
                    <a:srgbClr val="0078D7"/>
                  </a:solidFill>
                  <a:latin typeface="Segoe UI Semibold" panose="020B0502040204020203" pitchFamily="34" charset="0"/>
                  <a:cs typeface="Segoe UI Semibold" panose="020B0502040204020203" pitchFamily="34" charset="0"/>
                </a:rPr>
                <a:t>Failover Cluster Instance</a:t>
              </a:r>
            </a:p>
          </p:txBody>
        </p:sp>
        <p:sp>
          <p:nvSpPr>
            <p:cNvPr id="3" name="Rectangle 2">
              <a:extLst>
                <a:ext uri="{FF2B5EF4-FFF2-40B4-BE49-F238E27FC236}">
                  <a16:creationId xmlns:a16="http://schemas.microsoft.com/office/drawing/2014/main" id="{A93C35AC-0B93-D944-83DF-E1DFED7C7160}"/>
                </a:ext>
              </a:extLst>
            </p:cNvPr>
            <p:cNvSpPr/>
            <p:nvPr/>
          </p:nvSpPr>
          <p:spPr bwMode="auto">
            <a:xfrm>
              <a:off x="437990" y="2041282"/>
              <a:ext cx="3554883" cy="2708714"/>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4" name="Group 3">
            <a:extLst>
              <a:ext uri="{FF2B5EF4-FFF2-40B4-BE49-F238E27FC236}">
                <a16:creationId xmlns:a16="http://schemas.microsoft.com/office/drawing/2014/main" id="{D2E227EC-2CCA-416C-8214-28CD7C4A39D0}"/>
              </a:ext>
            </a:extLst>
          </p:cNvPr>
          <p:cNvGrpSpPr/>
          <p:nvPr/>
        </p:nvGrpSpPr>
        <p:grpSpPr>
          <a:xfrm>
            <a:off x="4335150" y="1908435"/>
            <a:ext cx="3554379" cy="2708329"/>
            <a:chOff x="4334900" y="2047703"/>
            <a:chExt cx="3554883" cy="2708714"/>
          </a:xfrm>
        </p:grpSpPr>
        <p:sp>
          <p:nvSpPr>
            <p:cNvPr id="14" name="Rectangle 13">
              <a:extLst>
                <a:ext uri="{FF2B5EF4-FFF2-40B4-BE49-F238E27FC236}">
                  <a16:creationId xmlns:a16="http://schemas.microsoft.com/office/drawing/2014/main" id="{13131637-D771-3B44-AFD9-4B7DF8A5B86B}"/>
                </a:ext>
              </a:extLst>
            </p:cNvPr>
            <p:cNvSpPr/>
            <p:nvPr/>
          </p:nvSpPr>
          <p:spPr bwMode="auto">
            <a:xfrm>
              <a:off x="4393530" y="2406227"/>
              <a:ext cx="3063266" cy="2288718"/>
            </a:xfrm>
            <a:prstGeom prst="rect">
              <a:avLst/>
            </a:prstGeom>
            <a:noFill/>
            <a:ln w="6350" cap="flat" cmpd="sng" algn="ctr">
              <a:noFill/>
              <a:prstDash val="solid"/>
              <a:headEnd type="none" w="med" len="med"/>
              <a:tailEnd type="none" w="med" len="med"/>
            </a:ln>
            <a:effectLst/>
          </p:spPr>
          <p:txBody>
            <a:bodyPr rot="0" spcFirstLastPara="0" vert="horz" wrap="square" lIns="91427" tIns="91427" rIns="91427" bIns="91427" numCol="1" spcCol="0" rtlCol="0" fromWordArt="0" anchor="t" anchorCtr="0" forceAA="0" compatLnSpc="1">
              <a:prstTxWarp prst="textNoShape">
                <a:avLst/>
              </a:prstTxWarp>
              <a:noAutofit/>
            </a:bodyPr>
            <a:lstStyle/>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CLUSTER_TYPE = EXTERNAL</a:t>
              </a:r>
            </a:p>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Auto failover</a:t>
              </a:r>
            </a:p>
            <a:p>
              <a:pPr marL="0" lvl="2" defTabSz="932384">
                <a:spcAft>
                  <a:spcPts val="300"/>
                </a:spcAft>
                <a:defRPr/>
              </a:pPr>
              <a:r>
                <a:rPr lang="en-US" sz="1200" kern="0" dirty="0">
                  <a:solidFill>
                    <a:srgbClr val="353535"/>
                  </a:solidFill>
                  <a:latin typeface="Segoe UI Semilight" panose="020B0402040204020203" pitchFamily="34" charset="0"/>
                  <a:cs typeface="Segoe UI Semilight" panose="020B0402040204020203" pitchFamily="34" charset="0"/>
                </a:rPr>
                <a:t>Pacemaker</a:t>
              </a:r>
            </a:p>
            <a:p>
              <a:pPr marL="0" lvl="2" defTabSz="932384">
                <a:spcAft>
                  <a:spcPts val="300"/>
                </a:spcAft>
                <a:defRPr/>
              </a:pPr>
              <a:r>
                <a:rPr lang="en-US" sz="1200" kern="0" dirty="0">
                  <a:solidFill>
                    <a:srgbClr val="353535"/>
                  </a:solidFill>
                  <a:latin typeface="Segoe UI Semilight" panose="020B0402040204020203" pitchFamily="34" charset="0"/>
                  <a:cs typeface="Segoe UI Semilight" panose="020B0402040204020203" pitchFamily="34" charset="0"/>
                </a:rPr>
                <a:t>SQL resource agent (mssql-server-ha)</a:t>
              </a:r>
            </a:p>
            <a:p>
              <a:pPr marL="0" lvl="2" defTabSz="932384">
                <a:spcAft>
                  <a:spcPts val="300"/>
                </a:spcAft>
                <a:defRPr/>
              </a:pPr>
              <a:endParaRPr lang="en-US" sz="1175" kern="0" dirty="0">
                <a:solidFill>
                  <a:srgbClr val="353535"/>
                </a:solidFill>
                <a:latin typeface="Segoe UI Semilight" panose="020B0402040204020203" pitchFamily="34" charset="0"/>
                <a:cs typeface="Segoe UI Semilight" panose="020B0402040204020203" pitchFamily="34" charset="0"/>
              </a:endParaRPr>
            </a:p>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3 replicas required</a:t>
              </a:r>
            </a:p>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Configuration only replica for metadata</a:t>
              </a:r>
            </a:p>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Full AG capabilities</a:t>
              </a:r>
            </a:p>
            <a:p>
              <a:pPr marL="0" lvl="2" defTabSz="932384">
                <a:spcAft>
                  <a:spcPts val="300"/>
                </a:spcAft>
                <a:defRPr/>
              </a:pPr>
              <a:endParaRPr lang="en-US" sz="2000" kern="0" dirty="0">
                <a:solidFill>
                  <a:srgbClr val="353535"/>
                </a:solidFill>
                <a:latin typeface="Segoe UI Semilight" panose="020B0402040204020203" pitchFamily="34" charset="0"/>
                <a:cs typeface="Segoe UI Semilight" panose="020B0402040204020203" pitchFamily="34" charset="0"/>
              </a:endParaRPr>
            </a:p>
          </p:txBody>
        </p:sp>
        <p:sp>
          <p:nvSpPr>
            <p:cNvPr id="19" name="Rectangle 18">
              <a:extLst>
                <a:ext uri="{FF2B5EF4-FFF2-40B4-BE49-F238E27FC236}">
                  <a16:creationId xmlns:a16="http://schemas.microsoft.com/office/drawing/2014/main" id="{3F61591F-8CFC-BD40-83AE-C84648D2FC4F}"/>
                </a:ext>
              </a:extLst>
            </p:cNvPr>
            <p:cNvSpPr/>
            <p:nvPr/>
          </p:nvSpPr>
          <p:spPr bwMode="auto">
            <a:xfrm>
              <a:off x="4393530" y="2047703"/>
              <a:ext cx="3474720" cy="430887"/>
            </a:xfrm>
            <a:prstGeom prst="rect">
              <a:avLst/>
            </a:prstGeom>
            <a:noFill/>
            <a:ln w="6350" cap="flat" cmpd="sng" algn="ctr">
              <a:noFill/>
              <a:prstDash val="solid"/>
              <a:headEnd type="none" w="med" len="med"/>
              <a:tailEnd type="none" w="med" len="med"/>
            </a:ln>
            <a:effectLst/>
          </p:spPr>
          <p:txBody>
            <a:bodyPr rot="0" spcFirstLastPara="0" vert="horz" wrap="square" lIns="91427" tIns="91427" rIns="91427" bIns="91427" numCol="1" spcCol="0" rtlCol="0" fromWordArt="0" anchor="b" anchorCtr="0" forceAA="0" compatLnSpc="1">
              <a:prstTxWarp prst="textNoShape">
                <a:avLst/>
              </a:prstTxWarp>
              <a:noAutofit/>
            </a:bodyPr>
            <a:lstStyle/>
            <a:p>
              <a:pPr defTabSz="932022">
                <a:defRPr/>
              </a:pPr>
              <a:r>
                <a:rPr lang="en-US" sz="1600" b="1" kern="0" dirty="0">
                  <a:solidFill>
                    <a:srgbClr val="0078D7"/>
                  </a:solidFill>
                  <a:latin typeface="Segoe UI Semibold" panose="020B0502040204020203" pitchFamily="34" charset="0"/>
                  <a:cs typeface="Segoe UI Semibold" panose="020B0502040204020203" pitchFamily="34" charset="0"/>
                </a:rPr>
                <a:t>High Availability Group</a:t>
              </a:r>
            </a:p>
          </p:txBody>
        </p:sp>
        <p:sp>
          <p:nvSpPr>
            <p:cNvPr id="11" name="Rectangle 10">
              <a:extLst>
                <a:ext uri="{FF2B5EF4-FFF2-40B4-BE49-F238E27FC236}">
                  <a16:creationId xmlns:a16="http://schemas.microsoft.com/office/drawing/2014/main" id="{1CC4E7DA-EAFE-A94B-A38C-DC561A868AB1}"/>
                </a:ext>
              </a:extLst>
            </p:cNvPr>
            <p:cNvSpPr/>
            <p:nvPr/>
          </p:nvSpPr>
          <p:spPr bwMode="auto">
            <a:xfrm>
              <a:off x="4334900" y="2047703"/>
              <a:ext cx="3554883" cy="2708714"/>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5" name="Group 4">
            <a:extLst>
              <a:ext uri="{FF2B5EF4-FFF2-40B4-BE49-F238E27FC236}">
                <a16:creationId xmlns:a16="http://schemas.microsoft.com/office/drawing/2014/main" id="{D026CE7C-47E7-48CD-A572-0ACC03673959}"/>
              </a:ext>
            </a:extLst>
          </p:cNvPr>
          <p:cNvGrpSpPr/>
          <p:nvPr/>
        </p:nvGrpSpPr>
        <p:grpSpPr>
          <a:xfrm>
            <a:off x="8263313" y="1908435"/>
            <a:ext cx="3554379" cy="2708329"/>
            <a:chOff x="8263620" y="2047703"/>
            <a:chExt cx="3554883" cy="2708714"/>
          </a:xfrm>
        </p:grpSpPr>
        <p:sp>
          <p:nvSpPr>
            <p:cNvPr id="17" name="Rectangle 16">
              <a:extLst>
                <a:ext uri="{FF2B5EF4-FFF2-40B4-BE49-F238E27FC236}">
                  <a16:creationId xmlns:a16="http://schemas.microsoft.com/office/drawing/2014/main" id="{B6526A3B-BD69-0742-916A-8439C4522917}"/>
                </a:ext>
              </a:extLst>
            </p:cNvPr>
            <p:cNvSpPr/>
            <p:nvPr/>
          </p:nvSpPr>
          <p:spPr bwMode="auto">
            <a:xfrm>
              <a:off x="8343784" y="2406227"/>
              <a:ext cx="2897958" cy="2196510"/>
            </a:xfrm>
            <a:prstGeom prst="rect">
              <a:avLst/>
            </a:prstGeom>
            <a:noFill/>
            <a:ln w="6350" cap="flat" cmpd="sng" algn="ctr">
              <a:noFill/>
              <a:prstDash val="solid"/>
              <a:headEnd type="none" w="med" len="med"/>
              <a:tailEnd type="none" w="med" len="med"/>
            </a:ln>
            <a:effectLst/>
          </p:spPr>
          <p:txBody>
            <a:bodyPr rot="0" spcFirstLastPara="0" vert="horz" wrap="square" lIns="91427" tIns="91427" rIns="91427" bIns="9142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CLUSTER_TYPE=NONE</a:t>
              </a:r>
            </a:p>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No clustering required</a:t>
              </a:r>
            </a:p>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Manual or forced failover</a:t>
              </a:r>
            </a:p>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Sync or async replicas</a:t>
              </a:r>
            </a:p>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Read scale routing</a:t>
              </a:r>
            </a:p>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Cross-platform</a:t>
              </a:r>
            </a:p>
          </p:txBody>
        </p:sp>
        <p:sp>
          <p:nvSpPr>
            <p:cNvPr id="20" name="Rectangle 19">
              <a:extLst>
                <a:ext uri="{FF2B5EF4-FFF2-40B4-BE49-F238E27FC236}">
                  <a16:creationId xmlns:a16="http://schemas.microsoft.com/office/drawing/2014/main" id="{607972F1-8EBD-4244-B98E-5411E3A14618}"/>
                </a:ext>
              </a:extLst>
            </p:cNvPr>
            <p:cNvSpPr/>
            <p:nvPr/>
          </p:nvSpPr>
          <p:spPr bwMode="auto">
            <a:xfrm>
              <a:off x="8343783" y="2047703"/>
              <a:ext cx="3474720" cy="430887"/>
            </a:xfrm>
            <a:prstGeom prst="rect">
              <a:avLst/>
            </a:prstGeom>
            <a:noFill/>
            <a:ln w="6350" cap="flat" cmpd="sng" algn="ctr">
              <a:noFill/>
              <a:prstDash val="solid"/>
              <a:headEnd type="none" w="med" len="med"/>
              <a:tailEnd type="none" w="med" len="med"/>
            </a:ln>
            <a:effectLst/>
          </p:spPr>
          <p:txBody>
            <a:bodyPr rot="0" spcFirstLastPara="0" vert="horz" wrap="square" lIns="91427" tIns="91427" rIns="91427" bIns="91427" numCol="1" spcCol="0" rtlCol="0" fromWordArt="0" anchor="b" anchorCtr="0" forceAA="0" compatLnSpc="1">
              <a:prstTxWarp prst="textNoShape">
                <a:avLst/>
              </a:prstTxWarp>
              <a:noAutofit/>
            </a:bodyPr>
            <a:lstStyle/>
            <a:p>
              <a:pPr defTabSz="932022">
                <a:defRPr/>
              </a:pPr>
              <a:r>
                <a:rPr lang="en-US" sz="1600" b="1" kern="0" dirty="0">
                  <a:solidFill>
                    <a:srgbClr val="0078D7"/>
                  </a:solidFill>
                  <a:latin typeface="Segoe UI Semibold" panose="020B0502040204020203" pitchFamily="34" charset="0"/>
                  <a:cs typeface="Segoe UI Semibold" panose="020B0502040204020203" pitchFamily="34" charset="0"/>
                </a:rPr>
                <a:t>Read-Scale Availability Group</a:t>
              </a:r>
            </a:p>
          </p:txBody>
        </p:sp>
        <p:sp>
          <p:nvSpPr>
            <p:cNvPr id="12" name="Rectangle 11">
              <a:extLst>
                <a:ext uri="{FF2B5EF4-FFF2-40B4-BE49-F238E27FC236}">
                  <a16:creationId xmlns:a16="http://schemas.microsoft.com/office/drawing/2014/main" id="{BD0721B8-F21C-9343-8AD1-CBB85096486F}"/>
                </a:ext>
              </a:extLst>
            </p:cNvPr>
            <p:cNvSpPr/>
            <p:nvPr/>
          </p:nvSpPr>
          <p:spPr bwMode="auto">
            <a:xfrm>
              <a:off x="8263620" y="2047703"/>
              <a:ext cx="3554883" cy="2708714"/>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5" name="Group 14">
            <a:extLst>
              <a:ext uri="{FF2B5EF4-FFF2-40B4-BE49-F238E27FC236}">
                <a16:creationId xmlns:a16="http://schemas.microsoft.com/office/drawing/2014/main" id="{C91A72EF-8759-44B1-8FAF-1B49B54F3EDF}"/>
              </a:ext>
            </a:extLst>
          </p:cNvPr>
          <p:cNvGrpSpPr/>
          <p:nvPr/>
        </p:nvGrpSpPr>
        <p:grpSpPr>
          <a:xfrm>
            <a:off x="484892" y="4838387"/>
            <a:ext cx="11378899" cy="651274"/>
            <a:chOff x="8263620" y="2047703"/>
            <a:chExt cx="3554883" cy="2708714"/>
          </a:xfrm>
        </p:grpSpPr>
        <p:sp>
          <p:nvSpPr>
            <p:cNvPr id="22" name="Rectangle 21">
              <a:extLst>
                <a:ext uri="{FF2B5EF4-FFF2-40B4-BE49-F238E27FC236}">
                  <a16:creationId xmlns:a16="http://schemas.microsoft.com/office/drawing/2014/main" id="{AAA5760E-3426-499A-AAD0-B4329AA5B623}"/>
                </a:ext>
              </a:extLst>
            </p:cNvPr>
            <p:cNvSpPr/>
            <p:nvPr/>
          </p:nvSpPr>
          <p:spPr bwMode="auto">
            <a:xfrm>
              <a:off x="8303701" y="3653089"/>
              <a:ext cx="3474720" cy="430888"/>
            </a:xfrm>
            <a:prstGeom prst="rect">
              <a:avLst/>
            </a:prstGeom>
            <a:noFill/>
            <a:ln w="6350" cap="flat" cmpd="sng" algn="ctr">
              <a:noFill/>
              <a:prstDash val="solid"/>
              <a:headEnd type="none" w="med" len="med"/>
              <a:tailEnd type="none" w="med" len="med"/>
            </a:ln>
            <a:effectLst/>
          </p:spPr>
          <p:txBody>
            <a:bodyPr rot="0" spcFirstLastPara="0" vert="horz" wrap="square" lIns="91427" tIns="91427" rIns="91427" bIns="91427" numCol="1" spcCol="0" rtlCol="0" fromWordArt="0" anchor="b" anchorCtr="0" forceAA="0" compatLnSpc="1">
              <a:prstTxWarp prst="textNoShape">
                <a:avLst/>
              </a:prstTxWarp>
              <a:noAutofit/>
            </a:bodyPr>
            <a:lstStyle/>
            <a:p>
              <a:pPr algn="ctr" defTabSz="932022">
                <a:defRPr/>
              </a:pPr>
              <a:r>
                <a:rPr lang="en-US" sz="1600" b="1" kern="0" dirty="0">
                  <a:solidFill>
                    <a:srgbClr val="0078D7"/>
                  </a:solidFill>
                  <a:latin typeface="Segoe UI Semibold" panose="020B0502040204020203" pitchFamily="34" charset="0"/>
                  <a:cs typeface="Segoe UI Semibold" panose="020B0502040204020203" pitchFamily="34" charset="0"/>
                </a:rPr>
                <a:t>Industry-leading solutions available from HA/DR partners</a:t>
              </a:r>
              <a:r>
                <a:rPr lang="en-US" sz="1600" b="1" kern="0" baseline="30000" dirty="0">
                  <a:solidFill>
                    <a:srgbClr val="0078D7"/>
                  </a:solidFill>
                  <a:latin typeface="Segoe UI Semibold" panose="020B0502040204020203" pitchFamily="34" charset="0"/>
                  <a:cs typeface="Segoe UI Semibold" panose="020B0502040204020203" pitchFamily="34" charset="0"/>
                </a:rPr>
                <a:t>2</a:t>
              </a:r>
              <a:r>
                <a:rPr lang="en-US" sz="1600" b="1" kern="0" dirty="0">
                  <a:solidFill>
                    <a:srgbClr val="0078D7"/>
                  </a:solidFill>
                  <a:latin typeface="Segoe UI Semibold" panose="020B0502040204020203" pitchFamily="34" charset="0"/>
                  <a:cs typeface="Segoe UI Semibold" panose="020B0502040204020203" pitchFamily="34" charset="0"/>
                </a:rPr>
                <a:t> </a:t>
              </a:r>
            </a:p>
          </p:txBody>
        </p:sp>
        <p:sp>
          <p:nvSpPr>
            <p:cNvPr id="23" name="Rectangle 22">
              <a:extLst>
                <a:ext uri="{FF2B5EF4-FFF2-40B4-BE49-F238E27FC236}">
                  <a16:creationId xmlns:a16="http://schemas.microsoft.com/office/drawing/2014/main" id="{197E7A6C-FD29-4F1A-82AC-808C0446E4CF}"/>
                </a:ext>
              </a:extLst>
            </p:cNvPr>
            <p:cNvSpPr/>
            <p:nvPr/>
          </p:nvSpPr>
          <p:spPr bwMode="auto">
            <a:xfrm>
              <a:off x="8263620" y="2047703"/>
              <a:ext cx="3554883" cy="2708714"/>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6" name="TextBox 5">
            <a:extLst>
              <a:ext uri="{FF2B5EF4-FFF2-40B4-BE49-F238E27FC236}">
                <a16:creationId xmlns:a16="http://schemas.microsoft.com/office/drawing/2014/main" id="{F058D8EB-6D37-48CC-ACA6-5802CE14F3A5}"/>
              </a:ext>
            </a:extLst>
          </p:cNvPr>
          <p:cNvSpPr txBox="1"/>
          <p:nvPr/>
        </p:nvSpPr>
        <p:spPr>
          <a:xfrm>
            <a:off x="270068" y="6154739"/>
            <a:ext cx="8042923" cy="600079"/>
          </a:xfrm>
          <a:prstGeom prst="rect">
            <a:avLst/>
          </a:prstGeom>
          <a:noFill/>
        </p:spPr>
        <p:txBody>
          <a:bodyPr wrap="square" lIns="182854" tIns="146284" rIns="182854" bIns="146284" rtlCol="0">
            <a:spAutoFit/>
          </a:bodyPr>
          <a:lstStyle/>
          <a:p>
            <a:pPr defTabSz="914192">
              <a:lnSpc>
                <a:spcPct val="90000"/>
              </a:lnSpc>
            </a:pPr>
            <a:r>
              <a:rPr lang="en-US" sz="1050" dirty="0">
                <a:gradFill>
                  <a:gsLst>
                    <a:gs pos="2917">
                      <a:srgbClr val="505050"/>
                    </a:gs>
                    <a:gs pos="30000">
                      <a:srgbClr val="505050"/>
                    </a:gs>
                  </a:gsLst>
                  <a:lin ang="5400000" scaled="0"/>
                </a:gradFill>
                <a:latin typeface="Segoe UI"/>
              </a:rPr>
              <a:t>1. https://github.com/Microsoft/mssql-server-ha</a:t>
            </a:r>
          </a:p>
          <a:p>
            <a:pPr defTabSz="914192">
              <a:lnSpc>
                <a:spcPct val="90000"/>
              </a:lnSpc>
            </a:pPr>
            <a:r>
              <a:rPr lang="en-US" sz="1050" dirty="0">
                <a:gradFill>
                  <a:gsLst>
                    <a:gs pos="2917">
                      <a:srgbClr val="505050"/>
                    </a:gs>
                    <a:gs pos="30000">
                      <a:srgbClr val="505050"/>
                    </a:gs>
                  </a:gsLst>
                  <a:lin ang="5400000" scaled="0"/>
                </a:gradFill>
                <a:latin typeface="Segoe UI"/>
              </a:rPr>
              <a:t>2. https://docs.microsoft.com/en-us/sql/sql-server/partner-hadr-sql-server?view=sql-server-2017</a:t>
            </a:r>
          </a:p>
        </p:txBody>
      </p:sp>
    </p:spTree>
    <p:custDataLst>
      <p:tags r:id="rId1"/>
    </p:custDataLst>
    <p:extLst>
      <p:ext uri="{BB962C8B-B14F-4D97-AF65-F5344CB8AC3E}">
        <p14:creationId xmlns:p14="http://schemas.microsoft.com/office/powerpoint/2010/main" val="3968502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Rectangle 123">
            <a:extLst>
              <a:ext uri="{FF2B5EF4-FFF2-40B4-BE49-F238E27FC236}">
                <a16:creationId xmlns:a16="http://schemas.microsoft.com/office/drawing/2014/main" id="{AA487CBE-C755-A248-8B16-09E36E5A07A5}"/>
              </a:ext>
            </a:extLst>
          </p:cNvPr>
          <p:cNvSpPr/>
          <p:nvPr/>
        </p:nvSpPr>
        <p:spPr>
          <a:xfrm>
            <a:off x="5150498" y="316866"/>
            <a:ext cx="6736701" cy="622109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2"/>
              </a:solidFill>
              <a:effectLst/>
              <a:uLnTx/>
              <a:uFillTx/>
              <a:latin typeface="Segoe UI"/>
              <a:ea typeface="+mn-ea"/>
              <a:cs typeface="+mn-cs"/>
            </a:endParaRPr>
          </a:p>
        </p:txBody>
      </p:sp>
      <p:sp>
        <p:nvSpPr>
          <p:cNvPr id="2" name="Title 1">
            <a:extLst>
              <a:ext uri="{FF2B5EF4-FFF2-40B4-BE49-F238E27FC236}">
                <a16:creationId xmlns:a16="http://schemas.microsoft.com/office/drawing/2014/main" id="{D0E37A8B-817C-4BAF-97EA-57F6E0E697E8}"/>
              </a:ext>
            </a:extLst>
          </p:cNvPr>
          <p:cNvSpPr>
            <a:spLocks noGrp="1"/>
          </p:cNvSpPr>
          <p:nvPr>
            <p:ph type="title"/>
          </p:nvPr>
        </p:nvSpPr>
        <p:spPr>
          <a:xfrm>
            <a:off x="343623" y="200637"/>
            <a:ext cx="4608577" cy="984885"/>
          </a:xfrm>
        </p:spPr>
        <p:txBody>
          <a:bodyPr/>
          <a:lstStyle/>
          <a:p>
            <a:r>
              <a:rPr lang="en-US" sz="3200" dirty="0"/>
              <a:t>SQL Server 2019 and Linux</a:t>
            </a:r>
          </a:p>
        </p:txBody>
      </p:sp>
      <p:sp>
        <p:nvSpPr>
          <p:cNvPr id="3" name="Text Placeholder 2">
            <a:extLst>
              <a:ext uri="{FF2B5EF4-FFF2-40B4-BE49-F238E27FC236}">
                <a16:creationId xmlns:a16="http://schemas.microsoft.com/office/drawing/2014/main" id="{7B2A7C7E-7B3C-4E4F-9853-16303F557B12}"/>
              </a:ext>
            </a:extLst>
          </p:cNvPr>
          <p:cNvSpPr>
            <a:spLocks noGrp="1"/>
          </p:cNvSpPr>
          <p:nvPr>
            <p:ph type="body" sz="quarter" idx="10"/>
          </p:nvPr>
        </p:nvSpPr>
        <p:spPr>
          <a:xfrm>
            <a:off x="584201" y="1831737"/>
            <a:ext cx="3606800" cy="4190891"/>
          </a:xfrm>
        </p:spPr>
        <p:txBody>
          <a:bodyPr/>
          <a:lstStyle/>
          <a:p>
            <a:pPr marL="0" indent="0">
              <a:spcBef>
                <a:spcPts val="1000"/>
              </a:spcBef>
              <a:buNone/>
            </a:pPr>
            <a:r>
              <a:rPr lang="en-US" sz="2000" dirty="0"/>
              <a:t>Closing features gaps for SQL Server on Linux on SQL 2019</a:t>
            </a:r>
          </a:p>
          <a:p>
            <a:pPr lvl="1">
              <a:spcBef>
                <a:spcPts val="1000"/>
              </a:spcBef>
            </a:pPr>
            <a:r>
              <a:rPr lang="en-US" sz="1800" dirty="0"/>
              <a:t>Replication </a:t>
            </a:r>
          </a:p>
          <a:p>
            <a:pPr lvl="1">
              <a:spcBef>
                <a:spcPts val="1000"/>
              </a:spcBef>
            </a:pPr>
            <a:r>
              <a:rPr lang="en-US" sz="1800" dirty="0"/>
              <a:t>Distributed transactions </a:t>
            </a:r>
          </a:p>
          <a:p>
            <a:pPr lvl="1">
              <a:spcBef>
                <a:spcPts val="1000"/>
              </a:spcBef>
            </a:pPr>
            <a:r>
              <a:rPr lang="en-US" sz="1800" dirty="0"/>
              <a:t>Machine Learning </a:t>
            </a:r>
          </a:p>
          <a:p>
            <a:pPr marL="0" indent="0">
              <a:spcBef>
                <a:spcPts val="1000"/>
              </a:spcBef>
              <a:buNone/>
            </a:pPr>
            <a:r>
              <a:rPr lang="en-US" sz="2000" dirty="0"/>
              <a:t>Open LDAP Provider support</a:t>
            </a:r>
          </a:p>
          <a:p>
            <a:pPr marL="0" indent="0">
              <a:spcBef>
                <a:spcPts val="1000"/>
              </a:spcBef>
              <a:buNone/>
            </a:pPr>
            <a:r>
              <a:rPr lang="en-US" sz="2000" dirty="0"/>
              <a:t>The Microsoft Container Registry</a:t>
            </a:r>
          </a:p>
          <a:p>
            <a:pPr marL="0" indent="0">
              <a:spcBef>
                <a:spcPts val="1000"/>
              </a:spcBef>
              <a:buNone/>
            </a:pPr>
            <a:r>
              <a:rPr lang="en-US" sz="2000" dirty="0"/>
              <a:t>SQL Server RedHat Container Images</a:t>
            </a:r>
          </a:p>
          <a:p>
            <a:pPr marL="0" indent="0">
              <a:spcBef>
                <a:spcPts val="1000"/>
              </a:spcBef>
              <a:buNone/>
            </a:pPr>
            <a:r>
              <a:rPr lang="en-US" sz="2000" dirty="0"/>
              <a:t>Always On Availability Groups on Kubernetes</a:t>
            </a:r>
          </a:p>
        </p:txBody>
      </p:sp>
      <p:sp>
        <p:nvSpPr>
          <p:cNvPr id="64" name="Rectangle 63">
            <a:extLst>
              <a:ext uri="{FF2B5EF4-FFF2-40B4-BE49-F238E27FC236}">
                <a16:creationId xmlns:a16="http://schemas.microsoft.com/office/drawing/2014/main" id="{C58E743F-E45B-426B-BA84-01943BEE07EB}"/>
              </a:ext>
            </a:extLst>
          </p:cNvPr>
          <p:cNvSpPr/>
          <p:nvPr/>
        </p:nvSpPr>
        <p:spPr bwMode="auto">
          <a:xfrm>
            <a:off x="8768669" y="1223188"/>
            <a:ext cx="2589903" cy="4598832"/>
          </a:xfrm>
          <a:prstGeom prst="rect">
            <a:avLst/>
          </a:prstGeom>
          <a:noFill/>
          <a:ln w="9525" cap="flat" cmpd="sng" algn="ctr">
            <a:solidFill>
              <a:srgbClr val="FFFFFF">
                <a:lumMod val="85000"/>
              </a:srgbClr>
            </a:solidFill>
            <a:prstDash val="sys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342900" marR="0" lvl="0" indent="-342900" algn="ctr" defTabSz="932472"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2000" b="1" i="0" u="none" strike="noStrike" kern="0" cap="none" spc="0" normalizeH="0" baseline="0" noProof="0" dirty="0">
              <a:ln>
                <a:noFill/>
              </a:ln>
              <a:solidFill>
                <a:srgbClr val="FFFFFF"/>
              </a:solidFill>
              <a:effectLst/>
              <a:uLnTx/>
              <a:uFillTx/>
              <a:latin typeface="Segoe UI Light"/>
              <a:ea typeface="+mn-ea"/>
              <a:cs typeface="Segoe UI" pitchFamily="34" charset="0"/>
            </a:endParaRPr>
          </a:p>
        </p:txBody>
      </p:sp>
      <p:sp>
        <p:nvSpPr>
          <p:cNvPr id="65" name="Rectangle 64">
            <a:extLst>
              <a:ext uri="{FF2B5EF4-FFF2-40B4-BE49-F238E27FC236}">
                <a16:creationId xmlns:a16="http://schemas.microsoft.com/office/drawing/2014/main" id="{48BEA6D1-3BC7-4813-8190-B6C07BBD0738}"/>
              </a:ext>
            </a:extLst>
          </p:cNvPr>
          <p:cNvSpPr/>
          <p:nvPr/>
        </p:nvSpPr>
        <p:spPr bwMode="auto">
          <a:xfrm>
            <a:off x="5802538" y="1223188"/>
            <a:ext cx="2589903" cy="2063286"/>
          </a:xfrm>
          <a:prstGeom prst="rect">
            <a:avLst/>
          </a:prstGeom>
          <a:noFill/>
          <a:ln w="9525" cap="flat" cmpd="sng" algn="ctr">
            <a:solidFill>
              <a:srgbClr val="FFFFFF">
                <a:lumMod val="85000"/>
              </a:srgbClr>
            </a:solidFill>
            <a:prstDash val="sys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342900" marR="0" lvl="0" indent="-342900" algn="ctr" defTabSz="932472"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2000" b="1" i="0" u="none" strike="noStrike" kern="0" cap="none" spc="0" normalizeH="0" baseline="0" noProof="0" dirty="0">
              <a:ln>
                <a:noFill/>
              </a:ln>
              <a:solidFill>
                <a:srgbClr val="FFFFFF"/>
              </a:solidFill>
              <a:effectLst/>
              <a:uLnTx/>
              <a:uFillTx/>
              <a:latin typeface="Segoe UI Light"/>
              <a:ea typeface="+mn-ea"/>
              <a:cs typeface="Segoe UI" pitchFamily="34" charset="0"/>
            </a:endParaRPr>
          </a:p>
        </p:txBody>
      </p:sp>
      <p:sp>
        <p:nvSpPr>
          <p:cNvPr id="66" name="Freeform 130">
            <a:extLst>
              <a:ext uri="{FF2B5EF4-FFF2-40B4-BE49-F238E27FC236}">
                <a16:creationId xmlns:a16="http://schemas.microsoft.com/office/drawing/2014/main" id="{E9D4207B-1BF2-4310-9D89-B3412F3D2F03}"/>
              </a:ext>
            </a:extLst>
          </p:cNvPr>
          <p:cNvSpPr>
            <a:spLocks noChangeAspect="1" noEditPoints="1"/>
          </p:cNvSpPr>
          <p:nvPr/>
        </p:nvSpPr>
        <p:spPr bwMode="black">
          <a:xfrm>
            <a:off x="6387496" y="1575157"/>
            <a:ext cx="1313094" cy="1307761"/>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078D7"/>
          </a:solidFill>
          <a:ln>
            <a:noFill/>
          </a:ln>
          <a:extLst/>
        </p:spPr>
        <p:txBody>
          <a:bodyPr vert="horz" wrap="square" lIns="87880" tIns="43940" rIns="87880" bIns="43940" numCol="1" anchor="t" anchorCtr="0" compatLnSpc="1">
            <a:prstTxWarp prst="textNoShape">
              <a:avLst/>
            </a:prstTxWarp>
          </a:bodyPr>
          <a:lstStyle/>
          <a:p>
            <a:pPr marL="0" marR="0" lvl="0" indent="0" defTabSz="896354"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dirty="0">
              <a:ln>
                <a:noFill/>
              </a:ln>
              <a:solidFill>
                <a:srgbClr val="FFFFFF"/>
              </a:solidFill>
              <a:effectLst/>
              <a:uLnTx/>
              <a:uFillTx/>
              <a:latin typeface="Segoe UI Semilight"/>
            </a:endParaRPr>
          </a:p>
        </p:txBody>
      </p:sp>
      <p:sp>
        <p:nvSpPr>
          <p:cNvPr id="67" name="Rectangle 66">
            <a:extLst>
              <a:ext uri="{FF2B5EF4-FFF2-40B4-BE49-F238E27FC236}">
                <a16:creationId xmlns:a16="http://schemas.microsoft.com/office/drawing/2014/main" id="{AA919EA7-526D-40D1-B5A4-5604913EDB3A}"/>
              </a:ext>
            </a:extLst>
          </p:cNvPr>
          <p:cNvSpPr/>
          <p:nvPr/>
        </p:nvSpPr>
        <p:spPr bwMode="auto">
          <a:xfrm>
            <a:off x="5796943" y="3758734"/>
            <a:ext cx="2595498" cy="2063286"/>
          </a:xfrm>
          <a:prstGeom prst="rect">
            <a:avLst/>
          </a:prstGeom>
          <a:noFill/>
          <a:ln w="9525" cap="flat" cmpd="sng" algn="ctr">
            <a:solidFill>
              <a:srgbClr val="FFFFFF">
                <a:lumMod val="85000"/>
              </a:srgbClr>
            </a:solidFill>
            <a:prstDash val="sys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342900" marR="0" lvl="0" indent="-342900" algn="ctr" defTabSz="932472"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2000" b="1" i="0" u="none" strike="noStrike" kern="0" cap="none" spc="0" normalizeH="0" baseline="0" noProof="0" dirty="0">
              <a:ln>
                <a:noFill/>
              </a:ln>
              <a:solidFill>
                <a:srgbClr val="FFFFFF"/>
              </a:solidFill>
              <a:effectLst/>
              <a:uLnTx/>
              <a:uFillTx/>
              <a:latin typeface="Segoe UI Light"/>
              <a:ea typeface="+mn-ea"/>
              <a:cs typeface="Segoe UI" pitchFamily="34" charset="0"/>
            </a:endParaRPr>
          </a:p>
        </p:txBody>
      </p:sp>
      <p:grpSp>
        <p:nvGrpSpPr>
          <p:cNvPr id="68" name="Group 67">
            <a:extLst>
              <a:ext uri="{FF2B5EF4-FFF2-40B4-BE49-F238E27FC236}">
                <a16:creationId xmlns:a16="http://schemas.microsoft.com/office/drawing/2014/main" id="{C97362A5-A286-477B-B851-777E9EC5D550}"/>
              </a:ext>
            </a:extLst>
          </p:cNvPr>
          <p:cNvGrpSpPr/>
          <p:nvPr/>
        </p:nvGrpSpPr>
        <p:grpSpPr>
          <a:xfrm>
            <a:off x="6561336" y="4062256"/>
            <a:ext cx="1259004" cy="796662"/>
            <a:chOff x="8505290" y="2547131"/>
            <a:chExt cx="2822872" cy="1786236"/>
          </a:xfrm>
          <a:solidFill>
            <a:srgbClr val="0078D7"/>
          </a:solidFill>
        </p:grpSpPr>
        <p:sp>
          <p:nvSpPr>
            <p:cNvPr id="69" name="Freeform: Shape 68">
              <a:extLst>
                <a:ext uri="{FF2B5EF4-FFF2-40B4-BE49-F238E27FC236}">
                  <a16:creationId xmlns:a16="http://schemas.microsoft.com/office/drawing/2014/main" id="{F7760629-A19C-453B-BE04-7CA5E83C2C95}"/>
                </a:ext>
              </a:extLst>
            </p:cNvPr>
            <p:cNvSpPr/>
            <p:nvPr/>
          </p:nvSpPr>
          <p:spPr bwMode="auto">
            <a:xfrm>
              <a:off x="9668506" y="2547131"/>
              <a:ext cx="262396" cy="262397"/>
            </a:xfrm>
            <a:custGeom>
              <a:avLst/>
              <a:gdLst>
                <a:gd name="connsiteX0" fmla="*/ 0 w 262396"/>
                <a:gd name="connsiteY0" fmla="*/ 0 h 262397"/>
                <a:gd name="connsiteX1" fmla="*/ 262396 w 262396"/>
                <a:gd name="connsiteY1" fmla="*/ 0 h 262397"/>
                <a:gd name="connsiteX2" fmla="*/ 262396 w 262396"/>
                <a:gd name="connsiteY2" fmla="*/ 262397 h 262397"/>
                <a:gd name="connsiteX3" fmla="*/ 0 w 262396"/>
                <a:gd name="connsiteY3" fmla="*/ 262397 h 262397"/>
                <a:gd name="connsiteX4" fmla="*/ 0 w 262396"/>
                <a:gd name="connsiteY4" fmla="*/ 0 h 262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7">
                  <a:moveTo>
                    <a:pt x="0" y="0"/>
                  </a:moveTo>
                  <a:lnTo>
                    <a:pt x="262396" y="0"/>
                  </a:lnTo>
                  <a:lnTo>
                    <a:pt x="262396" y="262397"/>
                  </a:lnTo>
                  <a:lnTo>
                    <a:pt x="0" y="262397"/>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0" name="Freeform: Shape 69">
              <a:extLst>
                <a:ext uri="{FF2B5EF4-FFF2-40B4-BE49-F238E27FC236}">
                  <a16:creationId xmlns:a16="http://schemas.microsoft.com/office/drawing/2014/main" id="{ACC2ABA4-F5EE-4817-A29F-66F83B3C8328}"/>
                </a:ext>
              </a:extLst>
            </p:cNvPr>
            <p:cNvSpPr/>
            <p:nvPr/>
          </p:nvSpPr>
          <p:spPr bwMode="auto">
            <a:xfrm>
              <a:off x="9071552" y="2844267"/>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1" name="Freeform: Shape 70">
              <a:extLst>
                <a:ext uri="{FF2B5EF4-FFF2-40B4-BE49-F238E27FC236}">
                  <a16:creationId xmlns:a16="http://schemas.microsoft.com/office/drawing/2014/main" id="{17B501C5-D9DF-4EFE-805A-18B8C7311620}"/>
                </a:ext>
              </a:extLst>
            </p:cNvPr>
            <p:cNvSpPr/>
            <p:nvPr/>
          </p:nvSpPr>
          <p:spPr bwMode="auto">
            <a:xfrm>
              <a:off x="9373308" y="2844269"/>
              <a:ext cx="262395" cy="262395"/>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2" name="Freeform: Shape 71">
              <a:extLst>
                <a:ext uri="{FF2B5EF4-FFF2-40B4-BE49-F238E27FC236}">
                  <a16:creationId xmlns:a16="http://schemas.microsoft.com/office/drawing/2014/main" id="{85682CDB-25D2-4E3D-81B2-942719D64106}"/>
                </a:ext>
              </a:extLst>
            </p:cNvPr>
            <p:cNvSpPr/>
            <p:nvPr/>
          </p:nvSpPr>
          <p:spPr bwMode="auto">
            <a:xfrm>
              <a:off x="9668506" y="2844267"/>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3" name="Freeform: Shape 72">
              <a:extLst>
                <a:ext uri="{FF2B5EF4-FFF2-40B4-BE49-F238E27FC236}">
                  <a16:creationId xmlns:a16="http://schemas.microsoft.com/office/drawing/2014/main" id="{F94694B0-B055-46A4-89E7-45770B752C02}"/>
                </a:ext>
              </a:extLst>
            </p:cNvPr>
            <p:cNvSpPr/>
            <p:nvPr/>
          </p:nvSpPr>
          <p:spPr bwMode="auto">
            <a:xfrm>
              <a:off x="8505290" y="2870508"/>
              <a:ext cx="2822872" cy="1462859"/>
            </a:xfrm>
            <a:custGeom>
              <a:avLst/>
              <a:gdLst>
                <a:gd name="connsiteX0" fmla="*/ 2280270 w 2822872"/>
                <a:gd name="connsiteY0" fmla="*/ 0 h 1462859"/>
                <a:gd name="connsiteX1" fmla="*/ 2450221 w 2822872"/>
                <a:gd name="connsiteY1" fmla="*/ 334263 h 1462859"/>
                <a:gd name="connsiteX2" fmla="*/ 2822872 w 2822872"/>
                <a:gd name="connsiteY2" fmla="*/ 337189 h 1462859"/>
                <a:gd name="connsiteX3" fmla="*/ 2397429 w 2822872"/>
                <a:gd name="connsiteY3" fmla="*/ 515950 h 1462859"/>
                <a:gd name="connsiteX4" fmla="*/ 918965 w 2822872"/>
                <a:gd name="connsiteY4" fmla="*/ 1462859 h 1462859"/>
                <a:gd name="connsiteX5" fmla="*/ 194554 w 2822872"/>
                <a:gd name="connsiteY5" fmla="*/ 1178479 h 1462859"/>
                <a:gd name="connsiteX6" fmla="*/ 194554 w 2822872"/>
                <a:gd name="connsiteY6" fmla="*/ 1175554 h 1462859"/>
                <a:gd name="connsiteX7" fmla="*/ 150231 w 2822872"/>
                <a:gd name="connsiteY7" fmla="*/ 1128596 h 1462859"/>
                <a:gd name="connsiteX8" fmla="*/ 106191 w 2822872"/>
                <a:gd name="connsiteY8" fmla="*/ 1061304 h 1462859"/>
                <a:gd name="connsiteX9" fmla="*/ 82759 w 2822872"/>
                <a:gd name="connsiteY9" fmla="*/ 1020198 h 1462859"/>
                <a:gd name="connsiteX10" fmla="*/ 3712 w 2822872"/>
                <a:gd name="connsiteY10" fmla="*/ 577537 h 1462859"/>
                <a:gd name="connsiteX11" fmla="*/ 1928227 w 2822872"/>
                <a:gd name="connsiteY11" fmla="*/ 577537 h 1462859"/>
                <a:gd name="connsiteX12" fmla="*/ 2315276 w 2822872"/>
                <a:gd name="connsiteY12" fmla="*/ 454364 h 1462859"/>
                <a:gd name="connsiteX13" fmla="*/ 2280270 w 2822872"/>
                <a:gd name="connsiteY13" fmla="*/ 0 h 1462859"/>
                <a:gd name="connsiteX14" fmla="*/ 808980 w 2822872"/>
                <a:gd name="connsiteY14" fmla="*/ 951187 h 1462859"/>
                <a:gd name="connsiteX15" fmla="*/ 736821 w 2822872"/>
                <a:gd name="connsiteY15" fmla="*/ 1020067 h 1462859"/>
                <a:gd name="connsiteX16" fmla="*/ 808980 w 2822872"/>
                <a:gd name="connsiteY16" fmla="*/ 1088947 h 1462859"/>
                <a:gd name="connsiteX17" fmla="*/ 881139 w 2822872"/>
                <a:gd name="connsiteY17" fmla="*/ 1020067 h 1462859"/>
                <a:gd name="connsiteX18" fmla="*/ 808980 w 2822872"/>
                <a:gd name="connsiteY18" fmla="*/ 951187 h 1462859"/>
                <a:gd name="connsiteX19" fmla="*/ 693397 w 2822872"/>
                <a:gd name="connsiteY19" fmla="*/ 1140062 h 1462859"/>
                <a:gd name="connsiteX20" fmla="*/ 477460 w 2822872"/>
                <a:gd name="connsiteY20" fmla="*/ 1171734 h 1462859"/>
                <a:gd name="connsiteX21" fmla="*/ 380025 w 2822872"/>
                <a:gd name="connsiteY21" fmla="*/ 1174374 h 1462859"/>
                <a:gd name="connsiteX22" fmla="*/ 253624 w 2822872"/>
                <a:gd name="connsiteY22" fmla="*/ 1171734 h 1462859"/>
                <a:gd name="connsiteX23" fmla="*/ 914600 w 2822872"/>
                <a:gd name="connsiteY23" fmla="*/ 1430392 h 1462859"/>
                <a:gd name="connsiteX24" fmla="*/ 988334 w 2822872"/>
                <a:gd name="connsiteY24" fmla="*/ 1430392 h 1462859"/>
                <a:gd name="connsiteX25" fmla="*/ 693397 w 2822872"/>
                <a:gd name="connsiteY25" fmla="*/ 1140062 h 1462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822872" h="1462859">
                  <a:moveTo>
                    <a:pt x="2280270" y="0"/>
                  </a:moveTo>
                  <a:cubicBezTo>
                    <a:pt x="2353671" y="58660"/>
                    <a:pt x="2470830" y="181687"/>
                    <a:pt x="2450221" y="334263"/>
                  </a:cubicBezTo>
                  <a:cubicBezTo>
                    <a:pt x="2541125" y="290231"/>
                    <a:pt x="2699502" y="266825"/>
                    <a:pt x="2822872" y="337189"/>
                  </a:cubicBezTo>
                  <a:cubicBezTo>
                    <a:pt x="2746648" y="489619"/>
                    <a:pt x="2576414" y="533504"/>
                    <a:pt x="2397429" y="515950"/>
                  </a:cubicBezTo>
                  <a:cubicBezTo>
                    <a:pt x="2148148" y="1169702"/>
                    <a:pt x="1584655" y="1462859"/>
                    <a:pt x="918965" y="1462859"/>
                  </a:cubicBezTo>
                  <a:cubicBezTo>
                    <a:pt x="605035" y="1462859"/>
                    <a:pt x="352931" y="1357387"/>
                    <a:pt x="194554" y="1178479"/>
                  </a:cubicBezTo>
                  <a:lnTo>
                    <a:pt x="194554" y="1175554"/>
                  </a:lnTo>
                  <a:cubicBezTo>
                    <a:pt x="187214" y="1167215"/>
                    <a:pt x="157571" y="1136495"/>
                    <a:pt x="150231" y="1128596"/>
                  </a:cubicBezTo>
                  <a:cubicBezTo>
                    <a:pt x="135834" y="1105190"/>
                    <a:pt x="121153" y="1081784"/>
                    <a:pt x="106191" y="1061304"/>
                  </a:cubicBezTo>
                  <a:cubicBezTo>
                    <a:pt x="98286" y="1047553"/>
                    <a:pt x="90664" y="1033949"/>
                    <a:pt x="82759" y="1020198"/>
                  </a:cubicBezTo>
                  <a:cubicBezTo>
                    <a:pt x="18392" y="891174"/>
                    <a:pt x="-10968" y="741670"/>
                    <a:pt x="3712" y="577537"/>
                  </a:cubicBezTo>
                  <a:lnTo>
                    <a:pt x="1928227" y="577537"/>
                  </a:lnTo>
                  <a:cubicBezTo>
                    <a:pt x="2086604" y="577537"/>
                    <a:pt x="2241875" y="518876"/>
                    <a:pt x="2315276" y="454364"/>
                  </a:cubicBezTo>
                  <a:cubicBezTo>
                    <a:pt x="2183155" y="348892"/>
                    <a:pt x="2198117" y="96694"/>
                    <a:pt x="2280270" y="0"/>
                  </a:cubicBezTo>
                  <a:close/>
                  <a:moveTo>
                    <a:pt x="808980" y="951187"/>
                  </a:moveTo>
                  <a:cubicBezTo>
                    <a:pt x="769127" y="951187"/>
                    <a:pt x="736821" y="982025"/>
                    <a:pt x="736821" y="1020067"/>
                  </a:cubicBezTo>
                  <a:cubicBezTo>
                    <a:pt x="736821" y="1058108"/>
                    <a:pt x="769127" y="1088947"/>
                    <a:pt x="808980" y="1088947"/>
                  </a:cubicBezTo>
                  <a:cubicBezTo>
                    <a:pt x="848832" y="1088947"/>
                    <a:pt x="881139" y="1058108"/>
                    <a:pt x="881139" y="1020067"/>
                  </a:cubicBezTo>
                  <a:cubicBezTo>
                    <a:pt x="881139" y="982025"/>
                    <a:pt x="848832" y="951187"/>
                    <a:pt x="808980" y="951187"/>
                  </a:cubicBezTo>
                  <a:close/>
                  <a:moveTo>
                    <a:pt x="693397" y="1140062"/>
                  </a:moveTo>
                  <a:cubicBezTo>
                    <a:pt x="632829" y="1155898"/>
                    <a:pt x="561728" y="1166455"/>
                    <a:pt x="477460" y="1171734"/>
                  </a:cubicBezTo>
                  <a:cubicBezTo>
                    <a:pt x="448493" y="1174374"/>
                    <a:pt x="414260" y="1174374"/>
                    <a:pt x="380025" y="1174374"/>
                  </a:cubicBezTo>
                  <a:cubicBezTo>
                    <a:pt x="340525" y="1174374"/>
                    <a:pt x="298391" y="1174374"/>
                    <a:pt x="253624" y="1171734"/>
                  </a:cubicBezTo>
                  <a:cubicBezTo>
                    <a:pt x="401093" y="1316899"/>
                    <a:pt x="580162" y="1427752"/>
                    <a:pt x="914600" y="1430392"/>
                  </a:cubicBezTo>
                  <a:cubicBezTo>
                    <a:pt x="938300" y="1430392"/>
                    <a:pt x="964634" y="1430392"/>
                    <a:pt x="988334" y="1430392"/>
                  </a:cubicBezTo>
                  <a:cubicBezTo>
                    <a:pt x="827699" y="1353850"/>
                    <a:pt x="740797" y="1250915"/>
                    <a:pt x="693397" y="1140062"/>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4" name="Freeform: Shape 73">
              <a:extLst>
                <a:ext uri="{FF2B5EF4-FFF2-40B4-BE49-F238E27FC236}">
                  <a16:creationId xmlns:a16="http://schemas.microsoft.com/office/drawing/2014/main" id="{59C94D48-EBE4-440D-800F-A0AD25ABF358}"/>
                </a:ext>
              </a:extLst>
            </p:cNvPr>
            <p:cNvSpPr/>
            <p:nvPr/>
          </p:nvSpPr>
          <p:spPr bwMode="auto">
            <a:xfrm>
              <a:off x="8769796"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5" name="Freeform: Shape 74">
              <a:extLst>
                <a:ext uri="{FF2B5EF4-FFF2-40B4-BE49-F238E27FC236}">
                  <a16:creationId xmlns:a16="http://schemas.microsoft.com/office/drawing/2014/main" id="{77563848-471E-49F4-A4A9-A9EB8C01AA60}"/>
                </a:ext>
              </a:extLst>
            </p:cNvPr>
            <p:cNvSpPr/>
            <p:nvPr/>
          </p:nvSpPr>
          <p:spPr bwMode="auto">
            <a:xfrm>
              <a:off x="9071552"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6" name="Freeform: Shape 75">
              <a:extLst>
                <a:ext uri="{FF2B5EF4-FFF2-40B4-BE49-F238E27FC236}">
                  <a16:creationId xmlns:a16="http://schemas.microsoft.com/office/drawing/2014/main" id="{670A36E8-773C-4E45-BF70-FEA9C284B69C}"/>
                </a:ext>
              </a:extLst>
            </p:cNvPr>
            <p:cNvSpPr/>
            <p:nvPr/>
          </p:nvSpPr>
          <p:spPr bwMode="auto">
            <a:xfrm>
              <a:off x="9373308"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7" name="Freeform: Shape 76">
              <a:extLst>
                <a:ext uri="{FF2B5EF4-FFF2-40B4-BE49-F238E27FC236}">
                  <a16:creationId xmlns:a16="http://schemas.microsoft.com/office/drawing/2014/main" id="{8F11C51A-E5D4-4EB6-B4DA-BD08813257B4}"/>
                </a:ext>
              </a:extLst>
            </p:cNvPr>
            <p:cNvSpPr/>
            <p:nvPr/>
          </p:nvSpPr>
          <p:spPr bwMode="auto">
            <a:xfrm>
              <a:off x="9668506"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8" name="Freeform: Shape 77">
              <a:extLst>
                <a:ext uri="{FF2B5EF4-FFF2-40B4-BE49-F238E27FC236}">
                  <a16:creationId xmlns:a16="http://schemas.microsoft.com/office/drawing/2014/main" id="{B34F4FDA-4A5F-4DA3-BC50-AD3E4FBE97FB}"/>
                </a:ext>
              </a:extLst>
            </p:cNvPr>
            <p:cNvSpPr/>
            <p:nvPr/>
          </p:nvSpPr>
          <p:spPr bwMode="auto">
            <a:xfrm>
              <a:off x="9970262"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9" name="Freeform: Shape 78">
              <a:extLst>
                <a:ext uri="{FF2B5EF4-FFF2-40B4-BE49-F238E27FC236}">
                  <a16:creationId xmlns:a16="http://schemas.microsoft.com/office/drawing/2014/main" id="{5830D6A0-BB28-4138-85ED-85FC36E9030A}"/>
                </a:ext>
              </a:extLst>
            </p:cNvPr>
            <p:cNvSpPr/>
            <p:nvPr/>
          </p:nvSpPr>
          <p:spPr bwMode="auto">
            <a:xfrm>
              <a:off x="9261792" y="3841372"/>
              <a:ext cx="104959" cy="98401"/>
            </a:xfrm>
            <a:custGeom>
              <a:avLst/>
              <a:gdLst>
                <a:gd name="connsiteX0" fmla="*/ 53979 w 104959"/>
                <a:gd name="connsiteY0" fmla="*/ 0 h 98401"/>
                <a:gd name="connsiteX1" fmla="*/ 71972 w 104959"/>
                <a:gd name="connsiteY1" fmla="*/ 2895 h 98401"/>
                <a:gd name="connsiteX2" fmla="*/ 62976 w 104959"/>
                <a:gd name="connsiteY2" fmla="*/ 20260 h 98401"/>
                <a:gd name="connsiteX3" fmla="*/ 83967 w 104959"/>
                <a:gd name="connsiteY3" fmla="*/ 40519 h 98401"/>
                <a:gd name="connsiteX4" fmla="*/ 101960 w 104959"/>
                <a:gd name="connsiteY4" fmla="*/ 28942 h 98401"/>
                <a:gd name="connsiteX5" fmla="*/ 104959 w 104959"/>
                <a:gd name="connsiteY5" fmla="*/ 49201 h 98401"/>
                <a:gd name="connsiteX6" fmla="*/ 53979 w 104959"/>
                <a:gd name="connsiteY6" fmla="*/ 98401 h 98401"/>
                <a:gd name="connsiteX7" fmla="*/ 0 w 104959"/>
                <a:gd name="connsiteY7" fmla="*/ 49201 h 98401"/>
                <a:gd name="connsiteX8" fmla="*/ 53979 w 104959"/>
                <a:gd name="connsiteY8" fmla="*/ 0 h 98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959" h="98401">
                  <a:moveTo>
                    <a:pt x="53979" y="0"/>
                  </a:moveTo>
                  <a:cubicBezTo>
                    <a:pt x="59977" y="0"/>
                    <a:pt x="65975" y="0"/>
                    <a:pt x="71972" y="2895"/>
                  </a:cubicBezTo>
                  <a:cubicBezTo>
                    <a:pt x="65975" y="5789"/>
                    <a:pt x="62976" y="11577"/>
                    <a:pt x="62976" y="20260"/>
                  </a:cubicBezTo>
                  <a:cubicBezTo>
                    <a:pt x="62976" y="31836"/>
                    <a:pt x="71972" y="40519"/>
                    <a:pt x="83967" y="40519"/>
                  </a:cubicBezTo>
                  <a:cubicBezTo>
                    <a:pt x="89965" y="40519"/>
                    <a:pt x="98961" y="37624"/>
                    <a:pt x="101960" y="28942"/>
                  </a:cubicBezTo>
                  <a:cubicBezTo>
                    <a:pt x="104959" y="34730"/>
                    <a:pt x="104959" y="43412"/>
                    <a:pt x="104959" y="49201"/>
                  </a:cubicBezTo>
                  <a:cubicBezTo>
                    <a:pt x="104959" y="78142"/>
                    <a:pt x="83967" y="98401"/>
                    <a:pt x="53979" y="98401"/>
                  </a:cubicBezTo>
                  <a:cubicBezTo>
                    <a:pt x="23991" y="98401"/>
                    <a:pt x="0" y="78142"/>
                    <a:pt x="0" y="49201"/>
                  </a:cubicBezTo>
                  <a:cubicBezTo>
                    <a:pt x="0" y="20260"/>
                    <a:pt x="23991" y="0"/>
                    <a:pt x="53979"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80" name="Group 79">
            <a:extLst>
              <a:ext uri="{FF2B5EF4-FFF2-40B4-BE49-F238E27FC236}">
                <a16:creationId xmlns:a16="http://schemas.microsoft.com/office/drawing/2014/main" id="{D14DAD96-9136-4B3A-9342-0D4AE8430674}"/>
              </a:ext>
            </a:extLst>
          </p:cNvPr>
          <p:cNvGrpSpPr/>
          <p:nvPr/>
        </p:nvGrpSpPr>
        <p:grpSpPr>
          <a:xfrm>
            <a:off x="9379211" y="3988216"/>
            <a:ext cx="1536701" cy="715962"/>
            <a:chOff x="4986337" y="5373688"/>
            <a:chExt cx="1536701" cy="715962"/>
          </a:xfrm>
          <a:solidFill>
            <a:srgbClr val="0078D7"/>
          </a:solidFill>
        </p:grpSpPr>
        <p:grpSp>
          <p:nvGrpSpPr>
            <p:cNvPr id="81" name="Group 80">
              <a:extLst>
                <a:ext uri="{FF2B5EF4-FFF2-40B4-BE49-F238E27FC236}">
                  <a16:creationId xmlns:a16="http://schemas.microsoft.com/office/drawing/2014/main" id="{68BE08B6-A62F-475C-8C10-6E51798F7FEF}"/>
                </a:ext>
              </a:extLst>
            </p:cNvPr>
            <p:cNvGrpSpPr/>
            <p:nvPr/>
          </p:nvGrpSpPr>
          <p:grpSpPr>
            <a:xfrm>
              <a:off x="5251450" y="5762625"/>
              <a:ext cx="1271588" cy="327025"/>
              <a:chOff x="5251450" y="5762625"/>
              <a:chExt cx="1271588" cy="327025"/>
            </a:xfrm>
            <a:grpFill/>
          </p:grpSpPr>
          <p:sp>
            <p:nvSpPr>
              <p:cNvPr id="85" name="Freeform 28">
                <a:extLst>
                  <a:ext uri="{FF2B5EF4-FFF2-40B4-BE49-F238E27FC236}">
                    <a16:creationId xmlns:a16="http://schemas.microsoft.com/office/drawing/2014/main" id="{28DEF712-A814-4F0B-BEF6-EE18CB95B1D5}"/>
                  </a:ext>
                </a:extLst>
              </p:cNvPr>
              <p:cNvSpPr>
                <a:spLocks noEditPoints="1"/>
              </p:cNvSpPr>
              <p:nvPr/>
            </p:nvSpPr>
            <p:spPr bwMode="auto">
              <a:xfrm>
                <a:off x="6475413" y="6034088"/>
                <a:ext cx="47625" cy="47625"/>
              </a:xfrm>
              <a:custGeom>
                <a:avLst/>
                <a:gdLst>
                  <a:gd name="T0" fmla="*/ 38 w 75"/>
                  <a:gd name="T1" fmla="*/ 0 h 75"/>
                  <a:gd name="T2" fmla="*/ 0 w 75"/>
                  <a:gd name="T3" fmla="*/ 38 h 75"/>
                  <a:gd name="T4" fmla="*/ 38 w 75"/>
                  <a:gd name="T5" fmla="*/ 75 h 75"/>
                  <a:gd name="T6" fmla="*/ 75 w 75"/>
                  <a:gd name="T7" fmla="*/ 37 h 75"/>
                  <a:gd name="T8" fmla="*/ 38 w 75"/>
                  <a:gd name="T9" fmla="*/ 0 h 75"/>
                  <a:gd name="T10" fmla="*/ 38 w 75"/>
                  <a:gd name="T11" fmla="*/ 67 h 75"/>
                  <a:gd name="T12" fmla="*/ 8 w 75"/>
                  <a:gd name="T13" fmla="*/ 38 h 75"/>
                  <a:gd name="T14" fmla="*/ 38 w 75"/>
                  <a:gd name="T15" fmla="*/ 8 h 75"/>
                  <a:gd name="T16" fmla="*/ 68 w 75"/>
                  <a:gd name="T17" fmla="*/ 37 h 75"/>
                  <a:gd name="T18" fmla="*/ 38 w 75"/>
                  <a:gd name="T19" fmla="*/ 6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75">
                    <a:moveTo>
                      <a:pt x="38" y="0"/>
                    </a:moveTo>
                    <a:cubicBezTo>
                      <a:pt x="17" y="0"/>
                      <a:pt x="0" y="17"/>
                      <a:pt x="0" y="38"/>
                    </a:cubicBezTo>
                    <a:cubicBezTo>
                      <a:pt x="0" y="58"/>
                      <a:pt x="17" y="75"/>
                      <a:pt x="38" y="75"/>
                    </a:cubicBezTo>
                    <a:cubicBezTo>
                      <a:pt x="59" y="75"/>
                      <a:pt x="75" y="58"/>
                      <a:pt x="75" y="37"/>
                    </a:cubicBezTo>
                    <a:cubicBezTo>
                      <a:pt x="75" y="17"/>
                      <a:pt x="59" y="0"/>
                      <a:pt x="38" y="0"/>
                    </a:cubicBezTo>
                    <a:close/>
                    <a:moveTo>
                      <a:pt x="38" y="67"/>
                    </a:moveTo>
                    <a:cubicBezTo>
                      <a:pt x="21" y="67"/>
                      <a:pt x="8" y="54"/>
                      <a:pt x="8" y="38"/>
                    </a:cubicBezTo>
                    <a:cubicBezTo>
                      <a:pt x="8" y="21"/>
                      <a:pt x="21" y="8"/>
                      <a:pt x="38" y="8"/>
                    </a:cubicBezTo>
                    <a:cubicBezTo>
                      <a:pt x="55" y="8"/>
                      <a:pt x="68" y="21"/>
                      <a:pt x="68" y="37"/>
                    </a:cubicBezTo>
                    <a:cubicBezTo>
                      <a:pt x="68" y="54"/>
                      <a:pt x="55" y="67"/>
                      <a:pt x="38"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86" name="Freeform 29">
                <a:extLst>
                  <a:ext uri="{FF2B5EF4-FFF2-40B4-BE49-F238E27FC236}">
                    <a16:creationId xmlns:a16="http://schemas.microsoft.com/office/drawing/2014/main" id="{9EE86AEE-249E-4A53-9DAB-F8CF27611B69}"/>
                  </a:ext>
                </a:extLst>
              </p:cNvPr>
              <p:cNvSpPr>
                <a:spLocks/>
              </p:cNvSpPr>
              <p:nvPr/>
            </p:nvSpPr>
            <p:spPr bwMode="auto">
              <a:xfrm>
                <a:off x="5251450" y="5762625"/>
                <a:ext cx="290513" cy="319088"/>
              </a:xfrm>
              <a:custGeom>
                <a:avLst/>
                <a:gdLst>
                  <a:gd name="T0" fmla="*/ 324 w 452"/>
                  <a:gd name="T1" fmla="*/ 208 h 495"/>
                  <a:gd name="T2" fmla="*/ 154 w 452"/>
                  <a:gd name="T3" fmla="*/ 183 h 495"/>
                  <a:gd name="T4" fmla="*/ 110 w 452"/>
                  <a:gd name="T5" fmla="*/ 141 h 495"/>
                  <a:gd name="T6" fmla="*/ 147 w 452"/>
                  <a:gd name="T7" fmla="*/ 103 h 495"/>
                  <a:gd name="T8" fmla="*/ 424 w 452"/>
                  <a:gd name="T9" fmla="*/ 103 h 495"/>
                  <a:gd name="T10" fmla="*/ 424 w 452"/>
                  <a:gd name="T11" fmla="*/ 0 h 495"/>
                  <a:gd name="T12" fmla="*/ 148 w 452"/>
                  <a:gd name="T13" fmla="*/ 0 h 495"/>
                  <a:gd name="T14" fmla="*/ 0 w 452"/>
                  <a:gd name="T15" fmla="*/ 141 h 495"/>
                  <a:gd name="T16" fmla="*/ 128 w 452"/>
                  <a:gd name="T17" fmla="*/ 286 h 495"/>
                  <a:gd name="T18" fmla="*/ 298 w 452"/>
                  <a:gd name="T19" fmla="*/ 311 h 495"/>
                  <a:gd name="T20" fmla="*/ 343 w 452"/>
                  <a:gd name="T21" fmla="*/ 354 h 495"/>
                  <a:gd name="T22" fmla="*/ 305 w 452"/>
                  <a:gd name="T23" fmla="*/ 391 h 495"/>
                  <a:gd name="T24" fmla="*/ 103 w 452"/>
                  <a:gd name="T25" fmla="*/ 391 h 495"/>
                  <a:gd name="T26" fmla="*/ 103 w 452"/>
                  <a:gd name="T27" fmla="*/ 391 h 495"/>
                  <a:gd name="T28" fmla="*/ 19 w 452"/>
                  <a:gd name="T29" fmla="*/ 485 h 495"/>
                  <a:gd name="T30" fmla="*/ 19 w 452"/>
                  <a:gd name="T31" fmla="*/ 495 h 495"/>
                  <a:gd name="T32" fmla="*/ 305 w 452"/>
                  <a:gd name="T33" fmla="*/ 495 h 495"/>
                  <a:gd name="T34" fmla="*/ 452 w 452"/>
                  <a:gd name="T35" fmla="*/ 354 h 495"/>
                  <a:gd name="T36" fmla="*/ 324 w 452"/>
                  <a:gd name="T37" fmla="*/ 208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2" h="495">
                    <a:moveTo>
                      <a:pt x="324" y="208"/>
                    </a:moveTo>
                    <a:cubicBezTo>
                      <a:pt x="323" y="208"/>
                      <a:pt x="156" y="184"/>
                      <a:pt x="154" y="183"/>
                    </a:cubicBezTo>
                    <a:cubicBezTo>
                      <a:pt x="125" y="179"/>
                      <a:pt x="110" y="164"/>
                      <a:pt x="110" y="141"/>
                    </a:cubicBezTo>
                    <a:cubicBezTo>
                      <a:pt x="110" y="117"/>
                      <a:pt x="130" y="103"/>
                      <a:pt x="147" y="103"/>
                    </a:cubicBezTo>
                    <a:cubicBezTo>
                      <a:pt x="424" y="103"/>
                      <a:pt x="424" y="103"/>
                      <a:pt x="424" y="103"/>
                    </a:cubicBezTo>
                    <a:cubicBezTo>
                      <a:pt x="424" y="0"/>
                      <a:pt x="424" y="0"/>
                      <a:pt x="424" y="0"/>
                    </a:cubicBezTo>
                    <a:cubicBezTo>
                      <a:pt x="424" y="0"/>
                      <a:pt x="151" y="0"/>
                      <a:pt x="148" y="0"/>
                    </a:cubicBezTo>
                    <a:cubicBezTo>
                      <a:pt x="60" y="0"/>
                      <a:pt x="0" y="66"/>
                      <a:pt x="0" y="141"/>
                    </a:cubicBezTo>
                    <a:cubicBezTo>
                      <a:pt x="0" y="205"/>
                      <a:pt x="39" y="272"/>
                      <a:pt x="128" y="286"/>
                    </a:cubicBezTo>
                    <a:cubicBezTo>
                      <a:pt x="129" y="286"/>
                      <a:pt x="297" y="311"/>
                      <a:pt x="298" y="311"/>
                    </a:cubicBezTo>
                    <a:cubicBezTo>
                      <a:pt x="328" y="316"/>
                      <a:pt x="343" y="330"/>
                      <a:pt x="343" y="354"/>
                    </a:cubicBezTo>
                    <a:cubicBezTo>
                      <a:pt x="343" y="378"/>
                      <a:pt x="322" y="391"/>
                      <a:pt x="305" y="391"/>
                    </a:cubicBezTo>
                    <a:cubicBezTo>
                      <a:pt x="103" y="391"/>
                      <a:pt x="103" y="391"/>
                      <a:pt x="103" y="391"/>
                    </a:cubicBezTo>
                    <a:cubicBezTo>
                      <a:pt x="103" y="391"/>
                      <a:pt x="103" y="391"/>
                      <a:pt x="103" y="391"/>
                    </a:cubicBezTo>
                    <a:cubicBezTo>
                      <a:pt x="62" y="393"/>
                      <a:pt x="19" y="424"/>
                      <a:pt x="19" y="485"/>
                    </a:cubicBezTo>
                    <a:cubicBezTo>
                      <a:pt x="19" y="488"/>
                      <a:pt x="19" y="491"/>
                      <a:pt x="19" y="495"/>
                    </a:cubicBezTo>
                    <a:cubicBezTo>
                      <a:pt x="19" y="495"/>
                      <a:pt x="303" y="495"/>
                      <a:pt x="305" y="495"/>
                    </a:cubicBezTo>
                    <a:cubicBezTo>
                      <a:pt x="392" y="495"/>
                      <a:pt x="452" y="428"/>
                      <a:pt x="452" y="354"/>
                    </a:cubicBezTo>
                    <a:cubicBezTo>
                      <a:pt x="452" y="289"/>
                      <a:pt x="413" y="222"/>
                      <a:pt x="324"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87" name="Freeform 30">
                <a:extLst>
                  <a:ext uri="{FF2B5EF4-FFF2-40B4-BE49-F238E27FC236}">
                    <a16:creationId xmlns:a16="http://schemas.microsoft.com/office/drawing/2014/main" id="{8BDF952D-FABD-4013-8171-DAAB2341A69C}"/>
                  </a:ext>
                </a:extLst>
              </p:cNvPr>
              <p:cNvSpPr>
                <a:spLocks/>
              </p:cNvSpPr>
              <p:nvPr/>
            </p:nvSpPr>
            <p:spPr bwMode="auto">
              <a:xfrm>
                <a:off x="6170613" y="5762625"/>
                <a:ext cx="287338" cy="319088"/>
              </a:xfrm>
              <a:custGeom>
                <a:avLst/>
                <a:gdLst>
                  <a:gd name="T0" fmla="*/ 0 w 447"/>
                  <a:gd name="T1" fmla="*/ 141 h 495"/>
                  <a:gd name="T2" fmla="*/ 0 w 447"/>
                  <a:gd name="T3" fmla="*/ 354 h 495"/>
                  <a:gd name="T4" fmla="*/ 148 w 447"/>
                  <a:gd name="T5" fmla="*/ 495 h 495"/>
                  <a:gd name="T6" fmla="*/ 447 w 447"/>
                  <a:gd name="T7" fmla="*/ 495 h 495"/>
                  <a:gd name="T8" fmla="*/ 447 w 447"/>
                  <a:gd name="T9" fmla="*/ 485 h 495"/>
                  <a:gd name="T10" fmla="*/ 363 w 447"/>
                  <a:gd name="T11" fmla="*/ 391 h 495"/>
                  <a:gd name="T12" fmla="*/ 363 w 447"/>
                  <a:gd name="T13" fmla="*/ 391 h 495"/>
                  <a:gd name="T14" fmla="*/ 147 w 447"/>
                  <a:gd name="T15" fmla="*/ 391 h 495"/>
                  <a:gd name="T16" fmla="*/ 110 w 447"/>
                  <a:gd name="T17" fmla="*/ 354 h 495"/>
                  <a:gd name="T18" fmla="*/ 154 w 447"/>
                  <a:gd name="T19" fmla="*/ 311 h 495"/>
                  <a:gd name="T20" fmla="*/ 247 w 447"/>
                  <a:gd name="T21" fmla="*/ 311 h 495"/>
                  <a:gd name="T22" fmla="*/ 392 w 447"/>
                  <a:gd name="T23" fmla="*/ 203 h 495"/>
                  <a:gd name="T24" fmla="*/ 167 w 447"/>
                  <a:gd name="T25" fmla="*/ 203 h 495"/>
                  <a:gd name="T26" fmla="*/ 110 w 447"/>
                  <a:gd name="T27" fmla="*/ 235 h 495"/>
                  <a:gd name="T28" fmla="*/ 110 w 447"/>
                  <a:gd name="T29" fmla="*/ 141 h 495"/>
                  <a:gd name="T30" fmla="*/ 147 w 447"/>
                  <a:gd name="T31" fmla="*/ 103 h 495"/>
                  <a:gd name="T32" fmla="*/ 363 w 447"/>
                  <a:gd name="T33" fmla="*/ 103 h 495"/>
                  <a:gd name="T34" fmla="*/ 447 w 447"/>
                  <a:gd name="T35" fmla="*/ 9 h 495"/>
                  <a:gd name="T36" fmla="*/ 447 w 447"/>
                  <a:gd name="T37" fmla="*/ 0 h 495"/>
                  <a:gd name="T38" fmla="*/ 148 w 447"/>
                  <a:gd name="T39" fmla="*/ 0 h 495"/>
                  <a:gd name="T40" fmla="*/ 0 w 447"/>
                  <a:gd name="T41" fmla="*/ 141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7" h="495">
                    <a:moveTo>
                      <a:pt x="0" y="141"/>
                    </a:moveTo>
                    <a:cubicBezTo>
                      <a:pt x="0" y="141"/>
                      <a:pt x="0" y="353"/>
                      <a:pt x="0" y="354"/>
                    </a:cubicBezTo>
                    <a:cubicBezTo>
                      <a:pt x="0" y="428"/>
                      <a:pt x="60" y="495"/>
                      <a:pt x="148" y="495"/>
                    </a:cubicBezTo>
                    <a:cubicBezTo>
                      <a:pt x="150" y="495"/>
                      <a:pt x="447" y="495"/>
                      <a:pt x="447" y="495"/>
                    </a:cubicBezTo>
                    <a:cubicBezTo>
                      <a:pt x="447" y="491"/>
                      <a:pt x="447" y="488"/>
                      <a:pt x="447" y="485"/>
                    </a:cubicBezTo>
                    <a:cubicBezTo>
                      <a:pt x="447" y="424"/>
                      <a:pt x="404" y="393"/>
                      <a:pt x="363" y="391"/>
                    </a:cubicBezTo>
                    <a:cubicBezTo>
                      <a:pt x="363" y="391"/>
                      <a:pt x="363" y="391"/>
                      <a:pt x="363" y="391"/>
                    </a:cubicBezTo>
                    <a:cubicBezTo>
                      <a:pt x="147" y="391"/>
                      <a:pt x="147" y="391"/>
                      <a:pt x="147" y="391"/>
                    </a:cubicBezTo>
                    <a:cubicBezTo>
                      <a:pt x="130" y="391"/>
                      <a:pt x="110" y="378"/>
                      <a:pt x="110" y="354"/>
                    </a:cubicBezTo>
                    <a:cubicBezTo>
                      <a:pt x="110" y="330"/>
                      <a:pt x="125" y="311"/>
                      <a:pt x="154" y="311"/>
                    </a:cubicBezTo>
                    <a:cubicBezTo>
                      <a:pt x="182" y="311"/>
                      <a:pt x="246" y="311"/>
                      <a:pt x="247" y="311"/>
                    </a:cubicBezTo>
                    <a:cubicBezTo>
                      <a:pt x="329" y="310"/>
                      <a:pt x="377" y="260"/>
                      <a:pt x="392" y="203"/>
                    </a:cubicBezTo>
                    <a:cubicBezTo>
                      <a:pt x="167" y="203"/>
                      <a:pt x="167" y="203"/>
                      <a:pt x="167" y="203"/>
                    </a:cubicBezTo>
                    <a:cubicBezTo>
                      <a:pt x="127" y="203"/>
                      <a:pt x="110" y="235"/>
                      <a:pt x="110" y="235"/>
                    </a:cubicBezTo>
                    <a:cubicBezTo>
                      <a:pt x="110" y="141"/>
                      <a:pt x="110" y="141"/>
                      <a:pt x="110" y="141"/>
                    </a:cubicBezTo>
                    <a:cubicBezTo>
                      <a:pt x="110" y="117"/>
                      <a:pt x="130" y="103"/>
                      <a:pt x="147" y="103"/>
                    </a:cubicBezTo>
                    <a:cubicBezTo>
                      <a:pt x="363" y="103"/>
                      <a:pt x="363" y="103"/>
                      <a:pt x="363" y="103"/>
                    </a:cubicBezTo>
                    <a:cubicBezTo>
                      <a:pt x="404" y="102"/>
                      <a:pt x="447" y="71"/>
                      <a:pt x="447" y="9"/>
                    </a:cubicBezTo>
                    <a:cubicBezTo>
                      <a:pt x="447" y="6"/>
                      <a:pt x="447" y="3"/>
                      <a:pt x="447" y="0"/>
                    </a:cubicBezTo>
                    <a:cubicBezTo>
                      <a:pt x="148" y="0"/>
                      <a:pt x="148" y="0"/>
                      <a:pt x="148" y="0"/>
                    </a:cubicBezTo>
                    <a:cubicBezTo>
                      <a:pt x="60" y="0"/>
                      <a:pt x="0" y="66"/>
                      <a:pt x="0" y="1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88" name="Freeform 31">
                <a:extLst>
                  <a:ext uri="{FF2B5EF4-FFF2-40B4-BE49-F238E27FC236}">
                    <a16:creationId xmlns:a16="http://schemas.microsoft.com/office/drawing/2014/main" id="{7BA87A9B-6444-41F5-9563-0CFA82045D48}"/>
                  </a:ext>
                </a:extLst>
              </p:cNvPr>
              <p:cNvSpPr>
                <a:spLocks noEditPoints="1"/>
              </p:cNvSpPr>
              <p:nvPr/>
            </p:nvSpPr>
            <p:spPr bwMode="auto">
              <a:xfrm>
                <a:off x="6491288" y="6045200"/>
                <a:ext cx="19050" cy="23813"/>
              </a:xfrm>
              <a:custGeom>
                <a:avLst/>
                <a:gdLst>
                  <a:gd name="T0" fmla="*/ 30 w 31"/>
                  <a:gd name="T1" fmla="*/ 12 h 35"/>
                  <a:gd name="T2" fmla="*/ 16 w 31"/>
                  <a:gd name="T3" fmla="*/ 0 h 35"/>
                  <a:gd name="T4" fmla="*/ 0 w 31"/>
                  <a:gd name="T5" fmla="*/ 0 h 35"/>
                  <a:gd name="T6" fmla="*/ 0 w 31"/>
                  <a:gd name="T7" fmla="*/ 35 h 35"/>
                  <a:gd name="T8" fmla="*/ 8 w 31"/>
                  <a:gd name="T9" fmla="*/ 35 h 35"/>
                  <a:gd name="T10" fmla="*/ 8 w 31"/>
                  <a:gd name="T11" fmla="*/ 24 h 35"/>
                  <a:gd name="T12" fmla="*/ 14 w 31"/>
                  <a:gd name="T13" fmla="*/ 24 h 35"/>
                  <a:gd name="T14" fmla="*/ 22 w 31"/>
                  <a:gd name="T15" fmla="*/ 35 h 35"/>
                  <a:gd name="T16" fmla="*/ 31 w 31"/>
                  <a:gd name="T17" fmla="*/ 35 h 35"/>
                  <a:gd name="T18" fmla="*/ 22 w 31"/>
                  <a:gd name="T19" fmla="*/ 23 h 35"/>
                  <a:gd name="T20" fmla="*/ 30 w 31"/>
                  <a:gd name="T21" fmla="*/ 12 h 35"/>
                  <a:gd name="T22" fmla="*/ 16 w 31"/>
                  <a:gd name="T23" fmla="*/ 17 h 35"/>
                  <a:gd name="T24" fmla="*/ 8 w 31"/>
                  <a:gd name="T25" fmla="*/ 17 h 35"/>
                  <a:gd name="T26" fmla="*/ 8 w 31"/>
                  <a:gd name="T27" fmla="*/ 7 h 35"/>
                  <a:gd name="T28" fmla="*/ 16 w 31"/>
                  <a:gd name="T29" fmla="*/ 7 h 35"/>
                  <a:gd name="T30" fmla="*/ 22 w 31"/>
                  <a:gd name="T31" fmla="*/ 12 h 35"/>
                  <a:gd name="T32" fmla="*/ 16 w 31"/>
                  <a:gd name="T33"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35">
                    <a:moveTo>
                      <a:pt x="30" y="12"/>
                    </a:moveTo>
                    <a:cubicBezTo>
                      <a:pt x="30" y="4"/>
                      <a:pt x="24" y="0"/>
                      <a:pt x="16" y="0"/>
                    </a:cubicBezTo>
                    <a:cubicBezTo>
                      <a:pt x="0" y="0"/>
                      <a:pt x="0" y="0"/>
                      <a:pt x="0" y="0"/>
                    </a:cubicBezTo>
                    <a:cubicBezTo>
                      <a:pt x="0" y="35"/>
                      <a:pt x="0" y="35"/>
                      <a:pt x="0" y="35"/>
                    </a:cubicBezTo>
                    <a:cubicBezTo>
                      <a:pt x="8" y="35"/>
                      <a:pt x="8" y="35"/>
                      <a:pt x="8" y="35"/>
                    </a:cubicBezTo>
                    <a:cubicBezTo>
                      <a:pt x="8" y="24"/>
                      <a:pt x="8" y="24"/>
                      <a:pt x="8" y="24"/>
                    </a:cubicBezTo>
                    <a:cubicBezTo>
                      <a:pt x="14" y="24"/>
                      <a:pt x="14" y="24"/>
                      <a:pt x="14" y="24"/>
                    </a:cubicBezTo>
                    <a:cubicBezTo>
                      <a:pt x="22" y="35"/>
                      <a:pt x="22" y="35"/>
                      <a:pt x="22" y="35"/>
                    </a:cubicBezTo>
                    <a:cubicBezTo>
                      <a:pt x="31" y="35"/>
                      <a:pt x="31" y="35"/>
                      <a:pt x="31" y="35"/>
                    </a:cubicBezTo>
                    <a:cubicBezTo>
                      <a:pt x="22" y="23"/>
                      <a:pt x="22" y="23"/>
                      <a:pt x="22" y="23"/>
                    </a:cubicBezTo>
                    <a:cubicBezTo>
                      <a:pt x="27" y="21"/>
                      <a:pt x="30" y="17"/>
                      <a:pt x="30" y="12"/>
                    </a:cubicBezTo>
                    <a:close/>
                    <a:moveTo>
                      <a:pt x="16" y="17"/>
                    </a:moveTo>
                    <a:cubicBezTo>
                      <a:pt x="8" y="17"/>
                      <a:pt x="8" y="17"/>
                      <a:pt x="8" y="17"/>
                    </a:cubicBezTo>
                    <a:cubicBezTo>
                      <a:pt x="8" y="7"/>
                      <a:pt x="8" y="7"/>
                      <a:pt x="8" y="7"/>
                    </a:cubicBezTo>
                    <a:cubicBezTo>
                      <a:pt x="16" y="7"/>
                      <a:pt x="16" y="7"/>
                      <a:pt x="16" y="7"/>
                    </a:cubicBezTo>
                    <a:cubicBezTo>
                      <a:pt x="19" y="7"/>
                      <a:pt x="22" y="9"/>
                      <a:pt x="22" y="12"/>
                    </a:cubicBezTo>
                    <a:cubicBezTo>
                      <a:pt x="22" y="15"/>
                      <a:pt x="20" y="17"/>
                      <a:pt x="16"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89" name="Freeform 32">
                <a:extLst>
                  <a:ext uri="{FF2B5EF4-FFF2-40B4-BE49-F238E27FC236}">
                    <a16:creationId xmlns:a16="http://schemas.microsoft.com/office/drawing/2014/main" id="{07D4E142-A350-4E18-8397-BB0EF278CACF}"/>
                  </a:ext>
                </a:extLst>
              </p:cNvPr>
              <p:cNvSpPr>
                <a:spLocks/>
              </p:cNvSpPr>
              <p:nvPr/>
            </p:nvSpPr>
            <p:spPr bwMode="auto">
              <a:xfrm>
                <a:off x="5861050" y="5762625"/>
                <a:ext cx="290513" cy="319088"/>
              </a:xfrm>
              <a:custGeom>
                <a:avLst/>
                <a:gdLst>
                  <a:gd name="T0" fmla="*/ 325 w 453"/>
                  <a:gd name="T1" fmla="*/ 208 h 495"/>
                  <a:gd name="T2" fmla="*/ 154 w 453"/>
                  <a:gd name="T3" fmla="*/ 183 h 495"/>
                  <a:gd name="T4" fmla="*/ 110 w 453"/>
                  <a:gd name="T5" fmla="*/ 141 h 495"/>
                  <a:gd name="T6" fmla="*/ 148 w 453"/>
                  <a:gd name="T7" fmla="*/ 103 h 495"/>
                  <a:gd name="T8" fmla="*/ 424 w 453"/>
                  <a:gd name="T9" fmla="*/ 103 h 495"/>
                  <a:gd name="T10" fmla="*/ 424 w 453"/>
                  <a:gd name="T11" fmla="*/ 0 h 495"/>
                  <a:gd name="T12" fmla="*/ 148 w 453"/>
                  <a:gd name="T13" fmla="*/ 0 h 495"/>
                  <a:gd name="T14" fmla="*/ 0 w 453"/>
                  <a:gd name="T15" fmla="*/ 141 h 495"/>
                  <a:gd name="T16" fmla="*/ 128 w 453"/>
                  <a:gd name="T17" fmla="*/ 286 h 495"/>
                  <a:gd name="T18" fmla="*/ 299 w 453"/>
                  <a:gd name="T19" fmla="*/ 311 h 495"/>
                  <a:gd name="T20" fmla="*/ 343 w 453"/>
                  <a:gd name="T21" fmla="*/ 354 h 495"/>
                  <a:gd name="T22" fmla="*/ 305 w 453"/>
                  <a:gd name="T23" fmla="*/ 391 h 495"/>
                  <a:gd name="T24" fmla="*/ 29 w 453"/>
                  <a:gd name="T25" fmla="*/ 391 h 495"/>
                  <a:gd name="T26" fmla="*/ 29 w 453"/>
                  <a:gd name="T27" fmla="*/ 495 h 495"/>
                  <a:gd name="T28" fmla="*/ 305 w 453"/>
                  <a:gd name="T29" fmla="*/ 495 h 495"/>
                  <a:gd name="T30" fmla="*/ 453 w 453"/>
                  <a:gd name="T31" fmla="*/ 354 h 495"/>
                  <a:gd name="T32" fmla="*/ 325 w 453"/>
                  <a:gd name="T33" fmla="*/ 208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3" h="495">
                    <a:moveTo>
                      <a:pt x="325" y="208"/>
                    </a:moveTo>
                    <a:cubicBezTo>
                      <a:pt x="323" y="208"/>
                      <a:pt x="156" y="184"/>
                      <a:pt x="154" y="183"/>
                    </a:cubicBezTo>
                    <a:cubicBezTo>
                      <a:pt x="125" y="179"/>
                      <a:pt x="110" y="164"/>
                      <a:pt x="110" y="141"/>
                    </a:cubicBezTo>
                    <a:cubicBezTo>
                      <a:pt x="110" y="117"/>
                      <a:pt x="131" y="103"/>
                      <a:pt x="148" y="103"/>
                    </a:cubicBezTo>
                    <a:cubicBezTo>
                      <a:pt x="424" y="103"/>
                      <a:pt x="424" y="103"/>
                      <a:pt x="424" y="103"/>
                    </a:cubicBezTo>
                    <a:cubicBezTo>
                      <a:pt x="424" y="0"/>
                      <a:pt x="424" y="0"/>
                      <a:pt x="424" y="0"/>
                    </a:cubicBezTo>
                    <a:cubicBezTo>
                      <a:pt x="424" y="0"/>
                      <a:pt x="151" y="0"/>
                      <a:pt x="148" y="0"/>
                    </a:cubicBezTo>
                    <a:cubicBezTo>
                      <a:pt x="61" y="0"/>
                      <a:pt x="0" y="66"/>
                      <a:pt x="0" y="141"/>
                    </a:cubicBezTo>
                    <a:cubicBezTo>
                      <a:pt x="0" y="205"/>
                      <a:pt x="39" y="272"/>
                      <a:pt x="128" y="286"/>
                    </a:cubicBezTo>
                    <a:cubicBezTo>
                      <a:pt x="130" y="286"/>
                      <a:pt x="297" y="311"/>
                      <a:pt x="299" y="311"/>
                    </a:cubicBezTo>
                    <a:cubicBezTo>
                      <a:pt x="328" y="316"/>
                      <a:pt x="343" y="330"/>
                      <a:pt x="343" y="354"/>
                    </a:cubicBezTo>
                    <a:cubicBezTo>
                      <a:pt x="343" y="378"/>
                      <a:pt x="322" y="391"/>
                      <a:pt x="305" y="391"/>
                    </a:cubicBezTo>
                    <a:cubicBezTo>
                      <a:pt x="29" y="391"/>
                      <a:pt x="29" y="391"/>
                      <a:pt x="29" y="391"/>
                    </a:cubicBezTo>
                    <a:cubicBezTo>
                      <a:pt x="29" y="495"/>
                      <a:pt x="29" y="495"/>
                      <a:pt x="29" y="495"/>
                    </a:cubicBezTo>
                    <a:cubicBezTo>
                      <a:pt x="29" y="495"/>
                      <a:pt x="302" y="495"/>
                      <a:pt x="305" y="495"/>
                    </a:cubicBezTo>
                    <a:cubicBezTo>
                      <a:pt x="392" y="495"/>
                      <a:pt x="453" y="428"/>
                      <a:pt x="453" y="354"/>
                    </a:cubicBezTo>
                    <a:cubicBezTo>
                      <a:pt x="453" y="289"/>
                      <a:pt x="414" y="222"/>
                      <a:pt x="325"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90" name="Freeform 33">
                <a:extLst>
                  <a:ext uri="{FF2B5EF4-FFF2-40B4-BE49-F238E27FC236}">
                    <a16:creationId xmlns:a16="http://schemas.microsoft.com/office/drawing/2014/main" id="{5B72474B-F9DE-400F-8AF8-24AE533573B4}"/>
                  </a:ext>
                </a:extLst>
              </p:cNvPr>
              <p:cNvSpPr>
                <a:spLocks/>
              </p:cNvSpPr>
              <p:nvPr/>
            </p:nvSpPr>
            <p:spPr bwMode="auto">
              <a:xfrm>
                <a:off x="5559425" y="5762625"/>
                <a:ext cx="280988" cy="327025"/>
              </a:xfrm>
              <a:custGeom>
                <a:avLst/>
                <a:gdLst>
                  <a:gd name="T0" fmla="*/ 330 w 437"/>
                  <a:gd name="T1" fmla="*/ 294 h 506"/>
                  <a:gd name="T2" fmla="*/ 219 w 437"/>
                  <a:gd name="T3" fmla="*/ 405 h 506"/>
                  <a:gd name="T4" fmla="*/ 107 w 437"/>
                  <a:gd name="T5" fmla="*/ 294 h 506"/>
                  <a:gd name="T6" fmla="*/ 107 w 437"/>
                  <a:gd name="T7" fmla="*/ 0 h 506"/>
                  <a:gd name="T8" fmla="*/ 0 w 437"/>
                  <a:gd name="T9" fmla="*/ 0 h 506"/>
                  <a:gd name="T10" fmla="*/ 0 w 437"/>
                  <a:gd name="T11" fmla="*/ 288 h 506"/>
                  <a:gd name="T12" fmla="*/ 219 w 437"/>
                  <a:gd name="T13" fmla="*/ 506 h 506"/>
                  <a:gd name="T14" fmla="*/ 437 w 437"/>
                  <a:gd name="T15" fmla="*/ 288 h 506"/>
                  <a:gd name="T16" fmla="*/ 437 w 437"/>
                  <a:gd name="T17" fmla="*/ 0 h 506"/>
                  <a:gd name="T18" fmla="*/ 330 w 437"/>
                  <a:gd name="T19" fmla="*/ 0 h 506"/>
                  <a:gd name="T20" fmla="*/ 330 w 437"/>
                  <a:gd name="T21" fmla="*/ 294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7" h="506">
                    <a:moveTo>
                      <a:pt x="330" y="294"/>
                    </a:moveTo>
                    <a:cubicBezTo>
                      <a:pt x="330" y="355"/>
                      <a:pt x="280" y="405"/>
                      <a:pt x="219" y="405"/>
                    </a:cubicBezTo>
                    <a:cubicBezTo>
                      <a:pt x="157" y="405"/>
                      <a:pt x="107" y="355"/>
                      <a:pt x="107" y="294"/>
                    </a:cubicBezTo>
                    <a:cubicBezTo>
                      <a:pt x="107" y="0"/>
                      <a:pt x="107" y="0"/>
                      <a:pt x="107" y="0"/>
                    </a:cubicBezTo>
                    <a:cubicBezTo>
                      <a:pt x="0" y="0"/>
                      <a:pt x="0" y="0"/>
                      <a:pt x="0" y="0"/>
                    </a:cubicBezTo>
                    <a:cubicBezTo>
                      <a:pt x="0" y="288"/>
                      <a:pt x="0" y="288"/>
                      <a:pt x="0" y="288"/>
                    </a:cubicBezTo>
                    <a:cubicBezTo>
                      <a:pt x="0" y="408"/>
                      <a:pt x="98" y="506"/>
                      <a:pt x="219" y="506"/>
                    </a:cubicBezTo>
                    <a:cubicBezTo>
                      <a:pt x="339" y="506"/>
                      <a:pt x="437" y="408"/>
                      <a:pt x="437" y="288"/>
                    </a:cubicBezTo>
                    <a:cubicBezTo>
                      <a:pt x="437" y="0"/>
                      <a:pt x="437" y="0"/>
                      <a:pt x="437" y="0"/>
                    </a:cubicBezTo>
                    <a:cubicBezTo>
                      <a:pt x="330" y="0"/>
                      <a:pt x="330" y="0"/>
                      <a:pt x="330" y="0"/>
                    </a:cubicBezTo>
                    <a:lnTo>
                      <a:pt x="330" y="2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grpSp>
        <p:grpSp>
          <p:nvGrpSpPr>
            <p:cNvPr id="82" name="Group 81">
              <a:extLst>
                <a:ext uri="{FF2B5EF4-FFF2-40B4-BE49-F238E27FC236}">
                  <a16:creationId xmlns:a16="http://schemas.microsoft.com/office/drawing/2014/main" id="{88F48954-D645-4C3C-AA31-4645A756F28A}"/>
                </a:ext>
              </a:extLst>
            </p:cNvPr>
            <p:cNvGrpSpPr/>
            <p:nvPr/>
          </p:nvGrpSpPr>
          <p:grpSpPr>
            <a:xfrm>
              <a:off x="4986337" y="5373688"/>
              <a:ext cx="881063" cy="452438"/>
              <a:chOff x="4986337" y="5373688"/>
              <a:chExt cx="881063" cy="452438"/>
            </a:xfrm>
            <a:grpFill/>
          </p:grpSpPr>
          <p:sp>
            <p:nvSpPr>
              <p:cNvPr id="83" name="Freeform 34">
                <a:extLst>
                  <a:ext uri="{FF2B5EF4-FFF2-40B4-BE49-F238E27FC236}">
                    <a16:creationId xmlns:a16="http://schemas.microsoft.com/office/drawing/2014/main" id="{88213E16-8AA6-4F3B-902C-79E07F6EAC06}"/>
                  </a:ext>
                </a:extLst>
              </p:cNvPr>
              <p:cNvSpPr>
                <a:spLocks noEditPoints="1"/>
              </p:cNvSpPr>
              <p:nvPr/>
            </p:nvSpPr>
            <p:spPr bwMode="auto">
              <a:xfrm>
                <a:off x="5737225" y="5453063"/>
                <a:ext cx="73025" cy="73025"/>
              </a:xfrm>
              <a:custGeom>
                <a:avLst/>
                <a:gdLst>
                  <a:gd name="T0" fmla="*/ 55 w 114"/>
                  <a:gd name="T1" fmla="*/ 114 h 114"/>
                  <a:gd name="T2" fmla="*/ 96 w 114"/>
                  <a:gd name="T3" fmla="*/ 99 h 114"/>
                  <a:gd name="T4" fmla="*/ 114 w 114"/>
                  <a:gd name="T5" fmla="*/ 59 h 114"/>
                  <a:gd name="T6" fmla="*/ 59 w 114"/>
                  <a:gd name="T7" fmla="*/ 1 h 114"/>
                  <a:gd name="T8" fmla="*/ 19 w 114"/>
                  <a:gd name="T9" fmla="*/ 16 h 114"/>
                  <a:gd name="T10" fmla="*/ 1 w 114"/>
                  <a:gd name="T11" fmla="*/ 55 h 114"/>
                  <a:gd name="T12" fmla="*/ 55 w 114"/>
                  <a:gd name="T13" fmla="*/ 114 h 114"/>
                  <a:gd name="T14" fmla="*/ 68 w 114"/>
                  <a:gd name="T15" fmla="*/ 29 h 114"/>
                  <a:gd name="T16" fmla="*/ 93 w 114"/>
                  <a:gd name="T17" fmla="*/ 46 h 114"/>
                  <a:gd name="T18" fmla="*/ 68 w 114"/>
                  <a:gd name="T19" fmla="*/ 63 h 114"/>
                  <a:gd name="T20" fmla="*/ 43 w 114"/>
                  <a:gd name="T21" fmla="*/ 46 h 114"/>
                  <a:gd name="T22" fmla="*/ 68 w 114"/>
                  <a:gd name="T23" fmla="*/ 2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4" h="114">
                    <a:moveTo>
                      <a:pt x="55" y="114"/>
                    </a:moveTo>
                    <a:cubicBezTo>
                      <a:pt x="70" y="114"/>
                      <a:pt x="85" y="109"/>
                      <a:pt x="96" y="99"/>
                    </a:cubicBezTo>
                    <a:cubicBezTo>
                      <a:pt x="107" y="88"/>
                      <a:pt x="113" y="74"/>
                      <a:pt x="114" y="59"/>
                    </a:cubicBezTo>
                    <a:cubicBezTo>
                      <a:pt x="114" y="28"/>
                      <a:pt x="90" y="2"/>
                      <a:pt x="59" y="1"/>
                    </a:cubicBezTo>
                    <a:cubicBezTo>
                      <a:pt x="44" y="0"/>
                      <a:pt x="30" y="6"/>
                      <a:pt x="19" y="16"/>
                    </a:cubicBezTo>
                    <a:cubicBezTo>
                      <a:pt x="8" y="26"/>
                      <a:pt x="1" y="40"/>
                      <a:pt x="1" y="55"/>
                    </a:cubicBezTo>
                    <a:cubicBezTo>
                      <a:pt x="0" y="86"/>
                      <a:pt x="24" y="113"/>
                      <a:pt x="55" y="114"/>
                    </a:cubicBezTo>
                    <a:close/>
                    <a:moveTo>
                      <a:pt x="68" y="29"/>
                    </a:moveTo>
                    <a:cubicBezTo>
                      <a:pt x="82" y="29"/>
                      <a:pt x="93" y="37"/>
                      <a:pt x="93" y="46"/>
                    </a:cubicBezTo>
                    <a:cubicBezTo>
                      <a:pt x="93" y="55"/>
                      <a:pt x="82" y="63"/>
                      <a:pt x="68" y="63"/>
                    </a:cubicBezTo>
                    <a:cubicBezTo>
                      <a:pt x="54" y="63"/>
                      <a:pt x="43" y="55"/>
                      <a:pt x="43" y="46"/>
                    </a:cubicBezTo>
                    <a:cubicBezTo>
                      <a:pt x="43" y="37"/>
                      <a:pt x="54" y="29"/>
                      <a:pt x="68"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84" name="Freeform 35">
                <a:extLst>
                  <a:ext uri="{FF2B5EF4-FFF2-40B4-BE49-F238E27FC236}">
                    <a16:creationId xmlns:a16="http://schemas.microsoft.com/office/drawing/2014/main" id="{B33B9973-5A73-4F73-AEEB-013CE7407834}"/>
                  </a:ext>
                </a:extLst>
              </p:cNvPr>
              <p:cNvSpPr>
                <a:spLocks noEditPoints="1"/>
              </p:cNvSpPr>
              <p:nvPr/>
            </p:nvSpPr>
            <p:spPr bwMode="auto">
              <a:xfrm>
                <a:off x="4986337" y="5373688"/>
                <a:ext cx="881063" cy="452438"/>
              </a:xfrm>
              <a:custGeom>
                <a:avLst/>
                <a:gdLst>
                  <a:gd name="T0" fmla="*/ 1367 w 1369"/>
                  <a:gd name="T1" fmla="*/ 246 h 702"/>
                  <a:gd name="T2" fmla="*/ 1293 w 1369"/>
                  <a:gd name="T3" fmla="*/ 96 h 702"/>
                  <a:gd name="T4" fmla="*/ 1013 w 1369"/>
                  <a:gd name="T5" fmla="*/ 22 h 702"/>
                  <a:gd name="T6" fmla="*/ 721 w 1369"/>
                  <a:gd name="T7" fmla="*/ 9 h 702"/>
                  <a:gd name="T8" fmla="*/ 235 w 1369"/>
                  <a:gd name="T9" fmla="*/ 136 h 702"/>
                  <a:gd name="T10" fmla="*/ 15 w 1369"/>
                  <a:gd name="T11" fmla="*/ 521 h 702"/>
                  <a:gd name="T12" fmla="*/ 218 w 1369"/>
                  <a:gd name="T13" fmla="*/ 694 h 702"/>
                  <a:gd name="T14" fmla="*/ 344 w 1369"/>
                  <a:gd name="T15" fmla="*/ 401 h 702"/>
                  <a:gd name="T16" fmla="*/ 149 w 1369"/>
                  <a:gd name="T17" fmla="*/ 482 h 702"/>
                  <a:gd name="T18" fmla="*/ 272 w 1369"/>
                  <a:gd name="T19" fmla="*/ 568 h 702"/>
                  <a:gd name="T20" fmla="*/ 287 w 1369"/>
                  <a:gd name="T21" fmla="*/ 561 h 702"/>
                  <a:gd name="T22" fmla="*/ 287 w 1369"/>
                  <a:gd name="T23" fmla="*/ 561 h 702"/>
                  <a:gd name="T24" fmla="*/ 299 w 1369"/>
                  <a:gd name="T25" fmla="*/ 527 h 702"/>
                  <a:gd name="T26" fmla="*/ 263 w 1369"/>
                  <a:gd name="T27" fmla="*/ 506 h 702"/>
                  <a:gd name="T28" fmla="*/ 256 w 1369"/>
                  <a:gd name="T29" fmla="*/ 508 h 702"/>
                  <a:gd name="T30" fmla="*/ 213 w 1369"/>
                  <a:gd name="T31" fmla="*/ 481 h 702"/>
                  <a:gd name="T32" fmla="*/ 219 w 1369"/>
                  <a:gd name="T33" fmla="*/ 462 h 702"/>
                  <a:gd name="T34" fmla="*/ 339 w 1369"/>
                  <a:gd name="T35" fmla="*/ 494 h 702"/>
                  <a:gd name="T36" fmla="*/ 226 w 1369"/>
                  <a:gd name="T37" fmla="*/ 617 h 702"/>
                  <a:gd name="T38" fmla="*/ 112 w 1369"/>
                  <a:gd name="T39" fmla="*/ 411 h 702"/>
                  <a:gd name="T40" fmla="*/ 522 w 1369"/>
                  <a:gd name="T41" fmla="*/ 554 h 702"/>
                  <a:gd name="T42" fmla="*/ 713 w 1369"/>
                  <a:gd name="T43" fmla="*/ 407 h 702"/>
                  <a:gd name="T44" fmla="*/ 989 w 1369"/>
                  <a:gd name="T45" fmla="*/ 554 h 702"/>
                  <a:gd name="T46" fmla="*/ 1061 w 1369"/>
                  <a:gd name="T47" fmla="*/ 391 h 702"/>
                  <a:gd name="T48" fmla="*/ 1291 w 1369"/>
                  <a:gd name="T49" fmla="*/ 366 h 702"/>
                  <a:gd name="T50" fmla="*/ 1356 w 1369"/>
                  <a:gd name="T51" fmla="*/ 322 h 702"/>
                  <a:gd name="T52" fmla="*/ 1363 w 1369"/>
                  <a:gd name="T53" fmla="*/ 298 h 702"/>
                  <a:gd name="T54" fmla="*/ 1246 w 1369"/>
                  <a:gd name="T55" fmla="*/ 327 h 702"/>
                  <a:gd name="T56" fmla="*/ 1070 w 1369"/>
                  <a:gd name="T57" fmla="*/ 265 h 702"/>
                  <a:gd name="T58" fmla="*/ 1241 w 1369"/>
                  <a:gd name="T59" fmla="*/ 296 h 702"/>
                  <a:gd name="T60" fmla="*/ 1143 w 1369"/>
                  <a:gd name="T61" fmla="*/ 178 h 702"/>
                  <a:gd name="T62" fmla="*/ 1227 w 1369"/>
                  <a:gd name="T63" fmla="*/ 100 h 702"/>
                  <a:gd name="T64" fmla="*/ 1279 w 1369"/>
                  <a:gd name="T65" fmla="*/ 240 h 702"/>
                  <a:gd name="T66" fmla="*/ 1143 w 1369"/>
                  <a:gd name="T67" fmla="*/ 178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9" h="702">
                    <a:moveTo>
                      <a:pt x="1359" y="258"/>
                    </a:moveTo>
                    <a:cubicBezTo>
                      <a:pt x="1361" y="256"/>
                      <a:pt x="1369" y="251"/>
                      <a:pt x="1367" y="246"/>
                    </a:cubicBezTo>
                    <a:cubicBezTo>
                      <a:pt x="1360" y="220"/>
                      <a:pt x="1335" y="135"/>
                      <a:pt x="1314" y="114"/>
                    </a:cubicBezTo>
                    <a:cubicBezTo>
                      <a:pt x="1308" y="108"/>
                      <a:pt x="1303" y="101"/>
                      <a:pt x="1293" y="96"/>
                    </a:cubicBezTo>
                    <a:cubicBezTo>
                      <a:pt x="1213" y="49"/>
                      <a:pt x="1024" y="21"/>
                      <a:pt x="1015" y="20"/>
                    </a:cubicBezTo>
                    <a:cubicBezTo>
                      <a:pt x="1015" y="20"/>
                      <a:pt x="1013" y="19"/>
                      <a:pt x="1013" y="22"/>
                    </a:cubicBezTo>
                    <a:cubicBezTo>
                      <a:pt x="1013" y="22"/>
                      <a:pt x="1012" y="61"/>
                      <a:pt x="1012" y="65"/>
                    </a:cubicBezTo>
                    <a:cubicBezTo>
                      <a:pt x="993" y="59"/>
                      <a:pt x="852" y="13"/>
                      <a:pt x="721" y="9"/>
                    </a:cubicBezTo>
                    <a:cubicBezTo>
                      <a:pt x="609" y="5"/>
                      <a:pt x="457" y="0"/>
                      <a:pt x="241" y="132"/>
                    </a:cubicBezTo>
                    <a:cubicBezTo>
                      <a:pt x="235" y="136"/>
                      <a:pt x="235" y="136"/>
                      <a:pt x="235" y="136"/>
                    </a:cubicBezTo>
                    <a:cubicBezTo>
                      <a:pt x="133" y="199"/>
                      <a:pt x="63" y="277"/>
                      <a:pt x="27" y="368"/>
                    </a:cubicBezTo>
                    <a:cubicBezTo>
                      <a:pt x="15" y="396"/>
                      <a:pt x="0" y="461"/>
                      <a:pt x="15" y="521"/>
                    </a:cubicBezTo>
                    <a:cubicBezTo>
                      <a:pt x="22" y="548"/>
                      <a:pt x="34" y="574"/>
                      <a:pt x="51" y="598"/>
                    </a:cubicBezTo>
                    <a:cubicBezTo>
                      <a:pt x="88" y="652"/>
                      <a:pt x="151" y="687"/>
                      <a:pt x="218" y="694"/>
                    </a:cubicBezTo>
                    <a:cubicBezTo>
                      <a:pt x="314" y="702"/>
                      <a:pt x="386" y="659"/>
                      <a:pt x="412" y="579"/>
                    </a:cubicBezTo>
                    <a:cubicBezTo>
                      <a:pt x="430" y="523"/>
                      <a:pt x="412" y="442"/>
                      <a:pt x="344" y="401"/>
                    </a:cubicBezTo>
                    <a:cubicBezTo>
                      <a:pt x="289" y="367"/>
                      <a:pt x="230" y="375"/>
                      <a:pt x="195" y="397"/>
                    </a:cubicBezTo>
                    <a:cubicBezTo>
                      <a:pt x="166" y="417"/>
                      <a:pt x="149" y="448"/>
                      <a:pt x="149" y="482"/>
                    </a:cubicBezTo>
                    <a:cubicBezTo>
                      <a:pt x="150" y="541"/>
                      <a:pt x="201" y="573"/>
                      <a:pt x="238" y="573"/>
                    </a:cubicBezTo>
                    <a:cubicBezTo>
                      <a:pt x="249" y="573"/>
                      <a:pt x="260" y="572"/>
                      <a:pt x="272" y="568"/>
                    </a:cubicBezTo>
                    <a:cubicBezTo>
                      <a:pt x="277" y="566"/>
                      <a:pt x="281" y="565"/>
                      <a:pt x="285" y="562"/>
                    </a:cubicBezTo>
                    <a:cubicBezTo>
                      <a:pt x="287" y="561"/>
                      <a:pt x="287" y="561"/>
                      <a:pt x="287" y="561"/>
                    </a:cubicBezTo>
                    <a:cubicBezTo>
                      <a:pt x="287" y="560"/>
                      <a:pt x="287" y="560"/>
                      <a:pt x="287" y="560"/>
                    </a:cubicBezTo>
                    <a:cubicBezTo>
                      <a:pt x="287" y="561"/>
                      <a:pt x="287" y="561"/>
                      <a:pt x="287" y="561"/>
                    </a:cubicBezTo>
                    <a:cubicBezTo>
                      <a:pt x="296" y="555"/>
                      <a:pt x="301" y="546"/>
                      <a:pt x="301" y="535"/>
                    </a:cubicBezTo>
                    <a:cubicBezTo>
                      <a:pt x="301" y="533"/>
                      <a:pt x="300" y="530"/>
                      <a:pt x="299" y="527"/>
                    </a:cubicBezTo>
                    <a:cubicBezTo>
                      <a:pt x="295" y="512"/>
                      <a:pt x="280" y="503"/>
                      <a:pt x="265" y="506"/>
                    </a:cubicBezTo>
                    <a:cubicBezTo>
                      <a:pt x="263" y="506"/>
                      <a:pt x="263" y="506"/>
                      <a:pt x="263" y="506"/>
                    </a:cubicBezTo>
                    <a:cubicBezTo>
                      <a:pt x="260" y="507"/>
                      <a:pt x="260" y="507"/>
                      <a:pt x="260" y="507"/>
                    </a:cubicBezTo>
                    <a:cubicBezTo>
                      <a:pt x="256" y="508"/>
                      <a:pt x="256" y="508"/>
                      <a:pt x="256" y="508"/>
                    </a:cubicBezTo>
                    <a:cubicBezTo>
                      <a:pt x="247" y="511"/>
                      <a:pt x="241" y="511"/>
                      <a:pt x="239" y="511"/>
                    </a:cubicBezTo>
                    <a:cubicBezTo>
                      <a:pt x="235" y="510"/>
                      <a:pt x="213" y="504"/>
                      <a:pt x="213" y="481"/>
                    </a:cubicBezTo>
                    <a:cubicBezTo>
                      <a:pt x="213" y="480"/>
                      <a:pt x="213" y="480"/>
                      <a:pt x="213" y="480"/>
                    </a:cubicBezTo>
                    <a:cubicBezTo>
                      <a:pt x="214" y="472"/>
                      <a:pt x="217" y="466"/>
                      <a:pt x="219" y="462"/>
                    </a:cubicBezTo>
                    <a:cubicBezTo>
                      <a:pt x="225" y="452"/>
                      <a:pt x="244" y="442"/>
                      <a:pt x="268" y="444"/>
                    </a:cubicBezTo>
                    <a:cubicBezTo>
                      <a:pt x="301" y="447"/>
                      <a:pt x="324" y="463"/>
                      <a:pt x="339" y="494"/>
                    </a:cubicBezTo>
                    <a:cubicBezTo>
                      <a:pt x="353" y="523"/>
                      <a:pt x="350" y="559"/>
                      <a:pt x="330" y="585"/>
                    </a:cubicBezTo>
                    <a:cubicBezTo>
                      <a:pt x="309" y="611"/>
                      <a:pt x="274" y="622"/>
                      <a:pt x="226" y="617"/>
                    </a:cubicBezTo>
                    <a:cubicBezTo>
                      <a:pt x="178" y="612"/>
                      <a:pt x="138" y="584"/>
                      <a:pt x="115" y="541"/>
                    </a:cubicBezTo>
                    <a:cubicBezTo>
                      <a:pt x="93" y="499"/>
                      <a:pt x="92" y="450"/>
                      <a:pt x="112" y="411"/>
                    </a:cubicBezTo>
                    <a:cubicBezTo>
                      <a:pt x="161" y="320"/>
                      <a:pt x="252" y="321"/>
                      <a:pt x="302" y="330"/>
                    </a:cubicBezTo>
                    <a:cubicBezTo>
                      <a:pt x="374" y="342"/>
                      <a:pt x="482" y="406"/>
                      <a:pt x="522" y="554"/>
                    </a:cubicBezTo>
                    <a:cubicBezTo>
                      <a:pt x="621" y="554"/>
                      <a:pt x="621" y="554"/>
                      <a:pt x="621" y="554"/>
                    </a:cubicBezTo>
                    <a:cubicBezTo>
                      <a:pt x="609" y="516"/>
                      <a:pt x="602" y="407"/>
                      <a:pt x="713" y="407"/>
                    </a:cubicBezTo>
                    <a:cubicBezTo>
                      <a:pt x="835" y="407"/>
                      <a:pt x="850" y="493"/>
                      <a:pt x="885" y="554"/>
                    </a:cubicBezTo>
                    <a:cubicBezTo>
                      <a:pt x="989" y="554"/>
                      <a:pt x="989" y="554"/>
                      <a:pt x="989" y="554"/>
                    </a:cubicBezTo>
                    <a:cubicBezTo>
                      <a:pt x="962" y="515"/>
                      <a:pt x="942" y="471"/>
                      <a:pt x="949" y="434"/>
                    </a:cubicBezTo>
                    <a:cubicBezTo>
                      <a:pt x="958" y="379"/>
                      <a:pt x="1001" y="384"/>
                      <a:pt x="1061" y="391"/>
                    </a:cubicBezTo>
                    <a:cubicBezTo>
                      <a:pt x="1080" y="393"/>
                      <a:pt x="1103" y="396"/>
                      <a:pt x="1126" y="396"/>
                    </a:cubicBezTo>
                    <a:cubicBezTo>
                      <a:pt x="1190" y="397"/>
                      <a:pt x="1248" y="385"/>
                      <a:pt x="1291" y="366"/>
                    </a:cubicBezTo>
                    <a:cubicBezTo>
                      <a:pt x="1319" y="354"/>
                      <a:pt x="1336" y="346"/>
                      <a:pt x="1347" y="336"/>
                    </a:cubicBezTo>
                    <a:cubicBezTo>
                      <a:pt x="1351" y="333"/>
                      <a:pt x="1353" y="328"/>
                      <a:pt x="1356" y="322"/>
                    </a:cubicBezTo>
                    <a:cubicBezTo>
                      <a:pt x="1357" y="318"/>
                      <a:pt x="1357" y="318"/>
                      <a:pt x="1357" y="318"/>
                    </a:cubicBezTo>
                    <a:cubicBezTo>
                      <a:pt x="1359" y="313"/>
                      <a:pt x="1361" y="304"/>
                      <a:pt x="1363" y="298"/>
                    </a:cubicBezTo>
                    <a:cubicBezTo>
                      <a:pt x="1365" y="287"/>
                      <a:pt x="1356" y="293"/>
                      <a:pt x="1356" y="293"/>
                    </a:cubicBezTo>
                    <a:cubicBezTo>
                      <a:pt x="1337" y="304"/>
                      <a:pt x="1290" y="326"/>
                      <a:pt x="1246" y="327"/>
                    </a:cubicBezTo>
                    <a:cubicBezTo>
                      <a:pt x="1192" y="328"/>
                      <a:pt x="1082" y="272"/>
                      <a:pt x="1071" y="266"/>
                    </a:cubicBezTo>
                    <a:cubicBezTo>
                      <a:pt x="1070" y="265"/>
                      <a:pt x="1070" y="265"/>
                      <a:pt x="1070" y="265"/>
                    </a:cubicBezTo>
                    <a:cubicBezTo>
                      <a:pt x="1067" y="258"/>
                      <a:pt x="1051" y="219"/>
                      <a:pt x="1047" y="211"/>
                    </a:cubicBezTo>
                    <a:cubicBezTo>
                      <a:pt x="1126" y="263"/>
                      <a:pt x="1191" y="292"/>
                      <a:pt x="1241" y="296"/>
                    </a:cubicBezTo>
                    <a:cubicBezTo>
                      <a:pt x="1297" y="301"/>
                      <a:pt x="1341" y="271"/>
                      <a:pt x="1359" y="258"/>
                    </a:cubicBezTo>
                    <a:close/>
                    <a:moveTo>
                      <a:pt x="1143" y="178"/>
                    </a:moveTo>
                    <a:cubicBezTo>
                      <a:pt x="1144" y="156"/>
                      <a:pt x="1153" y="136"/>
                      <a:pt x="1169" y="122"/>
                    </a:cubicBezTo>
                    <a:cubicBezTo>
                      <a:pt x="1184" y="107"/>
                      <a:pt x="1205" y="99"/>
                      <a:pt x="1227" y="100"/>
                    </a:cubicBezTo>
                    <a:cubicBezTo>
                      <a:pt x="1271" y="102"/>
                      <a:pt x="1306" y="139"/>
                      <a:pt x="1305" y="184"/>
                    </a:cubicBezTo>
                    <a:cubicBezTo>
                      <a:pt x="1304" y="205"/>
                      <a:pt x="1295" y="225"/>
                      <a:pt x="1279" y="240"/>
                    </a:cubicBezTo>
                    <a:cubicBezTo>
                      <a:pt x="1263" y="255"/>
                      <a:pt x="1243" y="263"/>
                      <a:pt x="1221" y="262"/>
                    </a:cubicBezTo>
                    <a:cubicBezTo>
                      <a:pt x="1176" y="260"/>
                      <a:pt x="1141" y="223"/>
                      <a:pt x="1143" y="178"/>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grpSp>
      </p:grpSp>
      <p:grpSp>
        <p:nvGrpSpPr>
          <p:cNvPr id="91" name="Group 90">
            <a:extLst>
              <a:ext uri="{FF2B5EF4-FFF2-40B4-BE49-F238E27FC236}">
                <a16:creationId xmlns:a16="http://schemas.microsoft.com/office/drawing/2014/main" id="{338F0123-F6D2-4BFE-B395-E2368EEA11C8}"/>
              </a:ext>
            </a:extLst>
          </p:cNvPr>
          <p:cNvGrpSpPr/>
          <p:nvPr/>
        </p:nvGrpSpPr>
        <p:grpSpPr>
          <a:xfrm>
            <a:off x="9222049" y="5057211"/>
            <a:ext cx="1851025" cy="417512"/>
            <a:chOff x="2643188" y="6081713"/>
            <a:chExt cx="1851025" cy="417512"/>
          </a:xfrm>
          <a:solidFill>
            <a:srgbClr val="0078D7"/>
          </a:solidFill>
        </p:grpSpPr>
        <p:sp>
          <p:nvSpPr>
            <p:cNvPr id="92" name="Oval 39">
              <a:extLst>
                <a:ext uri="{FF2B5EF4-FFF2-40B4-BE49-F238E27FC236}">
                  <a16:creationId xmlns:a16="http://schemas.microsoft.com/office/drawing/2014/main" id="{B9DA524C-F4D6-4C02-89A4-AF96041B5E41}"/>
                </a:ext>
              </a:extLst>
            </p:cNvPr>
            <p:cNvSpPr>
              <a:spLocks noChangeArrowheads="1"/>
            </p:cNvSpPr>
            <p:nvPr/>
          </p:nvSpPr>
          <p:spPr bwMode="auto">
            <a:xfrm>
              <a:off x="4271963" y="6081713"/>
              <a:ext cx="222250" cy="222250"/>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93" name="Freeform 40">
              <a:extLst>
                <a:ext uri="{FF2B5EF4-FFF2-40B4-BE49-F238E27FC236}">
                  <a16:creationId xmlns:a16="http://schemas.microsoft.com/office/drawing/2014/main" id="{170C9B23-694E-4474-9647-2C5054421CD0}"/>
                </a:ext>
              </a:extLst>
            </p:cNvPr>
            <p:cNvSpPr>
              <a:spLocks noEditPoints="1"/>
            </p:cNvSpPr>
            <p:nvPr/>
          </p:nvSpPr>
          <p:spPr bwMode="auto">
            <a:xfrm>
              <a:off x="4292601" y="6110288"/>
              <a:ext cx="155575" cy="165100"/>
            </a:xfrm>
            <a:custGeom>
              <a:avLst/>
              <a:gdLst>
                <a:gd name="T0" fmla="*/ 25 w 253"/>
                <a:gd name="T1" fmla="*/ 110 h 269"/>
                <a:gd name="T2" fmla="*/ 0 w 253"/>
                <a:gd name="T3" fmla="*/ 134 h 269"/>
                <a:gd name="T4" fmla="*/ 25 w 253"/>
                <a:gd name="T5" fmla="*/ 159 h 269"/>
                <a:gd name="T6" fmla="*/ 49 w 253"/>
                <a:gd name="T7" fmla="*/ 134 h 269"/>
                <a:gd name="T8" fmla="*/ 25 w 253"/>
                <a:gd name="T9" fmla="*/ 110 h 269"/>
                <a:gd name="T10" fmla="*/ 197 w 253"/>
                <a:gd name="T11" fmla="*/ 220 h 269"/>
                <a:gd name="T12" fmla="*/ 188 w 253"/>
                <a:gd name="T13" fmla="*/ 253 h 269"/>
                <a:gd name="T14" fmla="*/ 222 w 253"/>
                <a:gd name="T15" fmla="*/ 262 h 269"/>
                <a:gd name="T16" fmla="*/ 230 w 253"/>
                <a:gd name="T17" fmla="*/ 229 h 269"/>
                <a:gd name="T18" fmla="*/ 197 w 253"/>
                <a:gd name="T19" fmla="*/ 220 h 269"/>
                <a:gd name="T20" fmla="*/ 77 w 253"/>
                <a:gd name="T21" fmla="*/ 134 h 269"/>
                <a:gd name="T22" fmla="*/ 107 w 253"/>
                <a:gd name="T23" fmla="*/ 77 h 269"/>
                <a:gd name="T24" fmla="*/ 89 w 253"/>
                <a:gd name="T25" fmla="*/ 47 h 269"/>
                <a:gd name="T26" fmla="*/ 46 w 253"/>
                <a:gd name="T27" fmla="*/ 108 h 269"/>
                <a:gd name="T28" fmla="*/ 59 w 253"/>
                <a:gd name="T29" fmla="*/ 134 h 269"/>
                <a:gd name="T30" fmla="*/ 46 w 253"/>
                <a:gd name="T31" fmla="*/ 161 h 269"/>
                <a:gd name="T32" fmla="*/ 89 w 253"/>
                <a:gd name="T33" fmla="*/ 222 h 269"/>
                <a:gd name="T34" fmla="*/ 107 w 253"/>
                <a:gd name="T35" fmla="*/ 192 h 269"/>
                <a:gd name="T36" fmla="*/ 77 w 253"/>
                <a:gd name="T37" fmla="*/ 134 h 269"/>
                <a:gd name="T38" fmla="*/ 148 w 253"/>
                <a:gd name="T39" fmla="*/ 64 h 269"/>
                <a:gd name="T40" fmla="*/ 218 w 253"/>
                <a:gd name="T41" fmla="*/ 128 h 269"/>
                <a:gd name="T42" fmla="*/ 253 w 253"/>
                <a:gd name="T43" fmla="*/ 128 h 269"/>
                <a:gd name="T44" fmla="*/ 221 w 253"/>
                <a:gd name="T45" fmla="*/ 59 h 269"/>
                <a:gd name="T46" fmla="*/ 192 w 253"/>
                <a:gd name="T47" fmla="*/ 57 h 269"/>
                <a:gd name="T48" fmla="*/ 176 w 253"/>
                <a:gd name="T49" fmla="*/ 33 h 269"/>
                <a:gd name="T50" fmla="*/ 148 w 253"/>
                <a:gd name="T51" fmla="*/ 29 h 269"/>
                <a:gd name="T52" fmla="*/ 101 w 253"/>
                <a:gd name="T53" fmla="*/ 40 h 269"/>
                <a:gd name="T54" fmla="*/ 118 w 253"/>
                <a:gd name="T55" fmla="*/ 70 h 269"/>
                <a:gd name="T56" fmla="*/ 148 w 253"/>
                <a:gd name="T57" fmla="*/ 64 h 269"/>
                <a:gd name="T58" fmla="*/ 148 w 253"/>
                <a:gd name="T59" fmla="*/ 205 h 269"/>
                <a:gd name="T60" fmla="*/ 118 w 253"/>
                <a:gd name="T61" fmla="*/ 199 h 269"/>
                <a:gd name="T62" fmla="*/ 101 w 253"/>
                <a:gd name="T63" fmla="*/ 229 h 269"/>
                <a:gd name="T64" fmla="*/ 148 w 253"/>
                <a:gd name="T65" fmla="*/ 240 h 269"/>
                <a:gd name="T66" fmla="*/ 176 w 253"/>
                <a:gd name="T67" fmla="*/ 236 h 269"/>
                <a:gd name="T68" fmla="*/ 192 w 253"/>
                <a:gd name="T69" fmla="*/ 212 h 269"/>
                <a:gd name="T70" fmla="*/ 221 w 253"/>
                <a:gd name="T71" fmla="*/ 209 h 269"/>
                <a:gd name="T72" fmla="*/ 253 w 253"/>
                <a:gd name="T73" fmla="*/ 141 h 269"/>
                <a:gd name="T74" fmla="*/ 218 w 253"/>
                <a:gd name="T75" fmla="*/ 141 h 269"/>
                <a:gd name="T76" fmla="*/ 148 w 253"/>
                <a:gd name="T77" fmla="*/ 205 h 269"/>
                <a:gd name="T78" fmla="*/ 197 w 253"/>
                <a:gd name="T79" fmla="*/ 49 h 269"/>
                <a:gd name="T80" fmla="*/ 230 w 253"/>
                <a:gd name="T81" fmla="*/ 40 h 269"/>
                <a:gd name="T82" fmla="*/ 222 w 253"/>
                <a:gd name="T83" fmla="*/ 7 h 269"/>
                <a:gd name="T84" fmla="*/ 188 w 253"/>
                <a:gd name="T85" fmla="*/ 16 h 269"/>
                <a:gd name="T86" fmla="*/ 197 w 253"/>
                <a:gd name="T87" fmla="*/ 49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3" h="269">
                  <a:moveTo>
                    <a:pt x="25" y="110"/>
                  </a:moveTo>
                  <a:cubicBezTo>
                    <a:pt x="11" y="110"/>
                    <a:pt x="0" y="121"/>
                    <a:pt x="0" y="134"/>
                  </a:cubicBezTo>
                  <a:cubicBezTo>
                    <a:pt x="0" y="148"/>
                    <a:pt x="11" y="159"/>
                    <a:pt x="25" y="159"/>
                  </a:cubicBezTo>
                  <a:cubicBezTo>
                    <a:pt x="38" y="159"/>
                    <a:pt x="49" y="148"/>
                    <a:pt x="49" y="134"/>
                  </a:cubicBezTo>
                  <a:cubicBezTo>
                    <a:pt x="49" y="121"/>
                    <a:pt x="38" y="110"/>
                    <a:pt x="25" y="110"/>
                  </a:cubicBezTo>
                  <a:close/>
                  <a:moveTo>
                    <a:pt x="197" y="220"/>
                  </a:moveTo>
                  <a:cubicBezTo>
                    <a:pt x="186" y="227"/>
                    <a:pt x="182" y="242"/>
                    <a:pt x="188" y="253"/>
                  </a:cubicBezTo>
                  <a:cubicBezTo>
                    <a:pt x="195" y="265"/>
                    <a:pt x="210" y="269"/>
                    <a:pt x="222" y="262"/>
                  </a:cubicBezTo>
                  <a:cubicBezTo>
                    <a:pt x="233" y="255"/>
                    <a:pt x="237" y="241"/>
                    <a:pt x="230" y="229"/>
                  </a:cubicBezTo>
                  <a:cubicBezTo>
                    <a:pt x="224" y="218"/>
                    <a:pt x="209" y="214"/>
                    <a:pt x="197" y="220"/>
                  </a:cubicBezTo>
                  <a:close/>
                  <a:moveTo>
                    <a:pt x="77" y="134"/>
                  </a:moveTo>
                  <a:cubicBezTo>
                    <a:pt x="77" y="111"/>
                    <a:pt x="89" y="89"/>
                    <a:pt x="107" y="77"/>
                  </a:cubicBezTo>
                  <a:cubicBezTo>
                    <a:pt x="89" y="47"/>
                    <a:pt x="89" y="47"/>
                    <a:pt x="89" y="47"/>
                  </a:cubicBezTo>
                  <a:cubicBezTo>
                    <a:pt x="68" y="61"/>
                    <a:pt x="53" y="83"/>
                    <a:pt x="46" y="108"/>
                  </a:cubicBezTo>
                  <a:cubicBezTo>
                    <a:pt x="54" y="114"/>
                    <a:pt x="59" y="124"/>
                    <a:pt x="59" y="134"/>
                  </a:cubicBezTo>
                  <a:cubicBezTo>
                    <a:pt x="59" y="145"/>
                    <a:pt x="54" y="155"/>
                    <a:pt x="46" y="161"/>
                  </a:cubicBezTo>
                  <a:cubicBezTo>
                    <a:pt x="53" y="186"/>
                    <a:pt x="68" y="208"/>
                    <a:pt x="89" y="222"/>
                  </a:cubicBezTo>
                  <a:cubicBezTo>
                    <a:pt x="107" y="192"/>
                    <a:pt x="107" y="192"/>
                    <a:pt x="107" y="192"/>
                  </a:cubicBezTo>
                  <a:cubicBezTo>
                    <a:pt x="89" y="179"/>
                    <a:pt x="77" y="158"/>
                    <a:pt x="77" y="134"/>
                  </a:cubicBezTo>
                  <a:close/>
                  <a:moveTo>
                    <a:pt x="148" y="64"/>
                  </a:moveTo>
                  <a:cubicBezTo>
                    <a:pt x="185" y="64"/>
                    <a:pt x="215" y="92"/>
                    <a:pt x="218" y="128"/>
                  </a:cubicBezTo>
                  <a:cubicBezTo>
                    <a:pt x="253" y="128"/>
                    <a:pt x="253" y="128"/>
                    <a:pt x="253" y="128"/>
                  </a:cubicBezTo>
                  <a:cubicBezTo>
                    <a:pt x="251" y="101"/>
                    <a:pt x="239" y="77"/>
                    <a:pt x="221" y="59"/>
                  </a:cubicBezTo>
                  <a:cubicBezTo>
                    <a:pt x="212" y="63"/>
                    <a:pt x="202" y="62"/>
                    <a:pt x="192" y="57"/>
                  </a:cubicBezTo>
                  <a:cubicBezTo>
                    <a:pt x="183" y="52"/>
                    <a:pt x="177" y="43"/>
                    <a:pt x="176" y="33"/>
                  </a:cubicBezTo>
                  <a:cubicBezTo>
                    <a:pt x="167" y="31"/>
                    <a:pt x="158" y="29"/>
                    <a:pt x="148" y="29"/>
                  </a:cubicBezTo>
                  <a:cubicBezTo>
                    <a:pt x="131" y="29"/>
                    <a:pt x="115" y="33"/>
                    <a:pt x="101" y="40"/>
                  </a:cubicBezTo>
                  <a:cubicBezTo>
                    <a:pt x="118" y="70"/>
                    <a:pt x="118" y="70"/>
                    <a:pt x="118" y="70"/>
                  </a:cubicBezTo>
                  <a:cubicBezTo>
                    <a:pt x="127" y="66"/>
                    <a:pt x="137" y="64"/>
                    <a:pt x="148" y="64"/>
                  </a:cubicBezTo>
                  <a:close/>
                  <a:moveTo>
                    <a:pt x="148" y="205"/>
                  </a:moveTo>
                  <a:cubicBezTo>
                    <a:pt x="137" y="205"/>
                    <a:pt x="127" y="203"/>
                    <a:pt x="118" y="199"/>
                  </a:cubicBezTo>
                  <a:cubicBezTo>
                    <a:pt x="101" y="229"/>
                    <a:pt x="101" y="229"/>
                    <a:pt x="101" y="229"/>
                  </a:cubicBezTo>
                  <a:cubicBezTo>
                    <a:pt x="115" y="236"/>
                    <a:pt x="131" y="240"/>
                    <a:pt x="148" y="240"/>
                  </a:cubicBezTo>
                  <a:cubicBezTo>
                    <a:pt x="158" y="240"/>
                    <a:pt x="167" y="238"/>
                    <a:pt x="176" y="236"/>
                  </a:cubicBezTo>
                  <a:cubicBezTo>
                    <a:pt x="177" y="226"/>
                    <a:pt x="183" y="217"/>
                    <a:pt x="192" y="212"/>
                  </a:cubicBezTo>
                  <a:cubicBezTo>
                    <a:pt x="202" y="206"/>
                    <a:pt x="212" y="206"/>
                    <a:pt x="221" y="209"/>
                  </a:cubicBezTo>
                  <a:cubicBezTo>
                    <a:pt x="239" y="192"/>
                    <a:pt x="251" y="168"/>
                    <a:pt x="253" y="141"/>
                  </a:cubicBezTo>
                  <a:cubicBezTo>
                    <a:pt x="218" y="141"/>
                    <a:pt x="218" y="141"/>
                    <a:pt x="218" y="141"/>
                  </a:cubicBezTo>
                  <a:cubicBezTo>
                    <a:pt x="215" y="177"/>
                    <a:pt x="185" y="205"/>
                    <a:pt x="148" y="205"/>
                  </a:cubicBezTo>
                  <a:close/>
                  <a:moveTo>
                    <a:pt x="197" y="49"/>
                  </a:moveTo>
                  <a:cubicBezTo>
                    <a:pt x="209" y="55"/>
                    <a:pt x="224" y="51"/>
                    <a:pt x="230" y="40"/>
                  </a:cubicBezTo>
                  <a:cubicBezTo>
                    <a:pt x="237" y="28"/>
                    <a:pt x="233" y="13"/>
                    <a:pt x="222" y="7"/>
                  </a:cubicBezTo>
                  <a:cubicBezTo>
                    <a:pt x="210" y="0"/>
                    <a:pt x="195" y="4"/>
                    <a:pt x="188" y="16"/>
                  </a:cubicBezTo>
                  <a:cubicBezTo>
                    <a:pt x="182" y="27"/>
                    <a:pt x="186" y="42"/>
                    <a:pt x="197" y="49"/>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94" name="Freeform 41">
              <a:extLst>
                <a:ext uri="{FF2B5EF4-FFF2-40B4-BE49-F238E27FC236}">
                  <a16:creationId xmlns:a16="http://schemas.microsoft.com/office/drawing/2014/main" id="{0C517FB8-B7E6-488D-BC7A-5E9C783031F5}"/>
                </a:ext>
              </a:extLst>
            </p:cNvPr>
            <p:cNvSpPr>
              <a:spLocks/>
            </p:cNvSpPr>
            <p:nvPr/>
          </p:nvSpPr>
          <p:spPr bwMode="auto">
            <a:xfrm>
              <a:off x="2643188" y="6216650"/>
              <a:ext cx="222250" cy="282575"/>
            </a:xfrm>
            <a:custGeom>
              <a:avLst/>
              <a:gdLst>
                <a:gd name="T0" fmla="*/ 362 w 362"/>
                <a:gd name="T1" fmla="*/ 436 h 459"/>
                <a:gd name="T2" fmla="*/ 289 w 362"/>
                <a:gd name="T3" fmla="*/ 451 h 459"/>
                <a:gd name="T4" fmla="*/ 184 w 362"/>
                <a:gd name="T5" fmla="*/ 459 h 459"/>
                <a:gd name="T6" fmla="*/ 97 w 362"/>
                <a:gd name="T7" fmla="*/ 444 h 459"/>
                <a:gd name="T8" fmla="*/ 40 w 362"/>
                <a:gd name="T9" fmla="*/ 401 h 459"/>
                <a:gd name="T10" fmla="*/ 9 w 362"/>
                <a:gd name="T11" fmla="*/ 336 h 459"/>
                <a:gd name="T12" fmla="*/ 0 w 362"/>
                <a:gd name="T13" fmla="*/ 252 h 459"/>
                <a:gd name="T14" fmla="*/ 0 w 362"/>
                <a:gd name="T15" fmla="*/ 0 h 459"/>
                <a:gd name="T16" fmla="*/ 80 w 362"/>
                <a:gd name="T17" fmla="*/ 0 h 459"/>
                <a:gd name="T18" fmla="*/ 80 w 362"/>
                <a:gd name="T19" fmla="*/ 235 h 459"/>
                <a:gd name="T20" fmla="*/ 106 w 362"/>
                <a:gd name="T21" fmla="*/ 352 h 459"/>
                <a:gd name="T22" fmla="*/ 193 w 362"/>
                <a:gd name="T23" fmla="*/ 388 h 459"/>
                <a:gd name="T24" fmla="*/ 220 w 362"/>
                <a:gd name="T25" fmla="*/ 387 h 459"/>
                <a:gd name="T26" fmla="*/ 246 w 362"/>
                <a:gd name="T27" fmla="*/ 385 h 459"/>
                <a:gd name="T28" fmla="*/ 268 w 362"/>
                <a:gd name="T29" fmla="*/ 382 h 459"/>
                <a:gd name="T30" fmla="*/ 282 w 362"/>
                <a:gd name="T31" fmla="*/ 379 h 459"/>
                <a:gd name="T32" fmla="*/ 282 w 362"/>
                <a:gd name="T33" fmla="*/ 0 h 459"/>
                <a:gd name="T34" fmla="*/ 362 w 362"/>
                <a:gd name="T35" fmla="*/ 0 h 459"/>
                <a:gd name="T36" fmla="*/ 362 w 362"/>
                <a:gd name="T37" fmla="*/ 43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2" h="459">
                  <a:moveTo>
                    <a:pt x="362" y="436"/>
                  </a:moveTo>
                  <a:cubicBezTo>
                    <a:pt x="344" y="441"/>
                    <a:pt x="320" y="446"/>
                    <a:pt x="289" y="451"/>
                  </a:cubicBezTo>
                  <a:cubicBezTo>
                    <a:pt x="259" y="456"/>
                    <a:pt x="224" y="459"/>
                    <a:pt x="184" y="459"/>
                  </a:cubicBezTo>
                  <a:cubicBezTo>
                    <a:pt x="150" y="459"/>
                    <a:pt x="121" y="454"/>
                    <a:pt x="97" y="444"/>
                  </a:cubicBezTo>
                  <a:cubicBezTo>
                    <a:pt x="74" y="433"/>
                    <a:pt x="55" y="419"/>
                    <a:pt x="40" y="401"/>
                  </a:cubicBezTo>
                  <a:cubicBezTo>
                    <a:pt x="26" y="382"/>
                    <a:pt x="16" y="361"/>
                    <a:pt x="9" y="336"/>
                  </a:cubicBezTo>
                  <a:cubicBezTo>
                    <a:pt x="3" y="311"/>
                    <a:pt x="0" y="283"/>
                    <a:pt x="0" y="252"/>
                  </a:cubicBezTo>
                  <a:cubicBezTo>
                    <a:pt x="0" y="0"/>
                    <a:pt x="0" y="0"/>
                    <a:pt x="0" y="0"/>
                  </a:cubicBezTo>
                  <a:cubicBezTo>
                    <a:pt x="80" y="0"/>
                    <a:pt x="80" y="0"/>
                    <a:pt x="80" y="0"/>
                  </a:cubicBezTo>
                  <a:cubicBezTo>
                    <a:pt x="80" y="235"/>
                    <a:pt x="80" y="235"/>
                    <a:pt x="80" y="235"/>
                  </a:cubicBezTo>
                  <a:cubicBezTo>
                    <a:pt x="80" y="290"/>
                    <a:pt x="89" y="329"/>
                    <a:pt x="106" y="352"/>
                  </a:cubicBezTo>
                  <a:cubicBezTo>
                    <a:pt x="123" y="376"/>
                    <a:pt x="152" y="388"/>
                    <a:pt x="193" y="388"/>
                  </a:cubicBezTo>
                  <a:cubicBezTo>
                    <a:pt x="202" y="388"/>
                    <a:pt x="211" y="388"/>
                    <a:pt x="220" y="387"/>
                  </a:cubicBezTo>
                  <a:cubicBezTo>
                    <a:pt x="229" y="386"/>
                    <a:pt x="238" y="386"/>
                    <a:pt x="246" y="385"/>
                  </a:cubicBezTo>
                  <a:cubicBezTo>
                    <a:pt x="254" y="384"/>
                    <a:pt x="261" y="383"/>
                    <a:pt x="268" y="382"/>
                  </a:cubicBezTo>
                  <a:cubicBezTo>
                    <a:pt x="274" y="381"/>
                    <a:pt x="279" y="380"/>
                    <a:pt x="282" y="379"/>
                  </a:cubicBezTo>
                  <a:cubicBezTo>
                    <a:pt x="282" y="0"/>
                    <a:pt x="282" y="0"/>
                    <a:pt x="282" y="0"/>
                  </a:cubicBezTo>
                  <a:cubicBezTo>
                    <a:pt x="362" y="0"/>
                    <a:pt x="362" y="0"/>
                    <a:pt x="362" y="0"/>
                  </a:cubicBezTo>
                  <a:cubicBezTo>
                    <a:pt x="362" y="436"/>
                    <a:pt x="362" y="436"/>
                    <a:pt x="362" y="43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95" name="Freeform 42">
              <a:extLst>
                <a:ext uri="{FF2B5EF4-FFF2-40B4-BE49-F238E27FC236}">
                  <a16:creationId xmlns:a16="http://schemas.microsoft.com/office/drawing/2014/main" id="{40221202-362E-40DB-8919-15778A391A30}"/>
                </a:ext>
              </a:extLst>
            </p:cNvPr>
            <p:cNvSpPr>
              <a:spLocks noEditPoints="1"/>
            </p:cNvSpPr>
            <p:nvPr/>
          </p:nvSpPr>
          <p:spPr bwMode="auto">
            <a:xfrm>
              <a:off x="2935288" y="6081713"/>
              <a:ext cx="241300" cy="417512"/>
            </a:xfrm>
            <a:custGeom>
              <a:avLst/>
              <a:gdLst>
                <a:gd name="T0" fmla="*/ 80 w 395"/>
                <a:gd name="T1" fmla="*/ 241 h 680"/>
                <a:gd name="T2" fmla="*/ 125 w 395"/>
                <a:gd name="T3" fmla="*/ 221 h 680"/>
                <a:gd name="T4" fmla="*/ 193 w 395"/>
                <a:gd name="T5" fmla="*/ 211 h 680"/>
                <a:gd name="T6" fmla="*/ 279 w 395"/>
                <a:gd name="T7" fmla="*/ 228 h 680"/>
                <a:gd name="T8" fmla="*/ 343 w 395"/>
                <a:gd name="T9" fmla="*/ 276 h 680"/>
                <a:gd name="T10" fmla="*/ 382 w 395"/>
                <a:gd name="T11" fmla="*/ 351 h 680"/>
                <a:gd name="T12" fmla="*/ 395 w 395"/>
                <a:gd name="T13" fmla="*/ 446 h 680"/>
                <a:gd name="T14" fmla="*/ 379 w 395"/>
                <a:gd name="T15" fmla="*/ 544 h 680"/>
                <a:gd name="T16" fmla="*/ 334 w 395"/>
                <a:gd name="T17" fmla="*/ 617 h 680"/>
                <a:gd name="T18" fmla="*/ 263 w 395"/>
                <a:gd name="T19" fmla="*/ 664 h 680"/>
                <a:gd name="T20" fmla="*/ 170 w 395"/>
                <a:gd name="T21" fmla="*/ 680 h 680"/>
                <a:gd name="T22" fmla="*/ 71 w 395"/>
                <a:gd name="T23" fmla="*/ 673 h 680"/>
                <a:gd name="T24" fmla="*/ 0 w 395"/>
                <a:gd name="T25" fmla="*/ 657 h 680"/>
                <a:gd name="T26" fmla="*/ 0 w 395"/>
                <a:gd name="T27" fmla="*/ 14 h 680"/>
                <a:gd name="T28" fmla="*/ 80 w 395"/>
                <a:gd name="T29" fmla="*/ 0 h 680"/>
                <a:gd name="T30" fmla="*/ 80 w 395"/>
                <a:gd name="T31" fmla="*/ 241 h 680"/>
                <a:gd name="T32" fmla="*/ 80 w 395"/>
                <a:gd name="T33" fmla="*/ 600 h 680"/>
                <a:gd name="T34" fmla="*/ 114 w 395"/>
                <a:gd name="T35" fmla="*/ 607 h 680"/>
                <a:gd name="T36" fmla="*/ 169 w 395"/>
                <a:gd name="T37" fmla="*/ 610 h 680"/>
                <a:gd name="T38" fmla="*/ 273 w 395"/>
                <a:gd name="T39" fmla="*/ 567 h 680"/>
                <a:gd name="T40" fmla="*/ 312 w 395"/>
                <a:gd name="T41" fmla="*/ 446 h 680"/>
                <a:gd name="T42" fmla="*/ 305 w 395"/>
                <a:gd name="T43" fmla="*/ 381 h 680"/>
                <a:gd name="T44" fmla="*/ 282 w 395"/>
                <a:gd name="T45" fmla="*/ 329 h 680"/>
                <a:gd name="T46" fmla="*/ 242 w 395"/>
                <a:gd name="T47" fmla="*/ 294 h 680"/>
                <a:gd name="T48" fmla="*/ 183 w 395"/>
                <a:gd name="T49" fmla="*/ 282 h 680"/>
                <a:gd name="T50" fmla="*/ 123 w 395"/>
                <a:gd name="T51" fmla="*/ 293 h 680"/>
                <a:gd name="T52" fmla="*/ 80 w 395"/>
                <a:gd name="T53" fmla="*/ 316 h 680"/>
                <a:gd name="T54" fmla="*/ 80 w 395"/>
                <a:gd name="T55" fmla="*/ 600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95" h="680">
                  <a:moveTo>
                    <a:pt x="80" y="241"/>
                  </a:moveTo>
                  <a:cubicBezTo>
                    <a:pt x="90" y="235"/>
                    <a:pt x="105" y="228"/>
                    <a:pt x="125" y="221"/>
                  </a:cubicBezTo>
                  <a:cubicBezTo>
                    <a:pt x="145" y="214"/>
                    <a:pt x="167" y="211"/>
                    <a:pt x="193" y="211"/>
                  </a:cubicBezTo>
                  <a:cubicBezTo>
                    <a:pt x="226" y="211"/>
                    <a:pt x="254" y="217"/>
                    <a:pt x="279" y="228"/>
                  </a:cubicBezTo>
                  <a:cubicBezTo>
                    <a:pt x="304" y="240"/>
                    <a:pt x="325" y="256"/>
                    <a:pt x="343" y="276"/>
                  </a:cubicBezTo>
                  <a:cubicBezTo>
                    <a:pt x="360" y="297"/>
                    <a:pt x="373" y="322"/>
                    <a:pt x="382" y="351"/>
                  </a:cubicBezTo>
                  <a:cubicBezTo>
                    <a:pt x="391" y="379"/>
                    <a:pt x="395" y="411"/>
                    <a:pt x="395" y="446"/>
                  </a:cubicBezTo>
                  <a:cubicBezTo>
                    <a:pt x="395" y="482"/>
                    <a:pt x="390" y="515"/>
                    <a:pt x="379" y="544"/>
                  </a:cubicBezTo>
                  <a:cubicBezTo>
                    <a:pt x="369" y="573"/>
                    <a:pt x="354" y="597"/>
                    <a:pt x="334" y="617"/>
                  </a:cubicBezTo>
                  <a:cubicBezTo>
                    <a:pt x="315" y="638"/>
                    <a:pt x="291" y="653"/>
                    <a:pt x="263" y="664"/>
                  </a:cubicBezTo>
                  <a:cubicBezTo>
                    <a:pt x="236" y="675"/>
                    <a:pt x="205" y="680"/>
                    <a:pt x="170" y="680"/>
                  </a:cubicBezTo>
                  <a:cubicBezTo>
                    <a:pt x="133" y="680"/>
                    <a:pt x="100" y="678"/>
                    <a:pt x="71" y="673"/>
                  </a:cubicBezTo>
                  <a:cubicBezTo>
                    <a:pt x="42" y="668"/>
                    <a:pt x="18" y="662"/>
                    <a:pt x="0" y="657"/>
                  </a:cubicBezTo>
                  <a:cubicBezTo>
                    <a:pt x="0" y="14"/>
                    <a:pt x="0" y="14"/>
                    <a:pt x="0" y="14"/>
                  </a:cubicBezTo>
                  <a:cubicBezTo>
                    <a:pt x="80" y="0"/>
                    <a:pt x="80" y="0"/>
                    <a:pt x="80" y="0"/>
                  </a:cubicBezTo>
                  <a:lnTo>
                    <a:pt x="80" y="241"/>
                  </a:lnTo>
                  <a:close/>
                  <a:moveTo>
                    <a:pt x="80" y="600"/>
                  </a:moveTo>
                  <a:cubicBezTo>
                    <a:pt x="88" y="602"/>
                    <a:pt x="100" y="605"/>
                    <a:pt x="114" y="607"/>
                  </a:cubicBezTo>
                  <a:cubicBezTo>
                    <a:pt x="129" y="609"/>
                    <a:pt x="147" y="610"/>
                    <a:pt x="169" y="610"/>
                  </a:cubicBezTo>
                  <a:cubicBezTo>
                    <a:pt x="212" y="610"/>
                    <a:pt x="247" y="595"/>
                    <a:pt x="273" y="567"/>
                  </a:cubicBezTo>
                  <a:cubicBezTo>
                    <a:pt x="299" y="538"/>
                    <a:pt x="312" y="498"/>
                    <a:pt x="312" y="446"/>
                  </a:cubicBezTo>
                  <a:cubicBezTo>
                    <a:pt x="312" y="423"/>
                    <a:pt x="309" y="401"/>
                    <a:pt x="305" y="381"/>
                  </a:cubicBezTo>
                  <a:cubicBezTo>
                    <a:pt x="300" y="361"/>
                    <a:pt x="293" y="343"/>
                    <a:pt x="282" y="329"/>
                  </a:cubicBezTo>
                  <a:cubicBezTo>
                    <a:pt x="272" y="314"/>
                    <a:pt x="259" y="302"/>
                    <a:pt x="242" y="294"/>
                  </a:cubicBezTo>
                  <a:cubicBezTo>
                    <a:pt x="226" y="286"/>
                    <a:pt x="206" y="282"/>
                    <a:pt x="183" y="282"/>
                  </a:cubicBezTo>
                  <a:cubicBezTo>
                    <a:pt x="161" y="282"/>
                    <a:pt x="141" y="285"/>
                    <a:pt x="123" y="293"/>
                  </a:cubicBezTo>
                  <a:cubicBezTo>
                    <a:pt x="104" y="300"/>
                    <a:pt x="90" y="308"/>
                    <a:pt x="80" y="316"/>
                  </a:cubicBezTo>
                  <a:cubicBezTo>
                    <a:pt x="80" y="600"/>
                    <a:pt x="80" y="600"/>
                    <a:pt x="80" y="60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96" name="Freeform 43">
              <a:extLst>
                <a:ext uri="{FF2B5EF4-FFF2-40B4-BE49-F238E27FC236}">
                  <a16:creationId xmlns:a16="http://schemas.microsoft.com/office/drawing/2014/main" id="{1972CBA0-A7B0-4705-999E-2DB8CD063991}"/>
                </a:ext>
              </a:extLst>
            </p:cNvPr>
            <p:cNvSpPr>
              <a:spLocks/>
            </p:cNvSpPr>
            <p:nvPr/>
          </p:nvSpPr>
          <p:spPr bwMode="auto">
            <a:xfrm>
              <a:off x="3228976" y="6216650"/>
              <a:ext cx="222250" cy="282575"/>
            </a:xfrm>
            <a:custGeom>
              <a:avLst/>
              <a:gdLst>
                <a:gd name="T0" fmla="*/ 362 w 362"/>
                <a:gd name="T1" fmla="*/ 436 h 459"/>
                <a:gd name="T2" fmla="*/ 290 w 362"/>
                <a:gd name="T3" fmla="*/ 451 h 459"/>
                <a:gd name="T4" fmla="*/ 185 w 362"/>
                <a:gd name="T5" fmla="*/ 459 h 459"/>
                <a:gd name="T6" fmla="*/ 97 w 362"/>
                <a:gd name="T7" fmla="*/ 444 h 459"/>
                <a:gd name="T8" fmla="*/ 40 w 362"/>
                <a:gd name="T9" fmla="*/ 401 h 459"/>
                <a:gd name="T10" fmla="*/ 9 w 362"/>
                <a:gd name="T11" fmla="*/ 336 h 459"/>
                <a:gd name="T12" fmla="*/ 0 w 362"/>
                <a:gd name="T13" fmla="*/ 252 h 459"/>
                <a:gd name="T14" fmla="*/ 0 w 362"/>
                <a:gd name="T15" fmla="*/ 0 h 459"/>
                <a:gd name="T16" fmla="*/ 80 w 362"/>
                <a:gd name="T17" fmla="*/ 0 h 459"/>
                <a:gd name="T18" fmla="*/ 80 w 362"/>
                <a:gd name="T19" fmla="*/ 235 h 459"/>
                <a:gd name="T20" fmla="*/ 106 w 362"/>
                <a:gd name="T21" fmla="*/ 352 h 459"/>
                <a:gd name="T22" fmla="*/ 193 w 362"/>
                <a:gd name="T23" fmla="*/ 388 h 459"/>
                <a:gd name="T24" fmla="*/ 220 w 362"/>
                <a:gd name="T25" fmla="*/ 387 h 459"/>
                <a:gd name="T26" fmla="*/ 246 w 362"/>
                <a:gd name="T27" fmla="*/ 385 h 459"/>
                <a:gd name="T28" fmla="*/ 268 w 362"/>
                <a:gd name="T29" fmla="*/ 382 h 459"/>
                <a:gd name="T30" fmla="*/ 282 w 362"/>
                <a:gd name="T31" fmla="*/ 379 h 459"/>
                <a:gd name="T32" fmla="*/ 282 w 362"/>
                <a:gd name="T33" fmla="*/ 0 h 459"/>
                <a:gd name="T34" fmla="*/ 362 w 362"/>
                <a:gd name="T35" fmla="*/ 0 h 459"/>
                <a:gd name="T36" fmla="*/ 362 w 362"/>
                <a:gd name="T37" fmla="*/ 43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2" h="459">
                  <a:moveTo>
                    <a:pt x="362" y="436"/>
                  </a:moveTo>
                  <a:cubicBezTo>
                    <a:pt x="344" y="441"/>
                    <a:pt x="320" y="446"/>
                    <a:pt x="290" y="451"/>
                  </a:cubicBezTo>
                  <a:cubicBezTo>
                    <a:pt x="259" y="456"/>
                    <a:pt x="224" y="459"/>
                    <a:pt x="185" y="459"/>
                  </a:cubicBezTo>
                  <a:cubicBezTo>
                    <a:pt x="150" y="459"/>
                    <a:pt x="121" y="454"/>
                    <a:pt x="97" y="444"/>
                  </a:cubicBezTo>
                  <a:cubicBezTo>
                    <a:pt x="74" y="433"/>
                    <a:pt x="55" y="419"/>
                    <a:pt x="40" y="401"/>
                  </a:cubicBezTo>
                  <a:cubicBezTo>
                    <a:pt x="26" y="382"/>
                    <a:pt x="16" y="361"/>
                    <a:pt x="9" y="336"/>
                  </a:cubicBezTo>
                  <a:cubicBezTo>
                    <a:pt x="3" y="311"/>
                    <a:pt x="0" y="283"/>
                    <a:pt x="0" y="252"/>
                  </a:cubicBezTo>
                  <a:cubicBezTo>
                    <a:pt x="0" y="0"/>
                    <a:pt x="0" y="0"/>
                    <a:pt x="0" y="0"/>
                  </a:cubicBezTo>
                  <a:cubicBezTo>
                    <a:pt x="80" y="0"/>
                    <a:pt x="80" y="0"/>
                    <a:pt x="80" y="0"/>
                  </a:cubicBezTo>
                  <a:cubicBezTo>
                    <a:pt x="80" y="235"/>
                    <a:pt x="80" y="235"/>
                    <a:pt x="80" y="235"/>
                  </a:cubicBezTo>
                  <a:cubicBezTo>
                    <a:pt x="80" y="290"/>
                    <a:pt x="89" y="329"/>
                    <a:pt x="106" y="352"/>
                  </a:cubicBezTo>
                  <a:cubicBezTo>
                    <a:pt x="123" y="376"/>
                    <a:pt x="152" y="388"/>
                    <a:pt x="193" y="388"/>
                  </a:cubicBezTo>
                  <a:cubicBezTo>
                    <a:pt x="202" y="388"/>
                    <a:pt x="211" y="388"/>
                    <a:pt x="220" y="387"/>
                  </a:cubicBezTo>
                  <a:cubicBezTo>
                    <a:pt x="229" y="386"/>
                    <a:pt x="238" y="386"/>
                    <a:pt x="246" y="385"/>
                  </a:cubicBezTo>
                  <a:cubicBezTo>
                    <a:pt x="254" y="384"/>
                    <a:pt x="261" y="383"/>
                    <a:pt x="268" y="382"/>
                  </a:cubicBezTo>
                  <a:cubicBezTo>
                    <a:pt x="275" y="381"/>
                    <a:pt x="279" y="380"/>
                    <a:pt x="282" y="379"/>
                  </a:cubicBezTo>
                  <a:cubicBezTo>
                    <a:pt x="282" y="0"/>
                    <a:pt x="282" y="0"/>
                    <a:pt x="282" y="0"/>
                  </a:cubicBezTo>
                  <a:cubicBezTo>
                    <a:pt x="362" y="0"/>
                    <a:pt x="362" y="0"/>
                    <a:pt x="362" y="0"/>
                  </a:cubicBezTo>
                  <a:cubicBezTo>
                    <a:pt x="362" y="436"/>
                    <a:pt x="362" y="436"/>
                    <a:pt x="362" y="43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97" name="Freeform 44">
              <a:extLst>
                <a:ext uri="{FF2B5EF4-FFF2-40B4-BE49-F238E27FC236}">
                  <a16:creationId xmlns:a16="http://schemas.microsoft.com/office/drawing/2014/main" id="{7CCEE747-4E87-4677-A792-A62A40FEB5DE}"/>
                </a:ext>
              </a:extLst>
            </p:cNvPr>
            <p:cNvSpPr>
              <a:spLocks/>
            </p:cNvSpPr>
            <p:nvPr/>
          </p:nvSpPr>
          <p:spPr bwMode="auto">
            <a:xfrm>
              <a:off x="3521076" y="6211888"/>
              <a:ext cx="222250" cy="280987"/>
            </a:xfrm>
            <a:custGeom>
              <a:avLst/>
              <a:gdLst>
                <a:gd name="T0" fmla="*/ 0 w 363"/>
                <a:gd name="T1" fmla="*/ 22 h 458"/>
                <a:gd name="T2" fmla="*/ 74 w 363"/>
                <a:gd name="T3" fmla="*/ 7 h 458"/>
                <a:gd name="T4" fmla="*/ 179 w 363"/>
                <a:gd name="T5" fmla="*/ 0 h 458"/>
                <a:gd name="T6" fmla="*/ 268 w 363"/>
                <a:gd name="T7" fmla="*/ 15 h 458"/>
                <a:gd name="T8" fmla="*/ 324 w 363"/>
                <a:gd name="T9" fmla="*/ 57 h 458"/>
                <a:gd name="T10" fmla="*/ 354 w 363"/>
                <a:gd name="T11" fmla="*/ 122 h 458"/>
                <a:gd name="T12" fmla="*/ 363 w 363"/>
                <a:gd name="T13" fmla="*/ 206 h 458"/>
                <a:gd name="T14" fmla="*/ 363 w 363"/>
                <a:gd name="T15" fmla="*/ 458 h 458"/>
                <a:gd name="T16" fmla="*/ 282 w 363"/>
                <a:gd name="T17" fmla="*/ 458 h 458"/>
                <a:gd name="T18" fmla="*/ 282 w 363"/>
                <a:gd name="T19" fmla="*/ 223 h 458"/>
                <a:gd name="T20" fmla="*/ 277 w 363"/>
                <a:gd name="T21" fmla="*/ 152 h 458"/>
                <a:gd name="T22" fmla="*/ 258 w 363"/>
                <a:gd name="T23" fmla="*/ 105 h 458"/>
                <a:gd name="T24" fmla="*/ 224 w 363"/>
                <a:gd name="T25" fmla="*/ 79 h 458"/>
                <a:gd name="T26" fmla="*/ 170 w 363"/>
                <a:gd name="T27" fmla="*/ 70 h 458"/>
                <a:gd name="T28" fmla="*/ 143 w 363"/>
                <a:gd name="T29" fmla="*/ 71 h 458"/>
                <a:gd name="T30" fmla="*/ 117 w 363"/>
                <a:gd name="T31" fmla="*/ 74 h 458"/>
                <a:gd name="T32" fmla="*/ 95 w 363"/>
                <a:gd name="T33" fmla="*/ 77 h 458"/>
                <a:gd name="T34" fmla="*/ 80 w 363"/>
                <a:gd name="T35" fmla="*/ 79 h 458"/>
                <a:gd name="T36" fmla="*/ 80 w 363"/>
                <a:gd name="T37" fmla="*/ 458 h 458"/>
                <a:gd name="T38" fmla="*/ 0 w 363"/>
                <a:gd name="T39" fmla="*/ 458 h 458"/>
                <a:gd name="T40" fmla="*/ 0 w 363"/>
                <a:gd name="T41" fmla="*/ 22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3" h="458">
                  <a:moveTo>
                    <a:pt x="0" y="22"/>
                  </a:moveTo>
                  <a:cubicBezTo>
                    <a:pt x="19" y="18"/>
                    <a:pt x="43" y="13"/>
                    <a:pt x="74" y="7"/>
                  </a:cubicBezTo>
                  <a:cubicBezTo>
                    <a:pt x="104" y="2"/>
                    <a:pt x="139" y="0"/>
                    <a:pt x="179" y="0"/>
                  </a:cubicBezTo>
                  <a:cubicBezTo>
                    <a:pt x="215" y="0"/>
                    <a:pt x="244" y="5"/>
                    <a:pt x="268" y="15"/>
                  </a:cubicBezTo>
                  <a:cubicBezTo>
                    <a:pt x="291" y="25"/>
                    <a:pt x="310" y="39"/>
                    <a:pt x="324" y="57"/>
                  </a:cubicBezTo>
                  <a:cubicBezTo>
                    <a:pt x="338" y="75"/>
                    <a:pt x="348" y="97"/>
                    <a:pt x="354" y="122"/>
                  </a:cubicBezTo>
                  <a:cubicBezTo>
                    <a:pt x="360" y="148"/>
                    <a:pt x="363" y="176"/>
                    <a:pt x="363" y="206"/>
                  </a:cubicBezTo>
                  <a:cubicBezTo>
                    <a:pt x="363" y="458"/>
                    <a:pt x="363" y="458"/>
                    <a:pt x="363" y="458"/>
                  </a:cubicBezTo>
                  <a:cubicBezTo>
                    <a:pt x="282" y="458"/>
                    <a:pt x="282" y="458"/>
                    <a:pt x="282" y="458"/>
                  </a:cubicBezTo>
                  <a:cubicBezTo>
                    <a:pt x="282" y="223"/>
                    <a:pt x="282" y="223"/>
                    <a:pt x="282" y="223"/>
                  </a:cubicBezTo>
                  <a:cubicBezTo>
                    <a:pt x="282" y="196"/>
                    <a:pt x="281" y="172"/>
                    <a:pt x="277" y="152"/>
                  </a:cubicBezTo>
                  <a:cubicBezTo>
                    <a:pt x="273" y="133"/>
                    <a:pt x="267" y="117"/>
                    <a:pt x="258" y="105"/>
                  </a:cubicBezTo>
                  <a:cubicBezTo>
                    <a:pt x="250" y="93"/>
                    <a:pt x="238" y="84"/>
                    <a:pt x="224" y="79"/>
                  </a:cubicBezTo>
                  <a:cubicBezTo>
                    <a:pt x="209" y="73"/>
                    <a:pt x="191" y="70"/>
                    <a:pt x="170" y="70"/>
                  </a:cubicBezTo>
                  <a:cubicBezTo>
                    <a:pt x="162" y="70"/>
                    <a:pt x="153" y="71"/>
                    <a:pt x="143" y="71"/>
                  </a:cubicBezTo>
                  <a:cubicBezTo>
                    <a:pt x="134" y="72"/>
                    <a:pt x="125" y="73"/>
                    <a:pt x="117" y="74"/>
                  </a:cubicBezTo>
                  <a:cubicBezTo>
                    <a:pt x="109" y="74"/>
                    <a:pt x="101" y="75"/>
                    <a:pt x="95" y="77"/>
                  </a:cubicBezTo>
                  <a:cubicBezTo>
                    <a:pt x="88" y="78"/>
                    <a:pt x="83" y="79"/>
                    <a:pt x="80" y="79"/>
                  </a:cubicBezTo>
                  <a:cubicBezTo>
                    <a:pt x="80" y="458"/>
                    <a:pt x="80" y="458"/>
                    <a:pt x="80" y="458"/>
                  </a:cubicBezTo>
                  <a:cubicBezTo>
                    <a:pt x="0" y="458"/>
                    <a:pt x="0" y="458"/>
                    <a:pt x="0" y="458"/>
                  </a:cubicBezTo>
                  <a:cubicBezTo>
                    <a:pt x="0" y="22"/>
                    <a:pt x="0" y="22"/>
                    <a:pt x="0" y="2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98" name="Freeform 45">
              <a:extLst>
                <a:ext uri="{FF2B5EF4-FFF2-40B4-BE49-F238E27FC236}">
                  <a16:creationId xmlns:a16="http://schemas.microsoft.com/office/drawing/2014/main" id="{D171B625-B91A-4CF5-A66A-13B88C610E8B}"/>
                </a:ext>
              </a:extLst>
            </p:cNvPr>
            <p:cNvSpPr>
              <a:spLocks/>
            </p:cNvSpPr>
            <p:nvPr/>
          </p:nvSpPr>
          <p:spPr bwMode="auto">
            <a:xfrm>
              <a:off x="3806826" y="6132513"/>
              <a:ext cx="165100" cy="366712"/>
            </a:xfrm>
            <a:custGeom>
              <a:avLst/>
              <a:gdLst>
                <a:gd name="T0" fmla="*/ 80 w 269"/>
                <a:gd name="T1" fmla="*/ 139 h 598"/>
                <a:gd name="T2" fmla="*/ 250 w 269"/>
                <a:gd name="T3" fmla="*/ 139 h 598"/>
                <a:gd name="T4" fmla="*/ 250 w 269"/>
                <a:gd name="T5" fmla="*/ 207 h 598"/>
                <a:gd name="T6" fmla="*/ 80 w 269"/>
                <a:gd name="T7" fmla="*/ 207 h 598"/>
                <a:gd name="T8" fmla="*/ 80 w 269"/>
                <a:gd name="T9" fmla="*/ 414 h 598"/>
                <a:gd name="T10" fmla="*/ 86 w 269"/>
                <a:gd name="T11" fmla="*/ 469 h 598"/>
                <a:gd name="T12" fmla="*/ 101 w 269"/>
                <a:gd name="T13" fmla="*/ 504 h 598"/>
                <a:gd name="T14" fmla="*/ 127 w 269"/>
                <a:gd name="T15" fmla="*/ 522 h 598"/>
                <a:gd name="T16" fmla="*/ 163 w 269"/>
                <a:gd name="T17" fmla="*/ 527 h 598"/>
                <a:gd name="T18" fmla="*/ 222 w 269"/>
                <a:gd name="T19" fmla="*/ 519 h 598"/>
                <a:gd name="T20" fmla="*/ 251 w 269"/>
                <a:gd name="T21" fmla="*/ 507 h 598"/>
                <a:gd name="T22" fmla="*/ 269 w 269"/>
                <a:gd name="T23" fmla="*/ 573 h 598"/>
                <a:gd name="T24" fmla="*/ 226 w 269"/>
                <a:gd name="T25" fmla="*/ 588 h 598"/>
                <a:gd name="T26" fmla="*/ 156 w 269"/>
                <a:gd name="T27" fmla="*/ 598 h 598"/>
                <a:gd name="T28" fmla="*/ 81 w 269"/>
                <a:gd name="T29" fmla="*/ 586 h 598"/>
                <a:gd name="T30" fmla="*/ 33 w 269"/>
                <a:gd name="T31" fmla="*/ 551 h 598"/>
                <a:gd name="T32" fmla="*/ 7 w 269"/>
                <a:gd name="T33" fmla="*/ 494 h 598"/>
                <a:gd name="T34" fmla="*/ 0 w 269"/>
                <a:gd name="T35" fmla="*/ 415 h 598"/>
                <a:gd name="T36" fmla="*/ 0 w 269"/>
                <a:gd name="T37" fmla="*/ 14 h 598"/>
                <a:gd name="T38" fmla="*/ 80 w 269"/>
                <a:gd name="T39" fmla="*/ 0 h 598"/>
                <a:gd name="T40" fmla="*/ 80 w 269"/>
                <a:gd name="T41" fmla="*/ 139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9" h="598">
                  <a:moveTo>
                    <a:pt x="80" y="139"/>
                  </a:moveTo>
                  <a:cubicBezTo>
                    <a:pt x="250" y="139"/>
                    <a:pt x="250" y="139"/>
                    <a:pt x="250" y="139"/>
                  </a:cubicBezTo>
                  <a:cubicBezTo>
                    <a:pt x="250" y="207"/>
                    <a:pt x="250" y="207"/>
                    <a:pt x="250" y="207"/>
                  </a:cubicBezTo>
                  <a:cubicBezTo>
                    <a:pt x="80" y="207"/>
                    <a:pt x="80" y="207"/>
                    <a:pt x="80" y="207"/>
                  </a:cubicBezTo>
                  <a:cubicBezTo>
                    <a:pt x="80" y="414"/>
                    <a:pt x="80" y="414"/>
                    <a:pt x="80" y="414"/>
                  </a:cubicBezTo>
                  <a:cubicBezTo>
                    <a:pt x="80" y="436"/>
                    <a:pt x="82" y="455"/>
                    <a:pt x="86" y="469"/>
                  </a:cubicBezTo>
                  <a:cubicBezTo>
                    <a:pt x="89" y="484"/>
                    <a:pt x="94" y="496"/>
                    <a:pt x="101" y="504"/>
                  </a:cubicBezTo>
                  <a:cubicBezTo>
                    <a:pt x="108" y="512"/>
                    <a:pt x="117" y="518"/>
                    <a:pt x="127" y="522"/>
                  </a:cubicBezTo>
                  <a:cubicBezTo>
                    <a:pt x="137" y="525"/>
                    <a:pt x="149" y="527"/>
                    <a:pt x="163" y="527"/>
                  </a:cubicBezTo>
                  <a:cubicBezTo>
                    <a:pt x="188" y="527"/>
                    <a:pt x="208" y="524"/>
                    <a:pt x="222" y="519"/>
                  </a:cubicBezTo>
                  <a:cubicBezTo>
                    <a:pt x="236" y="513"/>
                    <a:pt x="246" y="509"/>
                    <a:pt x="251" y="507"/>
                  </a:cubicBezTo>
                  <a:cubicBezTo>
                    <a:pt x="269" y="573"/>
                    <a:pt x="269" y="573"/>
                    <a:pt x="269" y="573"/>
                  </a:cubicBezTo>
                  <a:cubicBezTo>
                    <a:pt x="260" y="577"/>
                    <a:pt x="246" y="582"/>
                    <a:pt x="226" y="588"/>
                  </a:cubicBezTo>
                  <a:cubicBezTo>
                    <a:pt x="205" y="594"/>
                    <a:pt x="182" y="598"/>
                    <a:pt x="156" y="598"/>
                  </a:cubicBezTo>
                  <a:cubicBezTo>
                    <a:pt x="126" y="598"/>
                    <a:pt x="101" y="594"/>
                    <a:pt x="81" y="586"/>
                  </a:cubicBezTo>
                  <a:cubicBezTo>
                    <a:pt x="61" y="578"/>
                    <a:pt x="45" y="567"/>
                    <a:pt x="33" y="551"/>
                  </a:cubicBezTo>
                  <a:cubicBezTo>
                    <a:pt x="21" y="535"/>
                    <a:pt x="12" y="516"/>
                    <a:pt x="7" y="494"/>
                  </a:cubicBezTo>
                  <a:cubicBezTo>
                    <a:pt x="2" y="471"/>
                    <a:pt x="0" y="445"/>
                    <a:pt x="0" y="415"/>
                  </a:cubicBezTo>
                  <a:cubicBezTo>
                    <a:pt x="0" y="14"/>
                    <a:pt x="0" y="14"/>
                    <a:pt x="0" y="14"/>
                  </a:cubicBezTo>
                  <a:cubicBezTo>
                    <a:pt x="80" y="0"/>
                    <a:pt x="80" y="0"/>
                    <a:pt x="80" y="0"/>
                  </a:cubicBezTo>
                  <a:cubicBezTo>
                    <a:pt x="80" y="139"/>
                    <a:pt x="80" y="139"/>
                    <a:pt x="80" y="13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99" name="Freeform 46">
              <a:extLst>
                <a:ext uri="{FF2B5EF4-FFF2-40B4-BE49-F238E27FC236}">
                  <a16:creationId xmlns:a16="http://schemas.microsoft.com/office/drawing/2014/main" id="{D6507FC7-91D3-4CA2-8B1C-55578622646E}"/>
                </a:ext>
              </a:extLst>
            </p:cNvPr>
            <p:cNvSpPr>
              <a:spLocks/>
            </p:cNvSpPr>
            <p:nvPr/>
          </p:nvSpPr>
          <p:spPr bwMode="auto">
            <a:xfrm>
              <a:off x="4005263" y="6216650"/>
              <a:ext cx="222250" cy="282575"/>
            </a:xfrm>
            <a:custGeom>
              <a:avLst/>
              <a:gdLst>
                <a:gd name="T0" fmla="*/ 362 w 362"/>
                <a:gd name="T1" fmla="*/ 436 h 459"/>
                <a:gd name="T2" fmla="*/ 289 w 362"/>
                <a:gd name="T3" fmla="*/ 451 h 459"/>
                <a:gd name="T4" fmla="*/ 184 w 362"/>
                <a:gd name="T5" fmla="*/ 459 h 459"/>
                <a:gd name="T6" fmla="*/ 97 w 362"/>
                <a:gd name="T7" fmla="*/ 444 h 459"/>
                <a:gd name="T8" fmla="*/ 40 w 362"/>
                <a:gd name="T9" fmla="*/ 401 h 459"/>
                <a:gd name="T10" fmla="*/ 9 w 362"/>
                <a:gd name="T11" fmla="*/ 336 h 459"/>
                <a:gd name="T12" fmla="*/ 0 w 362"/>
                <a:gd name="T13" fmla="*/ 252 h 459"/>
                <a:gd name="T14" fmla="*/ 0 w 362"/>
                <a:gd name="T15" fmla="*/ 0 h 459"/>
                <a:gd name="T16" fmla="*/ 80 w 362"/>
                <a:gd name="T17" fmla="*/ 0 h 459"/>
                <a:gd name="T18" fmla="*/ 80 w 362"/>
                <a:gd name="T19" fmla="*/ 235 h 459"/>
                <a:gd name="T20" fmla="*/ 106 w 362"/>
                <a:gd name="T21" fmla="*/ 352 h 459"/>
                <a:gd name="T22" fmla="*/ 193 w 362"/>
                <a:gd name="T23" fmla="*/ 388 h 459"/>
                <a:gd name="T24" fmla="*/ 220 w 362"/>
                <a:gd name="T25" fmla="*/ 387 h 459"/>
                <a:gd name="T26" fmla="*/ 246 w 362"/>
                <a:gd name="T27" fmla="*/ 385 h 459"/>
                <a:gd name="T28" fmla="*/ 268 w 362"/>
                <a:gd name="T29" fmla="*/ 382 h 459"/>
                <a:gd name="T30" fmla="*/ 282 w 362"/>
                <a:gd name="T31" fmla="*/ 379 h 459"/>
                <a:gd name="T32" fmla="*/ 282 w 362"/>
                <a:gd name="T33" fmla="*/ 0 h 459"/>
                <a:gd name="T34" fmla="*/ 362 w 362"/>
                <a:gd name="T35" fmla="*/ 0 h 459"/>
                <a:gd name="T36" fmla="*/ 362 w 362"/>
                <a:gd name="T37" fmla="*/ 43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2" h="459">
                  <a:moveTo>
                    <a:pt x="362" y="436"/>
                  </a:moveTo>
                  <a:cubicBezTo>
                    <a:pt x="344" y="441"/>
                    <a:pt x="320" y="446"/>
                    <a:pt x="289" y="451"/>
                  </a:cubicBezTo>
                  <a:cubicBezTo>
                    <a:pt x="259" y="456"/>
                    <a:pt x="224" y="459"/>
                    <a:pt x="184" y="459"/>
                  </a:cubicBezTo>
                  <a:cubicBezTo>
                    <a:pt x="150" y="459"/>
                    <a:pt x="121" y="454"/>
                    <a:pt x="97" y="444"/>
                  </a:cubicBezTo>
                  <a:cubicBezTo>
                    <a:pt x="74" y="433"/>
                    <a:pt x="55" y="419"/>
                    <a:pt x="40" y="401"/>
                  </a:cubicBezTo>
                  <a:cubicBezTo>
                    <a:pt x="26" y="382"/>
                    <a:pt x="15" y="361"/>
                    <a:pt x="9" y="336"/>
                  </a:cubicBezTo>
                  <a:cubicBezTo>
                    <a:pt x="3" y="311"/>
                    <a:pt x="0" y="283"/>
                    <a:pt x="0" y="252"/>
                  </a:cubicBezTo>
                  <a:cubicBezTo>
                    <a:pt x="0" y="0"/>
                    <a:pt x="0" y="0"/>
                    <a:pt x="0" y="0"/>
                  </a:cubicBezTo>
                  <a:cubicBezTo>
                    <a:pt x="80" y="0"/>
                    <a:pt x="80" y="0"/>
                    <a:pt x="80" y="0"/>
                  </a:cubicBezTo>
                  <a:cubicBezTo>
                    <a:pt x="80" y="235"/>
                    <a:pt x="80" y="235"/>
                    <a:pt x="80" y="235"/>
                  </a:cubicBezTo>
                  <a:cubicBezTo>
                    <a:pt x="80" y="290"/>
                    <a:pt x="89" y="329"/>
                    <a:pt x="106" y="352"/>
                  </a:cubicBezTo>
                  <a:cubicBezTo>
                    <a:pt x="123" y="376"/>
                    <a:pt x="152" y="388"/>
                    <a:pt x="193" y="388"/>
                  </a:cubicBezTo>
                  <a:cubicBezTo>
                    <a:pt x="202" y="388"/>
                    <a:pt x="211" y="388"/>
                    <a:pt x="220" y="387"/>
                  </a:cubicBezTo>
                  <a:cubicBezTo>
                    <a:pt x="229" y="386"/>
                    <a:pt x="238" y="386"/>
                    <a:pt x="246" y="385"/>
                  </a:cubicBezTo>
                  <a:cubicBezTo>
                    <a:pt x="254" y="384"/>
                    <a:pt x="261" y="383"/>
                    <a:pt x="268" y="382"/>
                  </a:cubicBezTo>
                  <a:cubicBezTo>
                    <a:pt x="274" y="381"/>
                    <a:pt x="279" y="380"/>
                    <a:pt x="282" y="379"/>
                  </a:cubicBezTo>
                  <a:cubicBezTo>
                    <a:pt x="282" y="0"/>
                    <a:pt x="282" y="0"/>
                    <a:pt x="282" y="0"/>
                  </a:cubicBezTo>
                  <a:cubicBezTo>
                    <a:pt x="362" y="0"/>
                    <a:pt x="362" y="0"/>
                    <a:pt x="362" y="0"/>
                  </a:cubicBezTo>
                  <a:cubicBezTo>
                    <a:pt x="362" y="436"/>
                    <a:pt x="362" y="436"/>
                    <a:pt x="362" y="43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grpSp>
      <p:grpSp>
        <p:nvGrpSpPr>
          <p:cNvPr id="100" name="Group 99">
            <a:extLst>
              <a:ext uri="{FF2B5EF4-FFF2-40B4-BE49-F238E27FC236}">
                <a16:creationId xmlns:a16="http://schemas.microsoft.com/office/drawing/2014/main" id="{546199D7-5723-4368-8D21-935A217F7FA2}"/>
              </a:ext>
            </a:extLst>
          </p:cNvPr>
          <p:cNvGrpSpPr/>
          <p:nvPr/>
        </p:nvGrpSpPr>
        <p:grpSpPr>
          <a:xfrm>
            <a:off x="9203135" y="3027743"/>
            <a:ext cx="1888852" cy="549854"/>
            <a:chOff x="2880656" y="5494318"/>
            <a:chExt cx="1888852" cy="549854"/>
          </a:xfrm>
          <a:solidFill>
            <a:srgbClr val="0078D7"/>
          </a:solidFill>
        </p:grpSpPr>
        <p:grpSp>
          <p:nvGrpSpPr>
            <p:cNvPr id="101" name="Group 100">
              <a:extLst>
                <a:ext uri="{FF2B5EF4-FFF2-40B4-BE49-F238E27FC236}">
                  <a16:creationId xmlns:a16="http://schemas.microsoft.com/office/drawing/2014/main" id="{028C4A60-B6A3-48D6-B73D-9AADB18843A5}"/>
                </a:ext>
              </a:extLst>
            </p:cNvPr>
            <p:cNvGrpSpPr/>
            <p:nvPr/>
          </p:nvGrpSpPr>
          <p:grpSpPr>
            <a:xfrm>
              <a:off x="2880656" y="5494318"/>
              <a:ext cx="621131" cy="549854"/>
              <a:chOff x="2664209" y="5494318"/>
              <a:chExt cx="621131" cy="549854"/>
            </a:xfrm>
            <a:grpFill/>
          </p:grpSpPr>
          <p:sp>
            <p:nvSpPr>
              <p:cNvPr id="111" name="Freeform 50">
                <a:extLst>
                  <a:ext uri="{FF2B5EF4-FFF2-40B4-BE49-F238E27FC236}">
                    <a16:creationId xmlns:a16="http://schemas.microsoft.com/office/drawing/2014/main" id="{8B19FF5A-78B5-4D70-BF61-61938AF385FE}"/>
                  </a:ext>
                </a:extLst>
              </p:cNvPr>
              <p:cNvSpPr>
                <a:spLocks/>
              </p:cNvSpPr>
              <p:nvPr/>
            </p:nvSpPr>
            <p:spPr bwMode="auto">
              <a:xfrm>
                <a:off x="2982413" y="5939802"/>
                <a:ext cx="56004" cy="30547"/>
              </a:xfrm>
              <a:custGeom>
                <a:avLst/>
                <a:gdLst>
                  <a:gd name="T0" fmla="*/ 10 w 11"/>
                  <a:gd name="T1" fmla="*/ 0 h 6"/>
                  <a:gd name="T2" fmla="*/ 11 w 11"/>
                  <a:gd name="T3" fmla="*/ 3 h 6"/>
                  <a:gd name="T4" fmla="*/ 9 w 11"/>
                  <a:gd name="T5" fmla="*/ 5 h 6"/>
                  <a:gd name="T6" fmla="*/ 4 w 11"/>
                  <a:gd name="T7" fmla="*/ 5 h 6"/>
                  <a:gd name="T8" fmla="*/ 2 w 11"/>
                  <a:gd name="T9" fmla="*/ 4 h 6"/>
                  <a:gd name="T10" fmla="*/ 0 w 11"/>
                  <a:gd name="T11" fmla="*/ 2 h 6"/>
                  <a:gd name="T12" fmla="*/ 5 w 11"/>
                  <a:gd name="T13" fmla="*/ 1 h 6"/>
                  <a:gd name="T14" fmla="*/ 8 w 11"/>
                  <a:gd name="T15" fmla="*/ 2 h 6"/>
                  <a:gd name="T16" fmla="*/ 10 w 11"/>
                  <a:gd name="T17" fmla="*/ 0 h 6"/>
                  <a:gd name="T18" fmla="*/ 10 w 11"/>
                  <a:gd name="T19" fmla="*/ 0 h 6"/>
                  <a:gd name="T20" fmla="*/ 10 w 11"/>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6">
                    <a:moveTo>
                      <a:pt x="10" y="0"/>
                    </a:moveTo>
                    <a:cubicBezTo>
                      <a:pt x="11" y="1"/>
                      <a:pt x="11" y="2"/>
                      <a:pt x="11" y="3"/>
                    </a:cubicBezTo>
                    <a:cubicBezTo>
                      <a:pt x="10" y="4"/>
                      <a:pt x="10" y="4"/>
                      <a:pt x="9" y="5"/>
                    </a:cubicBezTo>
                    <a:cubicBezTo>
                      <a:pt x="8" y="5"/>
                      <a:pt x="7" y="6"/>
                      <a:pt x="4" y="5"/>
                    </a:cubicBezTo>
                    <a:cubicBezTo>
                      <a:pt x="3" y="4"/>
                      <a:pt x="3" y="4"/>
                      <a:pt x="2" y="4"/>
                    </a:cubicBezTo>
                    <a:cubicBezTo>
                      <a:pt x="0" y="4"/>
                      <a:pt x="0" y="3"/>
                      <a:pt x="0" y="2"/>
                    </a:cubicBezTo>
                    <a:cubicBezTo>
                      <a:pt x="1" y="1"/>
                      <a:pt x="2" y="0"/>
                      <a:pt x="5" y="1"/>
                    </a:cubicBezTo>
                    <a:cubicBezTo>
                      <a:pt x="6" y="2"/>
                      <a:pt x="7" y="3"/>
                      <a:pt x="8" y="2"/>
                    </a:cubicBezTo>
                    <a:cubicBezTo>
                      <a:pt x="9" y="2"/>
                      <a:pt x="9" y="1"/>
                      <a:pt x="10" y="0"/>
                    </a:cubicBezTo>
                    <a:cubicBezTo>
                      <a:pt x="10" y="0"/>
                      <a:pt x="10" y="0"/>
                      <a:pt x="10" y="0"/>
                    </a:cubicBezTo>
                    <a:cubicBezTo>
                      <a:pt x="10" y="0"/>
                      <a:pt x="10" y="0"/>
                      <a:pt x="10"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2" name="Freeform 51">
                <a:extLst>
                  <a:ext uri="{FF2B5EF4-FFF2-40B4-BE49-F238E27FC236}">
                    <a16:creationId xmlns:a16="http://schemas.microsoft.com/office/drawing/2014/main" id="{4F5B229E-378F-4C72-8115-03EFFF4FC8E2}"/>
                  </a:ext>
                </a:extLst>
              </p:cNvPr>
              <p:cNvSpPr>
                <a:spLocks/>
              </p:cNvSpPr>
              <p:nvPr/>
            </p:nvSpPr>
            <p:spPr bwMode="auto">
              <a:xfrm>
                <a:off x="2982413" y="5573233"/>
                <a:ext cx="76369" cy="30547"/>
              </a:xfrm>
              <a:custGeom>
                <a:avLst/>
                <a:gdLst>
                  <a:gd name="T0" fmla="*/ 8 w 15"/>
                  <a:gd name="T1" fmla="*/ 0 h 6"/>
                  <a:gd name="T2" fmla="*/ 7 w 15"/>
                  <a:gd name="T3" fmla="*/ 0 h 6"/>
                  <a:gd name="T4" fmla="*/ 5 w 15"/>
                  <a:gd name="T5" fmla="*/ 0 h 6"/>
                  <a:gd name="T6" fmla="*/ 0 w 15"/>
                  <a:gd name="T7" fmla="*/ 1 h 6"/>
                  <a:gd name="T8" fmla="*/ 0 w 15"/>
                  <a:gd name="T9" fmla="*/ 1 h 6"/>
                  <a:gd name="T10" fmla="*/ 0 w 15"/>
                  <a:gd name="T11" fmla="*/ 1 h 6"/>
                  <a:gd name="T12" fmla="*/ 0 w 15"/>
                  <a:gd name="T13" fmla="*/ 1 h 6"/>
                  <a:gd name="T14" fmla="*/ 1 w 15"/>
                  <a:gd name="T15" fmla="*/ 1 h 6"/>
                  <a:gd name="T16" fmla="*/ 8 w 15"/>
                  <a:gd name="T17" fmla="*/ 3 h 6"/>
                  <a:gd name="T18" fmla="*/ 4 w 15"/>
                  <a:gd name="T19" fmla="*/ 5 h 6"/>
                  <a:gd name="T20" fmla="*/ 4 w 15"/>
                  <a:gd name="T21" fmla="*/ 5 h 6"/>
                  <a:gd name="T22" fmla="*/ 4 w 15"/>
                  <a:gd name="T23" fmla="*/ 5 h 6"/>
                  <a:gd name="T24" fmla="*/ 8 w 15"/>
                  <a:gd name="T25" fmla="*/ 6 h 6"/>
                  <a:gd name="T26" fmla="*/ 14 w 15"/>
                  <a:gd name="T27" fmla="*/ 3 h 6"/>
                  <a:gd name="T28" fmla="*/ 8 w 15"/>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6">
                    <a:moveTo>
                      <a:pt x="8" y="0"/>
                    </a:moveTo>
                    <a:cubicBezTo>
                      <a:pt x="7" y="0"/>
                      <a:pt x="7" y="0"/>
                      <a:pt x="7" y="0"/>
                    </a:cubicBezTo>
                    <a:cubicBezTo>
                      <a:pt x="7" y="0"/>
                      <a:pt x="6" y="0"/>
                      <a:pt x="5" y="0"/>
                    </a:cubicBezTo>
                    <a:cubicBezTo>
                      <a:pt x="3" y="0"/>
                      <a:pt x="1" y="0"/>
                      <a:pt x="0" y="1"/>
                    </a:cubicBezTo>
                    <a:cubicBezTo>
                      <a:pt x="0" y="1"/>
                      <a:pt x="0" y="1"/>
                      <a:pt x="0" y="1"/>
                    </a:cubicBezTo>
                    <a:cubicBezTo>
                      <a:pt x="0" y="1"/>
                      <a:pt x="0" y="1"/>
                      <a:pt x="0" y="1"/>
                    </a:cubicBezTo>
                    <a:cubicBezTo>
                      <a:pt x="0" y="1"/>
                      <a:pt x="0" y="1"/>
                      <a:pt x="0" y="1"/>
                    </a:cubicBezTo>
                    <a:cubicBezTo>
                      <a:pt x="0" y="1"/>
                      <a:pt x="1" y="1"/>
                      <a:pt x="1" y="1"/>
                    </a:cubicBezTo>
                    <a:cubicBezTo>
                      <a:pt x="5" y="1"/>
                      <a:pt x="8" y="2"/>
                      <a:pt x="8" y="3"/>
                    </a:cubicBezTo>
                    <a:cubicBezTo>
                      <a:pt x="8" y="4"/>
                      <a:pt x="7" y="4"/>
                      <a:pt x="4" y="5"/>
                    </a:cubicBezTo>
                    <a:cubicBezTo>
                      <a:pt x="4" y="5"/>
                      <a:pt x="4" y="5"/>
                      <a:pt x="4" y="5"/>
                    </a:cubicBezTo>
                    <a:cubicBezTo>
                      <a:pt x="4" y="5"/>
                      <a:pt x="4" y="5"/>
                      <a:pt x="4" y="5"/>
                    </a:cubicBezTo>
                    <a:cubicBezTo>
                      <a:pt x="5" y="6"/>
                      <a:pt x="6" y="6"/>
                      <a:pt x="8" y="6"/>
                    </a:cubicBezTo>
                    <a:cubicBezTo>
                      <a:pt x="11" y="6"/>
                      <a:pt x="14" y="5"/>
                      <a:pt x="14" y="3"/>
                    </a:cubicBezTo>
                    <a:cubicBezTo>
                      <a:pt x="15" y="1"/>
                      <a:pt x="12" y="0"/>
                      <a:pt x="8"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3" name="Freeform 52">
                <a:extLst>
                  <a:ext uri="{FF2B5EF4-FFF2-40B4-BE49-F238E27FC236}">
                    <a16:creationId xmlns:a16="http://schemas.microsoft.com/office/drawing/2014/main" id="{4268DA26-E730-42D8-9E8D-E25180932994}"/>
                  </a:ext>
                </a:extLst>
              </p:cNvPr>
              <p:cNvSpPr>
                <a:spLocks/>
              </p:cNvSpPr>
              <p:nvPr/>
            </p:nvSpPr>
            <p:spPr bwMode="auto">
              <a:xfrm>
                <a:off x="2865314" y="5603780"/>
                <a:ext cx="96734" cy="58550"/>
              </a:xfrm>
              <a:custGeom>
                <a:avLst/>
                <a:gdLst>
                  <a:gd name="T0" fmla="*/ 14 w 19"/>
                  <a:gd name="T1" fmla="*/ 3 h 11"/>
                  <a:gd name="T2" fmla="*/ 8 w 19"/>
                  <a:gd name="T3" fmla="*/ 3 h 11"/>
                  <a:gd name="T4" fmla="*/ 4 w 19"/>
                  <a:gd name="T5" fmla="*/ 1 h 11"/>
                  <a:gd name="T6" fmla="*/ 1 w 19"/>
                  <a:gd name="T7" fmla="*/ 2 h 11"/>
                  <a:gd name="T8" fmla="*/ 3 w 19"/>
                  <a:gd name="T9" fmla="*/ 7 h 11"/>
                  <a:gd name="T10" fmla="*/ 7 w 19"/>
                  <a:gd name="T11" fmla="*/ 9 h 11"/>
                  <a:gd name="T12" fmla="*/ 16 w 19"/>
                  <a:gd name="T13" fmla="*/ 7 h 11"/>
                  <a:gd name="T14" fmla="*/ 19 w 19"/>
                  <a:gd name="T15" fmla="*/ 5 h 11"/>
                  <a:gd name="T16" fmla="*/ 14 w 19"/>
                  <a:gd name="T17"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1">
                    <a:moveTo>
                      <a:pt x="14" y="3"/>
                    </a:moveTo>
                    <a:cubicBezTo>
                      <a:pt x="11" y="3"/>
                      <a:pt x="9" y="3"/>
                      <a:pt x="8" y="3"/>
                    </a:cubicBezTo>
                    <a:cubicBezTo>
                      <a:pt x="6" y="3"/>
                      <a:pt x="4" y="2"/>
                      <a:pt x="4" y="1"/>
                    </a:cubicBezTo>
                    <a:cubicBezTo>
                      <a:pt x="3" y="1"/>
                      <a:pt x="2" y="0"/>
                      <a:pt x="1" y="2"/>
                    </a:cubicBezTo>
                    <a:cubicBezTo>
                      <a:pt x="0" y="4"/>
                      <a:pt x="1" y="7"/>
                      <a:pt x="3" y="7"/>
                    </a:cubicBezTo>
                    <a:cubicBezTo>
                      <a:pt x="3" y="7"/>
                      <a:pt x="5" y="11"/>
                      <a:pt x="7" y="9"/>
                    </a:cubicBezTo>
                    <a:cubicBezTo>
                      <a:pt x="8" y="8"/>
                      <a:pt x="9" y="7"/>
                      <a:pt x="16" y="7"/>
                    </a:cubicBezTo>
                    <a:cubicBezTo>
                      <a:pt x="19" y="6"/>
                      <a:pt x="19" y="6"/>
                      <a:pt x="19" y="5"/>
                    </a:cubicBezTo>
                    <a:cubicBezTo>
                      <a:pt x="19" y="4"/>
                      <a:pt x="17" y="3"/>
                      <a:pt x="14" y="3"/>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4" name="Freeform 53">
                <a:extLst>
                  <a:ext uri="{FF2B5EF4-FFF2-40B4-BE49-F238E27FC236}">
                    <a16:creationId xmlns:a16="http://schemas.microsoft.com/office/drawing/2014/main" id="{9D05CD25-AD77-432A-B8E8-A3D65AA14B58}"/>
                  </a:ext>
                </a:extLst>
              </p:cNvPr>
              <p:cNvSpPr>
                <a:spLocks noEditPoints="1"/>
              </p:cNvSpPr>
              <p:nvPr/>
            </p:nvSpPr>
            <p:spPr bwMode="auto">
              <a:xfrm>
                <a:off x="2664209" y="5494318"/>
                <a:ext cx="605858" cy="549854"/>
              </a:xfrm>
              <a:custGeom>
                <a:avLst/>
                <a:gdLst>
                  <a:gd name="T0" fmla="*/ 59 w 118"/>
                  <a:gd name="T1" fmla="*/ 0 h 105"/>
                  <a:gd name="T2" fmla="*/ 0 w 118"/>
                  <a:gd name="T3" fmla="*/ 59 h 105"/>
                  <a:gd name="T4" fmla="*/ 3 w 118"/>
                  <a:gd name="T5" fmla="*/ 78 h 105"/>
                  <a:gd name="T6" fmla="*/ 8 w 118"/>
                  <a:gd name="T7" fmla="*/ 78 h 105"/>
                  <a:gd name="T8" fmla="*/ 17 w 118"/>
                  <a:gd name="T9" fmla="*/ 75 h 105"/>
                  <a:gd name="T10" fmla="*/ 20 w 118"/>
                  <a:gd name="T11" fmla="*/ 75 h 105"/>
                  <a:gd name="T12" fmla="*/ 24 w 118"/>
                  <a:gd name="T13" fmla="*/ 77 h 105"/>
                  <a:gd name="T14" fmla="*/ 27 w 118"/>
                  <a:gd name="T15" fmla="*/ 80 h 105"/>
                  <a:gd name="T16" fmla="*/ 30 w 118"/>
                  <a:gd name="T17" fmla="*/ 81 h 105"/>
                  <a:gd name="T18" fmla="*/ 33 w 118"/>
                  <a:gd name="T19" fmla="*/ 80 h 105"/>
                  <a:gd name="T20" fmla="*/ 31 w 118"/>
                  <a:gd name="T21" fmla="*/ 78 h 105"/>
                  <a:gd name="T22" fmla="*/ 29 w 118"/>
                  <a:gd name="T23" fmla="*/ 74 h 105"/>
                  <a:gd name="T24" fmla="*/ 26 w 118"/>
                  <a:gd name="T25" fmla="*/ 69 h 105"/>
                  <a:gd name="T26" fmla="*/ 32 w 118"/>
                  <a:gd name="T27" fmla="*/ 64 h 105"/>
                  <a:gd name="T28" fmla="*/ 38 w 118"/>
                  <a:gd name="T29" fmla="*/ 70 h 105"/>
                  <a:gd name="T30" fmla="*/ 41 w 118"/>
                  <a:gd name="T31" fmla="*/ 71 h 105"/>
                  <a:gd name="T32" fmla="*/ 44 w 118"/>
                  <a:gd name="T33" fmla="*/ 71 h 105"/>
                  <a:gd name="T34" fmla="*/ 55 w 118"/>
                  <a:gd name="T35" fmla="*/ 79 h 105"/>
                  <a:gd name="T36" fmla="*/ 67 w 118"/>
                  <a:gd name="T37" fmla="*/ 78 h 105"/>
                  <a:gd name="T38" fmla="*/ 71 w 118"/>
                  <a:gd name="T39" fmla="*/ 79 h 105"/>
                  <a:gd name="T40" fmla="*/ 76 w 118"/>
                  <a:gd name="T41" fmla="*/ 78 h 105"/>
                  <a:gd name="T42" fmla="*/ 81 w 118"/>
                  <a:gd name="T43" fmla="*/ 79 h 105"/>
                  <a:gd name="T44" fmla="*/ 86 w 118"/>
                  <a:gd name="T45" fmla="*/ 78 h 105"/>
                  <a:gd name="T46" fmla="*/ 85 w 118"/>
                  <a:gd name="T47" fmla="*/ 83 h 105"/>
                  <a:gd name="T48" fmla="*/ 84 w 118"/>
                  <a:gd name="T49" fmla="*/ 88 h 105"/>
                  <a:gd name="T50" fmla="*/ 82 w 118"/>
                  <a:gd name="T51" fmla="*/ 93 h 105"/>
                  <a:gd name="T52" fmla="*/ 78 w 118"/>
                  <a:gd name="T53" fmla="*/ 98 h 105"/>
                  <a:gd name="T54" fmla="*/ 74 w 118"/>
                  <a:gd name="T55" fmla="*/ 104 h 105"/>
                  <a:gd name="T56" fmla="*/ 80 w 118"/>
                  <a:gd name="T57" fmla="*/ 102 h 105"/>
                  <a:gd name="T58" fmla="*/ 88 w 118"/>
                  <a:gd name="T59" fmla="*/ 96 h 105"/>
                  <a:gd name="T60" fmla="*/ 91 w 118"/>
                  <a:gd name="T61" fmla="*/ 93 h 105"/>
                  <a:gd name="T62" fmla="*/ 91 w 118"/>
                  <a:gd name="T63" fmla="*/ 93 h 105"/>
                  <a:gd name="T64" fmla="*/ 91 w 118"/>
                  <a:gd name="T65" fmla="*/ 92 h 105"/>
                  <a:gd name="T66" fmla="*/ 102 w 118"/>
                  <a:gd name="T67" fmla="*/ 90 h 105"/>
                  <a:gd name="T68" fmla="*/ 109 w 118"/>
                  <a:gd name="T69" fmla="*/ 91 h 105"/>
                  <a:gd name="T70" fmla="*/ 118 w 118"/>
                  <a:gd name="T71" fmla="*/ 59 h 105"/>
                  <a:gd name="T72" fmla="*/ 59 w 118"/>
                  <a:gd name="T73" fmla="*/ 0 h 105"/>
                  <a:gd name="T74" fmla="*/ 107 w 118"/>
                  <a:gd name="T75" fmla="*/ 57 h 105"/>
                  <a:gd name="T76" fmla="*/ 54 w 118"/>
                  <a:gd name="T77" fmla="*/ 71 h 105"/>
                  <a:gd name="T78" fmla="*/ 13 w 118"/>
                  <a:gd name="T79" fmla="*/ 41 h 105"/>
                  <a:gd name="T80" fmla="*/ 32 w 118"/>
                  <a:gd name="T81" fmla="*/ 35 h 105"/>
                  <a:gd name="T82" fmla="*/ 37 w 118"/>
                  <a:gd name="T83" fmla="*/ 46 h 105"/>
                  <a:gd name="T84" fmla="*/ 63 w 118"/>
                  <a:gd name="T85" fmla="*/ 55 h 105"/>
                  <a:gd name="T86" fmla="*/ 65 w 118"/>
                  <a:gd name="T87" fmla="*/ 53 h 105"/>
                  <a:gd name="T88" fmla="*/ 62 w 118"/>
                  <a:gd name="T89" fmla="*/ 47 h 105"/>
                  <a:gd name="T90" fmla="*/ 52 w 118"/>
                  <a:gd name="T91" fmla="*/ 42 h 105"/>
                  <a:gd name="T92" fmla="*/ 34 w 118"/>
                  <a:gd name="T93" fmla="*/ 30 h 105"/>
                  <a:gd name="T94" fmla="*/ 36 w 118"/>
                  <a:gd name="T95" fmla="*/ 19 h 105"/>
                  <a:gd name="T96" fmla="*/ 51 w 118"/>
                  <a:gd name="T97" fmla="*/ 13 h 105"/>
                  <a:gd name="T98" fmla="*/ 64 w 118"/>
                  <a:gd name="T99" fmla="*/ 12 h 105"/>
                  <a:gd name="T100" fmla="*/ 79 w 118"/>
                  <a:gd name="T101" fmla="*/ 15 h 105"/>
                  <a:gd name="T102" fmla="*/ 89 w 118"/>
                  <a:gd name="T103" fmla="*/ 37 h 105"/>
                  <a:gd name="T104" fmla="*/ 89 w 118"/>
                  <a:gd name="T105" fmla="*/ 45 h 105"/>
                  <a:gd name="T106" fmla="*/ 87 w 118"/>
                  <a:gd name="T107" fmla="*/ 49 h 105"/>
                  <a:gd name="T108" fmla="*/ 88 w 118"/>
                  <a:gd name="T109" fmla="*/ 49 h 105"/>
                  <a:gd name="T110" fmla="*/ 93 w 118"/>
                  <a:gd name="T111" fmla="*/ 43 h 105"/>
                  <a:gd name="T112" fmla="*/ 107 w 118"/>
                  <a:gd name="T113" fmla="*/ 57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8" h="105">
                    <a:moveTo>
                      <a:pt x="59" y="0"/>
                    </a:moveTo>
                    <a:cubicBezTo>
                      <a:pt x="27" y="0"/>
                      <a:pt x="0" y="26"/>
                      <a:pt x="0" y="59"/>
                    </a:cubicBezTo>
                    <a:cubicBezTo>
                      <a:pt x="0" y="65"/>
                      <a:pt x="1" y="72"/>
                      <a:pt x="3" y="78"/>
                    </a:cubicBezTo>
                    <a:cubicBezTo>
                      <a:pt x="8" y="78"/>
                      <a:pt x="8" y="78"/>
                      <a:pt x="8" y="78"/>
                    </a:cubicBezTo>
                    <a:cubicBezTo>
                      <a:pt x="11" y="78"/>
                      <a:pt x="15" y="77"/>
                      <a:pt x="17" y="75"/>
                    </a:cubicBezTo>
                    <a:cubicBezTo>
                      <a:pt x="18" y="75"/>
                      <a:pt x="19" y="75"/>
                      <a:pt x="20" y="75"/>
                    </a:cubicBezTo>
                    <a:cubicBezTo>
                      <a:pt x="22" y="75"/>
                      <a:pt x="23" y="75"/>
                      <a:pt x="24" y="77"/>
                    </a:cubicBezTo>
                    <a:cubicBezTo>
                      <a:pt x="25" y="78"/>
                      <a:pt x="26" y="79"/>
                      <a:pt x="27" y="80"/>
                    </a:cubicBezTo>
                    <a:cubicBezTo>
                      <a:pt x="28" y="80"/>
                      <a:pt x="29" y="81"/>
                      <a:pt x="30" y="81"/>
                    </a:cubicBezTo>
                    <a:cubicBezTo>
                      <a:pt x="31" y="81"/>
                      <a:pt x="32" y="81"/>
                      <a:pt x="33" y="80"/>
                    </a:cubicBezTo>
                    <a:cubicBezTo>
                      <a:pt x="33" y="79"/>
                      <a:pt x="33" y="78"/>
                      <a:pt x="31" y="78"/>
                    </a:cubicBezTo>
                    <a:cubicBezTo>
                      <a:pt x="30" y="77"/>
                      <a:pt x="29" y="76"/>
                      <a:pt x="29" y="74"/>
                    </a:cubicBezTo>
                    <a:cubicBezTo>
                      <a:pt x="28" y="73"/>
                      <a:pt x="26" y="72"/>
                      <a:pt x="26" y="69"/>
                    </a:cubicBezTo>
                    <a:cubicBezTo>
                      <a:pt x="25" y="67"/>
                      <a:pt x="27" y="63"/>
                      <a:pt x="32" y="64"/>
                    </a:cubicBezTo>
                    <a:cubicBezTo>
                      <a:pt x="35" y="65"/>
                      <a:pt x="37" y="69"/>
                      <a:pt x="38" y="70"/>
                    </a:cubicBezTo>
                    <a:cubicBezTo>
                      <a:pt x="38" y="71"/>
                      <a:pt x="39" y="72"/>
                      <a:pt x="41" y="71"/>
                    </a:cubicBezTo>
                    <a:cubicBezTo>
                      <a:pt x="42" y="70"/>
                      <a:pt x="43" y="70"/>
                      <a:pt x="44" y="71"/>
                    </a:cubicBezTo>
                    <a:cubicBezTo>
                      <a:pt x="44" y="72"/>
                      <a:pt x="50" y="79"/>
                      <a:pt x="55" y="79"/>
                    </a:cubicBezTo>
                    <a:cubicBezTo>
                      <a:pt x="61" y="79"/>
                      <a:pt x="64" y="78"/>
                      <a:pt x="67" y="78"/>
                    </a:cubicBezTo>
                    <a:cubicBezTo>
                      <a:pt x="69" y="78"/>
                      <a:pt x="70" y="79"/>
                      <a:pt x="71" y="79"/>
                    </a:cubicBezTo>
                    <a:cubicBezTo>
                      <a:pt x="72" y="79"/>
                      <a:pt x="74" y="78"/>
                      <a:pt x="76" y="78"/>
                    </a:cubicBezTo>
                    <a:cubicBezTo>
                      <a:pt x="77" y="78"/>
                      <a:pt x="79" y="79"/>
                      <a:pt x="81" y="79"/>
                    </a:cubicBezTo>
                    <a:cubicBezTo>
                      <a:pt x="83" y="79"/>
                      <a:pt x="86" y="77"/>
                      <a:pt x="86" y="78"/>
                    </a:cubicBezTo>
                    <a:cubicBezTo>
                      <a:pt x="86" y="79"/>
                      <a:pt x="85" y="82"/>
                      <a:pt x="85" y="83"/>
                    </a:cubicBezTo>
                    <a:cubicBezTo>
                      <a:pt x="85" y="84"/>
                      <a:pt x="85" y="87"/>
                      <a:pt x="84" y="88"/>
                    </a:cubicBezTo>
                    <a:cubicBezTo>
                      <a:pt x="84" y="90"/>
                      <a:pt x="82" y="92"/>
                      <a:pt x="82" y="93"/>
                    </a:cubicBezTo>
                    <a:cubicBezTo>
                      <a:pt x="80" y="95"/>
                      <a:pt x="79" y="96"/>
                      <a:pt x="78" y="98"/>
                    </a:cubicBezTo>
                    <a:cubicBezTo>
                      <a:pt x="77" y="101"/>
                      <a:pt x="74" y="103"/>
                      <a:pt x="74" y="104"/>
                    </a:cubicBezTo>
                    <a:cubicBezTo>
                      <a:pt x="73" y="105"/>
                      <a:pt x="78" y="104"/>
                      <a:pt x="80" y="102"/>
                    </a:cubicBezTo>
                    <a:cubicBezTo>
                      <a:pt x="81" y="101"/>
                      <a:pt x="84" y="96"/>
                      <a:pt x="88" y="96"/>
                    </a:cubicBezTo>
                    <a:cubicBezTo>
                      <a:pt x="90" y="95"/>
                      <a:pt x="91" y="94"/>
                      <a:pt x="91" y="93"/>
                    </a:cubicBezTo>
                    <a:cubicBezTo>
                      <a:pt x="91" y="93"/>
                      <a:pt x="91" y="93"/>
                      <a:pt x="91" y="93"/>
                    </a:cubicBezTo>
                    <a:cubicBezTo>
                      <a:pt x="91" y="92"/>
                      <a:pt x="91" y="92"/>
                      <a:pt x="91" y="92"/>
                    </a:cubicBezTo>
                    <a:cubicBezTo>
                      <a:pt x="94" y="91"/>
                      <a:pt x="98" y="90"/>
                      <a:pt x="102" y="90"/>
                    </a:cubicBezTo>
                    <a:cubicBezTo>
                      <a:pt x="104" y="90"/>
                      <a:pt x="107" y="90"/>
                      <a:pt x="109" y="91"/>
                    </a:cubicBezTo>
                    <a:cubicBezTo>
                      <a:pt x="115" y="82"/>
                      <a:pt x="118" y="70"/>
                      <a:pt x="118" y="59"/>
                    </a:cubicBezTo>
                    <a:cubicBezTo>
                      <a:pt x="118" y="26"/>
                      <a:pt x="92" y="0"/>
                      <a:pt x="59" y="0"/>
                    </a:cubicBezTo>
                    <a:close/>
                    <a:moveTo>
                      <a:pt x="107" y="57"/>
                    </a:moveTo>
                    <a:cubicBezTo>
                      <a:pt x="105" y="73"/>
                      <a:pt x="79" y="78"/>
                      <a:pt x="54" y="71"/>
                    </a:cubicBezTo>
                    <a:cubicBezTo>
                      <a:pt x="31" y="64"/>
                      <a:pt x="10" y="49"/>
                      <a:pt x="13" y="41"/>
                    </a:cubicBezTo>
                    <a:cubicBezTo>
                      <a:pt x="14" y="36"/>
                      <a:pt x="22" y="34"/>
                      <a:pt x="32" y="35"/>
                    </a:cubicBezTo>
                    <a:cubicBezTo>
                      <a:pt x="30" y="38"/>
                      <a:pt x="30" y="42"/>
                      <a:pt x="37" y="46"/>
                    </a:cubicBezTo>
                    <a:cubicBezTo>
                      <a:pt x="46" y="51"/>
                      <a:pt x="60" y="55"/>
                      <a:pt x="63" y="55"/>
                    </a:cubicBezTo>
                    <a:cubicBezTo>
                      <a:pt x="65" y="55"/>
                      <a:pt x="66" y="54"/>
                      <a:pt x="65" y="53"/>
                    </a:cubicBezTo>
                    <a:cubicBezTo>
                      <a:pt x="63" y="52"/>
                      <a:pt x="62" y="50"/>
                      <a:pt x="62" y="47"/>
                    </a:cubicBezTo>
                    <a:cubicBezTo>
                      <a:pt x="61" y="46"/>
                      <a:pt x="61" y="44"/>
                      <a:pt x="52" y="42"/>
                    </a:cubicBezTo>
                    <a:cubicBezTo>
                      <a:pt x="33" y="38"/>
                      <a:pt x="33" y="33"/>
                      <a:pt x="34" y="30"/>
                    </a:cubicBezTo>
                    <a:cubicBezTo>
                      <a:pt x="34" y="30"/>
                      <a:pt x="36" y="22"/>
                      <a:pt x="36" y="19"/>
                    </a:cubicBezTo>
                    <a:cubicBezTo>
                      <a:pt x="37" y="17"/>
                      <a:pt x="39" y="11"/>
                      <a:pt x="51" y="13"/>
                    </a:cubicBezTo>
                    <a:cubicBezTo>
                      <a:pt x="58" y="15"/>
                      <a:pt x="62" y="13"/>
                      <a:pt x="64" y="12"/>
                    </a:cubicBezTo>
                    <a:cubicBezTo>
                      <a:pt x="70" y="11"/>
                      <a:pt x="75" y="12"/>
                      <a:pt x="79" y="15"/>
                    </a:cubicBezTo>
                    <a:cubicBezTo>
                      <a:pt x="82" y="19"/>
                      <a:pt x="87" y="29"/>
                      <a:pt x="89" y="37"/>
                    </a:cubicBezTo>
                    <a:cubicBezTo>
                      <a:pt x="90" y="41"/>
                      <a:pt x="90" y="43"/>
                      <a:pt x="89" y="45"/>
                    </a:cubicBezTo>
                    <a:cubicBezTo>
                      <a:pt x="89" y="46"/>
                      <a:pt x="89" y="46"/>
                      <a:pt x="87" y="49"/>
                    </a:cubicBezTo>
                    <a:cubicBezTo>
                      <a:pt x="87" y="49"/>
                      <a:pt x="87" y="50"/>
                      <a:pt x="88" y="49"/>
                    </a:cubicBezTo>
                    <a:cubicBezTo>
                      <a:pt x="91" y="47"/>
                      <a:pt x="92" y="45"/>
                      <a:pt x="93" y="43"/>
                    </a:cubicBezTo>
                    <a:cubicBezTo>
                      <a:pt x="103" y="45"/>
                      <a:pt x="109" y="50"/>
                      <a:pt x="107" y="5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5" name="Freeform 54">
                <a:extLst>
                  <a:ext uri="{FF2B5EF4-FFF2-40B4-BE49-F238E27FC236}">
                    <a16:creationId xmlns:a16="http://schemas.microsoft.com/office/drawing/2014/main" id="{41471176-92CB-4A2B-9792-718EFBEF0BBE}"/>
                  </a:ext>
                </a:extLst>
              </p:cNvPr>
              <p:cNvSpPr>
                <a:spLocks noEditPoints="1"/>
              </p:cNvSpPr>
              <p:nvPr/>
            </p:nvSpPr>
            <p:spPr bwMode="auto">
              <a:xfrm>
                <a:off x="3264976" y="5944894"/>
                <a:ext cx="15274" cy="15274"/>
              </a:xfrm>
              <a:custGeom>
                <a:avLst/>
                <a:gdLst>
                  <a:gd name="T0" fmla="*/ 1 w 3"/>
                  <a:gd name="T1" fmla="*/ 2 h 3"/>
                  <a:gd name="T2" fmla="*/ 1 w 3"/>
                  <a:gd name="T3" fmla="*/ 2 h 3"/>
                  <a:gd name="T4" fmla="*/ 2 w 3"/>
                  <a:gd name="T5" fmla="*/ 3 h 3"/>
                  <a:gd name="T6" fmla="*/ 3 w 3"/>
                  <a:gd name="T7" fmla="*/ 3 h 3"/>
                  <a:gd name="T8" fmla="*/ 2 w 3"/>
                  <a:gd name="T9" fmla="*/ 2 h 3"/>
                  <a:gd name="T10" fmla="*/ 3 w 3"/>
                  <a:gd name="T11" fmla="*/ 1 h 3"/>
                  <a:gd name="T12" fmla="*/ 2 w 3"/>
                  <a:gd name="T13" fmla="*/ 0 h 3"/>
                  <a:gd name="T14" fmla="*/ 0 w 3"/>
                  <a:gd name="T15" fmla="*/ 0 h 3"/>
                  <a:gd name="T16" fmla="*/ 0 w 3"/>
                  <a:gd name="T17" fmla="*/ 3 h 3"/>
                  <a:gd name="T18" fmla="*/ 1 w 3"/>
                  <a:gd name="T19" fmla="*/ 3 h 3"/>
                  <a:gd name="T20" fmla="*/ 1 w 3"/>
                  <a:gd name="T21" fmla="*/ 2 h 3"/>
                  <a:gd name="T22" fmla="*/ 1 w 3"/>
                  <a:gd name="T23" fmla="*/ 1 h 3"/>
                  <a:gd name="T24" fmla="*/ 1 w 3"/>
                  <a:gd name="T25" fmla="*/ 0 h 3"/>
                  <a:gd name="T26" fmla="*/ 1 w 3"/>
                  <a:gd name="T27" fmla="*/ 0 h 3"/>
                  <a:gd name="T28" fmla="*/ 2 w 3"/>
                  <a:gd name="T29" fmla="*/ 1 h 3"/>
                  <a:gd name="T30" fmla="*/ 1 w 3"/>
                  <a:gd name="T31"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3">
                    <a:moveTo>
                      <a:pt x="1" y="2"/>
                    </a:moveTo>
                    <a:cubicBezTo>
                      <a:pt x="1" y="2"/>
                      <a:pt x="1" y="2"/>
                      <a:pt x="1" y="2"/>
                    </a:cubicBezTo>
                    <a:cubicBezTo>
                      <a:pt x="2" y="3"/>
                      <a:pt x="2" y="3"/>
                      <a:pt x="2" y="3"/>
                    </a:cubicBezTo>
                    <a:cubicBezTo>
                      <a:pt x="3" y="3"/>
                      <a:pt x="3" y="3"/>
                      <a:pt x="3" y="3"/>
                    </a:cubicBezTo>
                    <a:cubicBezTo>
                      <a:pt x="2" y="2"/>
                      <a:pt x="2" y="2"/>
                      <a:pt x="2" y="2"/>
                    </a:cubicBezTo>
                    <a:cubicBezTo>
                      <a:pt x="2" y="2"/>
                      <a:pt x="3" y="1"/>
                      <a:pt x="3" y="1"/>
                    </a:cubicBezTo>
                    <a:cubicBezTo>
                      <a:pt x="3" y="0"/>
                      <a:pt x="2" y="0"/>
                      <a:pt x="2" y="0"/>
                    </a:cubicBezTo>
                    <a:cubicBezTo>
                      <a:pt x="0" y="0"/>
                      <a:pt x="0" y="0"/>
                      <a:pt x="0" y="0"/>
                    </a:cubicBezTo>
                    <a:cubicBezTo>
                      <a:pt x="0" y="3"/>
                      <a:pt x="0" y="3"/>
                      <a:pt x="0" y="3"/>
                    </a:cubicBezTo>
                    <a:cubicBezTo>
                      <a:pt x="1" y="3"/>
                      <a:pt x="1" y="3"/>
                      <a:pt x="1" y="3"/>
                    </a:cubicBezTo>
                    <a:lnTo>
                      <a:pt x="1" y="2"/>
                    </a:lnTo>
                    <a:close/>
                    <a:moveTo>
                      <a:pt x="1" y="1"/>
                    </a:moveTo>
                    <a:cubicBezTo>
                      <a:pt x="1" y="0"/>
                      <a:pt x="1" y="0"/>
                      <a:pt x="1" y="0"/>
                    </a:cubicBezTo>
                    <a:cubicBezTo>
                      <a:pt x="1" y="0"/>
                      <a:pt x="1" y="0"/>
                      <a:pt x="1" y="0"/>
                    </a:cubicBezTo>
                    <a:cubicBezTo>
                      <a:pt x="2" y="0"/>
                      <a:pt x="2" y="0"/>
                      <a:pt x="2" y="1"/>
                    </a:cubicBezTo>
                    <a:cubicBezTo>
                      <a:pt x="2" y="1"/>
                      <a:pt x="2" y="1"/>
                      <a:pt x="1" y="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6" name="Freeform 55">
                <a:extLst>
                  <a:ext uri="{FF2B5EF4-FFF2-40B4-BE49-F238E27FC236}">
                    <a16:creationId xmlns:a16="http://schemas.microsoft.com/office/drawing/2014/main" id="{FD9C2024-2111-4571-8309-9E50091D412C}"/>
                  </a:ext>
                </a:extLst>
              </p:cNvPr>
              <p:cNvSpPr>
                <a:spLocks noEditPoints="1"/>
              </p:cNvSpPr>
              <p:nvPr/>
            </p:nvSpPr>
            <p:spPr bwMode="auto">
              <a:xfrm>
                <a:off x="3254793" y="5934711"/>
                <a:ext cx="30547" cy="30547"/>
              </a:xfrm>
              <a:custGeom>
                <a:avLst/>
                <a:gdLst>
                  <a:gd name="T0" fmla="*/ 6 w 6"/>
                  <a:gd name="T1" fmla="*/ 3 h 6"/>
                  <a:gd name="T2" fmla="*/ 3 w 6"/>
                  <a:gd name="T3" fmla="*/ 6 h 6"/>
                  <a:gd name="T4" fmla="*/ 0 w 6"/>
                  <a:gd name="T5" fmla="*/ 3 h 6"/>
                  <a:gd name="T6" fmla="*/ 3 w 6"/>
                  <a:gd name="T7" fmla="*/ 0 h 6"/>
                  <a:gd name="T8" fmla="*/ 6 w 6"/>
                  <a:gd name="T9" fmla="*/ 3 h 6"/>
                  <a:gd name="T10" fmla="*/ 3 w 6"/>
                  <a:gd name="T11" fmla="*/ 1 h 6"/>
                  <a:gd name="T12" fmla="*/ 1 w 6"/>
                  <a:gd name="T13" fmla="*/ 3 h 6"/>
                  <a:gd name="T14" fmla="*/ 3 w 6"/>
                  <a:gd name="T15" fmla="*/ 6 h 6"/>
                  <a:gd name="T16" fmla="*/ 6 w 6"/>
                  <a:gd name="T17" fmla="*/ 3 h 6"/>
                  <a:gd name="T18" fmla="*/ 3 w 6"/>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6">
                    <a:moveTo>
                      <a:pt x="6" y="3"/>
                    </a:moveTo>
                    <a:cubicBezTo>
                      <a:pt x="6" y="5"/>
                      <a:pt x="5" y="6"/>
                      <a:pt x="3" y="6"/>
                    </a:cubicBezTo>
                    <a:cubicBezTo>
                      <a:pt x="2" y="6"/>
                      <a:pt x="0" y="5"/>
                      <a:pt x="0" y="3"/>
                    </a:cubicBezTo>
                    <a:cubicBezTo>
                      <a:pt x="0" y="2"/>
                      <a:pt x="2" y="0"/>
                      <a:pt x="3" y="0"/>
                    </a:cubicBezTo>
                    <a:cubicBezTo>
                      <a:pt x="5" y="0"/>
                      <a:pt x="6" y="2"/>
                      <a:pt x="6" y="3"/>
                    </a:cubicBezTo>
                    <a:moveTo>
                      <a:pt x="3" y="1"/>
                    </a:moveTo>
                    <a:cubicBezTo>
                      <a:pt x="2" y="1"/>
                      <a:pt x="1" y="2"/>
                      <a:pt x="1" y="3"/>
                    </a:cubicBezTo>
                    <a:cubicBezTo>
                      <a:pt x="1" y="5"/>
                      <a:pt x="2" y="6"/>
                      <a:pt x="3" y="6"/>
                    </a:cubicBezTo>
                    <a:cubicBezTo>
                      <a:pt x="5" y="6"/>
                      <a:pt x="6" y="5"/>
                      <a:pt x="6" y="3"/>
                    </a:cubicBezTo>
                    <a:cubicBezTo>
                      <a:pt x="6" y="2"/>
                      <a:pt x="5" y="1"/>
                      <a:pt x="3" y="1"/>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grpSp>
        <p:grpSp>
          <p:nvGrpSpPr>
            <p:cNvPr id="102" name="Group 101">
              <a:extLst>
                <a:ext uri="{FF2B5EF4-FFF2-40B4-BE49-F238E27FC236}">
                  <a16:creationId xmlns:a16="http://schemas.microsoft.com/office/drawing/2014/main" id="{CB406AF9-CBD3-45FD-BFF0-AD52B625439E}"/>
                </a:ext>
              </a:extLst>
            </p:cNvPr>
            <p:cNvGrpSpPr/>
            <p:nvPr/>
          </p:nvGrpSpPr>
          <p:grpSpPr>
            <a:xfrm>
              <a:off x="3639252" y="5657238"/>
              <a:ext cx="1130256" cy="313112"/>
              <a:chOff x="3422805" y="5657238"/>
              <a:chExt cx="1130256" cy="313112"/>
            </a:xfrm>
            <a:grpFill/>
          </p:grpSpPr>
          <p:sp>
            <p:nvSpPr>
              <p:cNvPr id="103" name="Freeform 56">
                <a:extLst>
                  <a:ext uri="{FF2B5EF4-FFF2-40B4-BE49-F238E27FC236}">
                    <a16:creationId xmlns:a16="http://schemas.microsoft.com/office/drawing/2014/main" id="{7C537FAE-B635-4DD0-A8C5-8E5278077B0D}"/>
                  </a:ext>
                </a:extLst>
              </p:cNvPr>
              <p:cNvSpPr>
                <a:spLocks/>
              </p:cNvSpPr>
              <p:nvPr/>
            </p:nvSpPr>
            <p:spPr bwMode="auto">
              <a:xfrm>
                <a:off x="3422805" y="5746335"/>
                <a:ext cx="119645" cy="218923"/>
              </a:xfrm>
              <a:custGeom>
                <a:avLst/>
                <a:gdLst>
                  <a:gd name="T0" fmla="*/ 1 w 23"/>
                  <a:gd name="T1" fmla="*/ 14 h 42"/>
                  <a:gd name="T2" fmla="*/ 0 w 23"/>
                  <a:gd name="T3" fmla="*/ 1 h 42"/>
                  <a:gd name="T4" fmla="*/ 9 w 23"/>
                  <a:gd name="T5" fmla="*/ 1 h 42"/>
                  <a:gd name="T6" fmla="*/ 9 w 23"/>
                  <a:gd name="T7" fmla="*/ 9 h 42"/>
                  <a:gd name="T8" fmla="*/ 10 w 23"/>
                  <a:gd name="T9" fmla="*/ 9 h 42"/>
                  <a:gd name="T10" fmla="*/ 21 w 23"/>
                  <a:gd name="T11" fmla="*/ 0 h 42"/>
                  <a:gd name="T12" fmla="*/ 23 w 23"/>
                  <a:gd name="T13" fmla="*/ 1 h 42"/>
                  <a:gd name="T14" fmla="*/ 23 w 23"/>
                  <a:gd name="T15" fmla="*/ 10 h 42"/>
                  <a:gd name="T16" fmla="*/ 20 w 23"/>
                  <a:gd name="T17" fmla="*/ 10 h 42"/>
                  <a:gd name="T18" fmla="*/ 11 w 23"/>
                  <a:gd name="T19" fmla="*/ 18 h 42"/>
                  <a:gd name="T20" fmla="*/ 11 w 23"/>
                  <a:gd name="T21" fmla="*/ 21 h 42"/>
                  <a:gd name="T22" fmla="*/ 11 w 23"/>
                  <a:gd name="T23" fmla="*/ 42 h 42"/>
                  <a:gd name="T24" fmla="*/ 0 w 23"/>
                  <a:gd name="T25" fmla="*/ 42 h 42"/>
                  <a:gd name="T26" fmla="*/ 1 w 23"/>
                  <a:gd name="T27" fmla="*/ 1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42">
                    <a:moveTo>
                      <a:pt x="1" y="14"/>
                    </a:moveTo>
                    <a:cubicBezTo>
                      <a:pt x="1" y="9"/>
                      <a:pt x="0" y="5"/>
                      <a:pt x="0" y="1"/>
                    </a:cubicBezTo>
                    <a:cubicBezTo>
                      <a:pt x="9" y="1"/>
                      <a:pt x="9" y="1"/>
                      <a:pt x="9" y="1"/>
                    </a:cubicBezTo>
                    <a:cubicBezTo>
                      <a:pt x="9" y="9"/>
                      <a:pt x="9" y="9"/>
                      <a:pt x="9" y="9"/>
                    </a:cubicBezTo>
                    <a:cubicBezTo>
                      <a:pt x="10" y="9"/>
                      <a:pt x="10" y="9"/>
                      <a:pt x="10" y="9"/>
                    </a:cubicBezTo>
                    <a:cubicBezTo>
                      <a:pt x="12" y="3"/>
                      <a:pt x="16" y="0"/>
                      <a:pt x="21" y="0"/>
                    </a:cubicBezTo>
                    <a:cubicBezTo>
                      <a:pt x="22" y="0"/>
                      <a:pt x="22" y="1"/>
                      <a:pt x="23" y="1"/>
                    </a:cubicBezTo>
                    <a:cubicBezTo>
                      <a:pt x="23" y="10"/>
                      <a:pt x="23" y="10"/>
                      <a:pt x="23" y="10"/>
                    </a:cubicBezTo>
                    <a:cubicBezTo>
                      <a:pt x="22" y="10"/>
                      <a:pt x="21" y="10"/>
                      <a:pt x="20" y="10"/>
                    </a:cubicBezTo>
                    <a:cubicBezTo>
                      <a:pt x="15" y="10"/>
                      <a:pt x="12" y="13"/>
                      <a:pt x="11" y="18"/>
                    </a:cubicBezTo>
                    <a:cubicBezTo>
                      <a:pt x="11" y="19"/>
                      <a:pt x="11" y="20"/>
                      <a:pt x="11" y="21"/>
                    </a:cubicBezTo>
                    <a:cubicBezTo>
                      <a:pt x="11" y="42"/>
                      <a:pt x="11" y="42"/>
                      <a:pt x="11" y="42"/>
                    </a:cubicBezTo>
                    <a:cubicBezTo>
                      <a:pt x="0" y="42"/>
                      <a:pt x="0" y="42"/>
                      <a:pt x="0" y="42"/>
                    </a:cubicBezTo>
                    <a:lnTo>
                      <a:pt x="1"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04" name="Freeform 57">
                <a:extLst>
                  <a:ext uri="{FF2B5EF4-FFF2-40B4-BE49-F238E27FC236}">
                    <a16:creationId xmlns:a16="http://schemas.microsoft.com/office/drawing/2014/main" id="{49DDB2C7-2A56-459A-A755-6E2B6E0C1383}"/>
                  </a:ext>
                </a:extLst>
              </p:cNvPr>
              <p:cNvSpPr>
                <a:spLocks noEditPoints="1"/>
              </p:cNvSpPr>
              <p:nvPr/>
            </p:nvSpPr>
            <p:spPr bwMode="auto">
              <a:xfrm>
                <a:off x="3557723" y="5746335"/>
                <a:ext cx="188376" cy="224015"/>
              </a:xfrm>
              <a:custGeom>
                <a:avLst/>
                <a:gdLst>
                  <a:gd name="T0" fmla="*/ 10 w 37"/>
                  <a:gd name="T1" fmla="*/ 24 h 43"/>
                  <a:gd name="T2" fmla="*/ 22 w 37"/>
                  <a:gd name="T3" fmla="*/ 35 h 43"/>
                  <a:gd name="T4" fmla="*/ 33 w 37"/>
                  <a:gd name="T5" fmla="*/ 33 h 43"/>
                  <a:gd name="T6" fmla="*/ 35 w 37"/>
                  <a:gd name="T7" fmla="*/ 40 h 43"/>
                  <a:gd name="T8" fmla="*/ 21 w 37"/>
                  <a:gd name="T9" fmla="*/ 43 h 43"/>
                  <a:gd name="T10" fmla="*/ 0 w 37"/>
                  <a:gd name="T11" fmla="*/ 22 h 43"/>
                  <a:gd name="T12" fmla="*/ 20 w 37"/>
                  <a:gd name="T13" fmla="*/ 0 h 43"/>
                  <a:gd name="T14" fmla="*/ 37 w 37"/>
                  <a:gd name="T15" fmla="*/ 20 h 43"/>
                  <a:gd name="T16" fmla="*/ 37 w 37"/>
                  <a:gd name="T17" fmla="*/ 24 h 43"/>
                  <a:gd name="T18" fmla="*/ 10 w 37"/>
                  <a:gd name="T19" fmla="*/ 24 h 43"/>
                  <a:gd name="T20" fmla="*/ 27 w 37"/>
                  <a:gd name="T21" fmla="*/ 17 h 43"/>
                  <a:gd name="T22" fmla="*/ 19 w 37"/>
                  <a:gd name="T23" fmla="*/ 7 h 43"/>
                  <a:gd name="T24" fmla="*/ 10 w 37"/>
                  <a:gd name="T25" fmla="*/ 17 h 43"/>
                  <a:gd name="T26" fmla="*/ 27 w 37"/>
                  <a:gd name="T27" fmla="*/ 17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43">
                    <a:moveTo>
                      <a:pt x="10" y="24"/>
                    </a:moveTo>
                    <a:cubicBezTo>
                      <a:pt x="10" y="32"/>
                      <a:pt x="16" y="35"/>
                      <a:pt x="22" y="35"/>
                    </a:cubicBezTo>
                    <a:cubicBezTo>
                      <a:pt x="27" y="35"/>
                      <a:pt x="30" y="34"/>
                      <a:pt x="33" y="33"/>
                    </a:cubicBezTo>
                    <a:cubicBezTo>
                      <a:pt x="35" y="40"/>
                      <a:pt x="35" y="40"/>
                      <a:pt x="35" y="40"/>
                    </a:cubicBezTo>
                    <a:cubicBezTo>
                      <a:pt x="31" y="42"/>
                      <a:pt x="27" y="43"/>
                      <a:pt x="21" y="43"/>
                    </a:cubicBezTo>
                    <a:cubicBezTo>
                      <a:pt x="7" y="43"/>
                      <a:pt x="0" y="35"/>
                      <a:pt x="0" y="22"/>
                    </a:cubicBezTo>
                    <a:cubicBezTo>
                      <a:pt x="0" y="11"/>
                      <a:pt x="7" y="0"/>
                      <a:pt x="20" y="0"/>
                    </a:cubicBezTo>
                    <a:cubicBezTo>
                      <a:pt x="33" y="0"/>
                      <a:pt x="37" y="11"/>
                      <a:pt x="37" y="20"/>
                    </a:cubicBezTo>
                    <a:cubicBezTo>
                      <a:pt x="37" y="22"/>
                      <a:pt x="37" y="23"/>
                      <a:pt x="37" y="24"/>
                    </a:cubicBezTo>
                    <a:lnTo>
                      <a:pt x="10" y="24"/>
                    </a:lnTo>
                    <a:close/>
                    <a:moveTo>
                      <a:pt x="27" y="17"/>
                    </a:moveTo>
                    <a:cubicBezTo>
                      <a:pt x="27" y="13"/>
                      <a:pt x="26" y="7"/>
                      <a:pt x="19" y="7"/>
                    </a:cubicBezTo>
                    <a:cubicBezTo>
                      <a:pt x="13" y="7"/>
                      <a:pt x="10" y="13"/>
                      <a:pt x="10" y="17"/>
                    </a:cubicBezTo>
                    <a:lnTo>
                      <a:pt x="27"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05" name="Freeform 58">
                <a:extLst>
                  <a:ext uri="{FF2B5EF4-FFF2-40B4-BE49-F238E27FC236}">
                    <a16:creationId xmlns:a16="http://schemas.microsoft.com/office/drawing/2014/main" id="{9E9F390B-56A4-4CBB-AC77-87C6A391D8C4}"/>
                  </a:ext>
                </a:extLst>
              </p:cNvPr>
              <p:cNvSpPr>
                <a:spLocks noEditPoints="1"/>
              </p:cNvSpPr>
              <p:nvPr/>
            </p:nvSpPr>
            <p:spPr bwMode="auto">
              <a:xfrm>
                <a:off x="3766464" y="5657238"/>
                <a:ext cx="206196" cy="313112"/>
              </a:xfrm>
              <a:custGeom>
                <a:avLst/>
                <a:gdLst>
                  <a:gd name="T0" fmla="*/ 30 w 40"/>
                  <a:gd name="T1" fmla="*/ 41 h 60"/>
                  <a:gd name="T2" fmla="*/ 30 w 40"/>
                  <a:gd name="T3" fmla="*/ 44 h 60"/>
                  <a:gd name="T4" fmla="*/ 21 w 40"/>
                  <a:gd name="T5" fmla="*/ 52 h 60"/>
                  <a:gd name="T6" fmla="*/ 11 w 40"/>
                  <a:gd name="T7" fmla="*/ 39 h 60"/>
                  <a:gd name="T8" fmla="*/ 21 w 40"/>
                  <a:gd name="T9" fmla="*/ 25 h 60"/>
                  <a:gd name="T10" fmla="*/ 30 w 40"/>
                  <a:gd name="T11" fmla="*/ 33 h 60"/>
                  <a:gd name="T12" fmla="*/ 30 w 40"/>
                  <a:gd name="T13" fmla="*/ 35 h 60"/>
                  <a:gd name="T14" fmla="*/ 30 w 40"/>
                  <a:gd name="T15" fmla="*/ 41 h 60"/>
                  <a:gd name="T16" fmla="*/ 40 w 40"/>
                  <a:gd name="T17" fmla="*/ 3 h 60"/>
                  <a:gd name="T18" fmla="*/ 30 w 40"/>
                  <a:gd name="T19" fmla="*/ 0 h 60"/>
                  <a:gd name="T20" fmla="*/ 30 w 40"/>
                  <a:gd name="T21" fmla="*/ 23 h 60"/>
                  <a:gd name="T22" fmla="*/ 30 w 40"/>
                  <a:gd name="T23" fmla="*/ 23 h 60"/>
                  <a:gd name="T24" fmla="*/ 18 w 40"/>
                  <a:gd name="T25" fmla="*/ 17 h 60"/>
                  <a:gd name="T26" fmla="*/ 0 w 40"/>
                  <a:gd name="T27" fmla="*/ 39 h 60"/>
                  <a:gd name="T28" fmla="*/ 18 w 40"/>
                  <a:gd name="T29" fmla="*/ 60 h 60"/>
                  <a:gd name="T30" fmla="*/ 31 w 40"/>
                  <a:gd name="T31" fmla="*/ 52 h 60"/>
                  <a:gd name="T32" fmla="*/ 31 w 40"/>
                  <a:gd name="T33" fmla="*/ 52 h 60"/>
                  <a:gd name="T34" fmla="*/ 31 w 40"/>
                  <a:gd name="T35" fmla="*/ 59 h 60"/>
                  <a:gd name="T36" fmla="*/ 40 w 40"/>
                  <a:gd name="T37" fmla="*/ 59 h 60"/>
                  <a:gd name="T38" fmla="*/ 40 w 40"/>
                  <a:gd name="T39" fmla="*/ 47 h 60"/>
                  <a:gd name="T40" fmla="*/ 40 w 40"/>
                  <a:gd name="T41" fmla="*/ 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60">
                    <a:moveTo>
                      <a:pt x="30" y="41"/>
                    </a:moveTo>
                    <a:cubicBezTo>
                      <a:pt x="30" y="42"/>
                      <a:pt x="30" y="43"/>
                      <a:pt x="30" y="44"/>
                    </a:cubicBezTo>
                    <a:cubicBezTo>
                      <a:pt x="29" y="49"/>
                      <a:pt x="25" y="52"/>
                      <a:pt x="21" y="52"/>
                    </a:cubicBezTo>
                    <a:cubicBezTo>
                      <a:pt x="14" y="52"/>
                      <a:pt x="11" y="46"/>
                      <a:pt x="11" y="39"/>
                    </a:cubicBezTo>
                    <a:cubicBezTo>
                      <a:pt x="11" y="31"/>
                      <a:pt x="14" y="25"/>
                      <a:pt x="21" y="25"/>
                    </a:cubicBezTo>
                    <a:cubicBezTo>
                      <a:pt x="25" y="25"/>
                      <a:pt x="29" y="29"/>
                      <a:pt x="30" y="33"/>
                    </a:cubicBezTo>
                    <a:cubicBezTo>
                      <a:pt x="30" y="33"/>
                      <a:pt x="30" y="34"/>
                      <a:pt x="30" y="35"/>
                    </a:cubicBezTo>
                    <a:lnTo>
                      <a:pt x="30" y="41"/>
                    </a:lnTo>
                    <a:close/>
                    <a:moveTo>
                      <a:pt x="40" y="3"/>
                    </a:moveTo>
                    <a:cubicBezTo>
                      <a:pt x="30" y="0"/>
                      <a:pt x="30" y="0"/>
                      <a:pt x="30" y="0"/>
                    </a:cubicBezTo>
                    <a:cubicBezTo>
                      <a:pt x="30" y="23"/>
                      <a:pt x="30" y="23"/>
                      <a:pt x="30" y="23"/>
                    </a:cubicBezTo>
                    <a:cubicBezTo>
                      <a:pt x="30" y="23"/>
                      <a:pt x="30" y="23"/>
                      <a:pt x="30" y="23"/>
                    </a:cubicBezTo>
                    <a:cubicBezTo>
                      <a:pt x="28" y="20"/>
                      <a:pt x="24" y="17"/>
                      <a:pt x="18" y="17"/>
                    </a:cubicBezTo>
                    <a:cubicBezTo>
                      <a:pt x="9" y="17"/>
                      <a:pt x="0" y="26"/>
                      <a:pt x="0" y="39"/>
                    </a:cubicBezTo>
                    <a:cubicBezTo>
                      <a:pt x="0" y="52"/>
                      <a:pt x="8" y="60"/>
                      <a:pt x="18" y="60"/>
                    </a:cubicBezTo>
                    <a:cubicBezTo>
                      <a:pt x="23" y="60"/>
                      <a:pt x="28" y="57"/>
                      <a:pt x="31" y="52"/>
                    </a:cubicBezTo>
                    <a:cubicBezTo>
                      <a:pt x="31" y="52"/>
                      <a:pt x="31" y="52"/>
                      <a:pt x="31" y="52"/>
                    </a:cubicBezTo>
                    <a:cubicBezTo>
                      <a:pt x="31" y="59"/>
                      <a:pt x="31" y="59"/>
                      <a:pt x="31" y="59"/>
                    </a:cubicBezTo>
                    <a:cubicBezTo>
                      <a:pt x="40" y="59"/>
                      <a:pt x="40" y="59"/>
                      <a:pt x="40" y="59"/>
                    </a:cubicBezTo>
                    <a:cubicBezTo>
                      <a:pt x="40" y="56"/>
                      <a:pt x="40" y="52"/>
                      <a:pt x="40" y="47"/>
                    </a:cubicBezTo>
                    <a:lnTo>
                      <a:pt x="4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06" name="Freeform 59">
                <a:extLst>
                  <a:ext uri="{FF2B5EF4-FFF2-40B4-BE49-F238E27FC236}">
                    <a16:creationId xmlns:a16="http://schemas.microsoft.com/office/drawing/2014/main" id="{0DEFBFAA-6796-4FA2-9A5F-6208DE657764}"/>
                  </a:ext>
                </a:extLst>
              </p:cNvPr>
              <p:cNvSpPr>
                <a:spLocks/>
              </p:cNvSpPr>
              <p:nvPr/>
            </p:nvSpPr>
            <p:spPr bwMode="auto">
              <a:xfrm>
                <a:off x="4018480" y="5682694"/>
                <a:ext cx="165466" cy="282565"/>
              </a:xfrm>
              <a:custGeom>
                <a:avLst/>
                <a:gdLst>
                  <a:gd name="T0" fmla="*/ 18 w 32"/>
                  <a:gd name="T1" fmla="*/ 12 h 54"/>
                  <a:gd name="T2" fmla="*/ 10 w 32"/>
                  <a:gd name="T3" fmla="*/ 15 h 54"/>
                  <a:gd name="T4" fmla="*/ 4 w 32"/>
                  <a:gd name="T5" fmla="*/ 21 h 54"/>
                  <a:gd name="T6" fmla="*/ 4 w 32"/>
                  <a:gd name="T7" fmla="*/ 21 h 54"/>
                  <a:gd name="T8" fmla="*/ 4 w 32"/>
                  <a:gd name="T9" fmla="*/ 2 h 54"/>
                  <a:gd name="T10" fmla="*/ 0 w 32"/>
                  <a:gd name="T11" fmla="*/ 0 h 54"/>
                  <a:gd name="T12" fmla="*/ 0 w 32"/>
                  <a:gd name="T13" fmla="*/ 54 h 54"/>
                  <a:gd name="T14" fmla="*/ 4 w 32"/>
                  <a:gd name="T15" fmla="*/ 54 h 54"/>
                  <a:gd name="T16" fmla="*/ 4 w 32"/>
                  <a:gd name="T17" fmla="*/ 29 h 54"/>
                  <a:gd name="T18" fmla="*/ 5 w 32"/>
                  <a:gd name="T19" fmla="*/ 25 h 54"/>
                  <a:gd name="T20" fmla="*/ 17 w 32"/>
                  <a:gd name="T21" fmla="*/ 16 h 54"/>
                  <a:gd name="T22" fmla="*/ 28 w 32"/>
                  <a:gd name="T23" fmla="*/ 30 h 54"/>
                  <a:gd name="T24" fmla="*/ 28 w 32"/>
                  <a:gd name="T25" fmla="*/ 54 h 54"/>
                  <a:gd name="T26" fmla="*/ 32 w 32"/>
                  <a:gd name="T27" fmla="*/ 54 h 54"/>
                  <a:gd name="T28" fmla="*/ 32 w 32"/>
                  <a:gd name="T29" fmla="*/ 29 h 54"/>
                  <a:gd name="T30" fmla="*/ 18 w 32"/>
                  <a:gd name="T31" fmla="*/ 1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 h="54">
                    <a:moveTo>
                      <a:pt x="18" y="12"/>
                    </a:moveTo>
                    <a:cubicBezTo>
                      <a:pt x="15" y="12"/>
                      <a:pt x="12" y="13"/>
                      <a:pt x="10" y="15"/>
                    </a:cubicBezTo>
                    <a:cubicBezTo>
                      <a:pt x="8" y="16"/>
                      <a:pt x="6" y="18"/>
                      <a:pt x="4" y="21"/>
                    </a:cubicBezTo>
                    <a:cubicBezTo>
                      <a:pt x="4" y="21"/>
                      <a:pt x="4" y="21"/>
                      <a:pt x="4" y="21"/>
                    </a:cubicBezTo>
                    <a:cubicBezTo>
                      <a:pt x="4" y="2"/>
                      <a:pt x="4" y="2"/>
                      <a:pt x="4" y="2"/>
                    </a:cubicBezTo>
                    <a:cubicBezTo>
                      <a:pt x="0" y="0"/>
                      <a:pt x="0" y="0"/>
                      <a:pt x="0" y="0"/>
                    </a:cubicBezTo>
                    <a:cubicBezTo>
                      <a:pt x="0" y="54"/>
                      <a:pt x="0" y="54"/>
                      <a:pt x="0" y="54"/>
                    </a:cubicBezTo>
                    <a:cubicBezTo>
                      <a:pt x="4" y="54"/>
                      <a:pt x="4" y="54"/>
                      <a:pt x="4" y="54"/>
                    </a:cubicBezTo>
                    <a:cubicBezTo>
                      <a:pt x="4" y="29"/>
                      <a:pt x="4" y="29"/>
                      <a:pt x="4" y="29"/>
                    </a:cubicBezTo>
                    <a:cubicBezTo>
                      <a:pt x="4" y="27"/>
                      <a:pt x="4" y="26"/>
                      <a:pt x="5" y="25"/>
                    </a:cubicBezTo>
                    <a:cubicBezTo>
                      <a:pt x="7" y="20"/>
                      <a:pt x="11" y="16"/>
                      <a:pt x="17" y="16"/>
                    </a:cubicBezTo>
                    <a:cubicBezTo>
                      <a:pt x="25" y="16"/>
                      <a:pt x="28" y="23"/>
                      <a:pt x="28" y="30"/>
                    </a:cubicBezTo>
                    <a:cubicBezTo>
                      <a:pt x="28" y="54"/>
                      <a:pt x="28" y="54"/>
                      <a:pt x="28" y="54"/>
                    </a:cubicBezTo>
                    <a:cubicBezTo>
                      <a:pt x="32" y="54"/>
                      <a:pt x="32" y="54"/>
                      <a:pt x="32" y="54"/>
                    </a:cubicBezTo>
                    <a:cubicBezTo>
                      <a:pt x="32" y="29"/>
                      <a:pt x="32" y="29"/>
                      <a:pt x="32" y="29"/>
                    </a:cubicBezTo>
                    <a:cubicBezTo>
                      <a:pt x="32" y="14"/>
                      <a:pt x="22" y="12"/>
                      <a:pt x="18" y="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07" name="Freeform 60">
                <a:extLst>
                  <a:ext uri="{FF2B5EF4-FFF2-40B4-BE49-F238E27FC236}">
                    <a16:creationId xmlns:a16="http://schemas.microsoft.com/office/drawing/2014/main" id="{57232A7A-3398-4309-85F6-BFA1557C6D11}"/>
                  </a:ext>
                </a:extLst>
              </p:cNvPr>
              <p:cNvSpPr>
                <a:spLocks noEditPoints="1"/>
              </p:cNvSpPr>
              <p:nvPr/>
            </p:nvSpPr>
            <p:spPr bwMode="auto">
              <a:xfrm>
                <a:off x="4219585" y="5746335"/>
                <a:ext cx="152737" cy="224015"/>
              </a:xfrm>
              <a:custGeom>
                <a:avLst/>
                <a:gdLst>
                  <a:gd name="T0" fmla="*/ 29 w 30"/>
                  <a:gd name="T1" fmla="*/ 32 h 43"/>
                  <a:gd name="T2" fmla="*/ 30 w 30"/>
                  <a:gd name="T3" fmla="*/ 42 h 43"/>
                  <a:gd name="T4" fmla="*/ 26 w 30"/>
                  <a:gd name="T5" fmla="*/ 42 h 43"/>
                  <a:gd name="T6" fmla="*/ 25 w 30"/>
                  <a:gd name="T7" fmla="*/ 36 h 43"/>
                  <a:gd name="T8" fmla="*/ 25 w 30"/>
                  <a:gd name="T9" fmla="*/ 36 h 43"/>
                  <a:gd name="T10" fmla="*/ 12 w 30"/>
                  <a:gd name="T11" fmla="*/ 43 h 43"/>
                  <a:gd name="T12" fmla="*/ 0 w 30"/>
                  <a:gd name="T13" fmla="*/ 32 h 43"/>
                  <a:gd name="T14" fmla="*/ 25 w 30"/>
                  <a:gd name="T15" fmla="*/ 17 h 43"/>
                  <a:gd name="T16" fmla="*/ 25 w 30"/>
                  <a:gd name="T17" fmla="*/ 16 h 43"/>
                  <a:gd name="T18" fmla="*/ 15 w 30"/>
                  <a:gd name="T19" fmla="*/ 4 h 43"/>
                  <a:gd name="T20" fmla="*/ 5 w 30"/>
                  <a:gd name="T21" fmla="*/ 7 h 43"/>
                  <a:gd name="T22" fmla="*/ 3 w 30"/>
                  <a:gd name="T23" fmla="*/ 4 h 43"/>
                  <a:gd name="T24" fmla="*/ 15 w 30"/>
                  <a:gd name="T25" fmla="*/ 0 h 43"/>
                  <a:gd name="T26" fmla="*/ 29 w 30"/>
                  <a:gd name="T27" fmla="*/ 16 h 43"/>
                  <a:gd name="T28" fmla="*/ 29 w 30"/>
                  <a:gd name="T29" fmla="*/ 32 h 43"/>
                  <a:gd name="T30" fmla="*/ 25 w 30"/>
                  <a:gd name="T31" fmla="*/ 20 h 43"/>
                  <a:gd name="T32" fmla="*/ 5 w 30"/>
                  <a:gd name="T33" fmla="*/ 31 h 43"/>
                  <a:gd name="T34" fmla="*/ 13 w 30"/>
                  <a:gd name="T35" fmla="*/ 39 h 43"/>
                  <a:gd name="T36" fmla="*/ 25 w 30"/>
                  <a:gd name="T37" fmla="*/ 31 h 43"/>
                  <a:gd name="T38" fmla="*/ 25 w 30"/>
                  <a:gd name="T39" fmla="*/ 29 h 43"/>
                  <a:gd name="T40" fmla="*/ 25 w 30"/>
                  <a:gd name="T41" fmla="*/ 2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43">
                    <a:moveTo>
                      <a:pt x="29" y="32"/>
                    </a:moveTo>
                    <a:cubicBezTo>
                      <a:pt x="29" y="35"/>
                      <a:pt x="29" y="39"/>
                      <a:pt x="30" y="42"/>
                    </a:cubicBezTo>
                    <a:cubicBezTo>
                      <a:pt x="26" y="42"/>
                      <a:pt x="26" y="42"/>
                      <a:pt x="26" y="42"/>
                    </a:cubicBezTo>
                    <a:cubicBezTo>
                      <a:pt x="25" y="36"/>
                      <a:pt x="25" y="36"/>
                      <a:pt x="25" y="36"/>
                    </a:cubicBezTo>
                    <a:cubicBezTo>
                      <a:pt x="25" y="36"/>
                      <a:pt x="25" y="36"/>
                      <a:pt x="25" y="36"/>
                    </a:cubicBezTo>
                    <a:cubicBezTo>
                      <a:pt x="23" y="39"/>
                      <a:pt x="19" y="43"/>
                      <a:pt x="12" y="43"/>
                    </a:cubicBezTo>
                    <a:cubicBezTo>
                      <a:pt x="4" y="43"/>
                      <a:pt x="0" y="37"/>
                      <a:pt x="0" y="32"/>
                    </a:cubicBezTo>
                    <a:cubicBezTo>
                      <a:pt x="0" y="22"/>
                      <a:pt x="9" y="17"/>
                      <a:pt x="25" y="17"/>
                    </a:cubicBezTo>
                    <a:cubicBezTo>
                      <a:pt x="25" y="16"/>
                      <a:pt x="25" y="16"/>
                      <a:pt x="25" y="16"/>
                    </a:cubicBezTo>
                    <a:cubicBezTo>
                      <a:pt x="25" y="12"/>
                      <a:pt x="24" y="4"/>
                      <a:pt x="15" y="4"/>
                    </a:cubicBezTo>
                    <a:cubicBezTo>
                      <a:pt x="11" y="4"/>
                      <a:pt x="8" y="5"/>
                      <a:pt x="5" y="7"/>
                    </a:cubicBezTo>
                    <a:cubicBezTo>
                      <a:pt x="3" y="4"/>
                      <a:pt x="3" y="4"/>
                      <a:pt x="3" y="4"/>
                    </a:cubicBezTo>
                    <a:cubicBezTo>
                      <a:pt x="7" y="1"/>
                      <a:pt x="12" y="0"/>
                      <a:pt x="15" y="0"/>
                    </a:cubicBezTo>
                    <a:cubicBezTo>
                      <a:pt x="27" y="0"/>
                      <a:pt x="29" y="9"/>
                      <a:pt x="29" y="16"/>
                    </a:cubicBezTo>
                    <a:lnTo>
                      <a:pt x="29" y="32"/>
                    </a:lnTo>
                    <a:close/>
                    <a:moveTo>
                      <a:pt x="25" y="20"/>
                    </a:moveTo>
                    <a:cubicBezTo>
                      <a:pt x="16" y="20"/>
                      <a:pt x="5" y="21"/>
                      <a:pt x="5" y="31"/>
                    </a:cubicBezTo>
                    <a:cubicBezTo>
                      <a:pt x="5" y="37"/>
                      <a:pt x="9" y="39"/>
                      <a:pt x="13" y="39"/>
                    </a:cubicBezTo>
                    <a:cubicBezTo>
                      <a:pt x="20" y="39"/>
                      <a:pt x="23" y="35"/>
                      <a:pt x="25" y="31"/>
                    </a:cubicBezTo>
                    <a:cubicBezTo>
                      <a:pt x="25" y="30"/>
                      <a:pt x="25" y="30"/>
                      <a:pt x="25" y="29"/>
                    </a:cubicBezTo>
                    <a:lnTo>
                      <a:pt x="25"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08" name="Freeform 61">
                <a:extLst>
                  <a:ext uri="{FF2B5EF4-FFF2-40B4-BE49-F238E27FC236}">
                    <a16:creationId xmlns:a16="http://schemas.microsoft.com/office/drawing/2014/main" id="{E0CBF561-BC32-4598-9A70-14C1617EF20F}"/>
                  </a:ext>
                </a:extLst>
              </p:cNvPr>
              <p:cNvSpPr>
                <a:spLocks/>
              </p:cNvSpPr>
              <p:nvPr/>
            </p:nvSpPr>
            <p:spPr bwMode="auto">
              <a:xfrm>
                <a:off x="4392688" y="5703059"/>
                <a:ext cx="119645" cy="267291"/>
              </a:xfrm>
              <a:custGeom>
                <a:avLst/>
                <a:gdLst>
                  <a:gd name="T0" fmla="*/ 11 w 23"/>
                  <a:gd name="T1" fmla="*/ 0 h 51"/>
                  <a:gd name="T2" fmla="*/ 11 w 23"/>
                  <a:gd name="T3" fmla="*/ 9 h 51"/>
                  <a:gd name="T4" fmla="*/ 23 w 23"/>
                  <a:gd name="T5" fmla="*/ 9 h 51"/>
                  <a:gd name="T6" fmla="*/ 23 w 23"/>
                  <a:gd name="T7" fmla="*/ 13 h 51"/>
                  <a:gd name="T8" fmla="*/ 11 w 23"/>
                  <a:gd name="T9" fmla="*/ 13 h 51"/>
                  <a:gd name="T10" fmla="*/ 11 w 23"/>
                  <a:gd name="T11" fmla="*/ 39 h 51"/>
                  <a:gd name="T12" fmla="*/ 17 w 23"/>
                  <a:gd name="T13" fmla="*/ 47 h 51"/>
                  <a:gd name="T14" fmla="*/ 22 w 23"/>
                  <a:gd name="T15" fmla="*/ 47 h 51"/>
                  <a:gd name="T16" fmla="*/ 22 w 23"/>
                  <a:gd name="T17" fmla="*/ 50 h 51"/>
                  <a:gd name="T18" fmla="*/ 17 w 23"/>
                  <a:gd name="T19" fmla="*/ 51 h 51"/>
                  <a:gd name="T20" fmla="*/ 10 w 23"/>
                  <a:gd name="T21" fmla="*/ 48 h 51"/>
                  <a:gd name="T22" fmla="*/ 7 w 23"/>
                  <a:gd name="T23" fmla="*/ 38 h 51"/>
                  <a:gd name="T24" fmla="*/ 7 w 23"/>
                  <a:gd name="T25" fmla="*/ 13 h 51"/>
                  <a:gd name="T26" fmla="*/ 0 w 23"/>
                  <a:gd name="T27" fmla="*/ 13 h 51"/>
                  <a:gd name="T28" fmla="*/ 0 w 23"/>
                  <a:gd name="T29" fmla="*/ 9 h 51"/>
                  <a:gd name="T30" fmla="*/ 7 w 23"/>
                  <a:gd name="T31" fmla="*/ 9 h 51"/>
                  <a:gd name="T32" fmla="*/ 7 w 23"/>
                  <a:gd name="T33" fmla="*/ 2 h 51"/>
                  <a:gd name="T34" fmla="*/ 11 w 23"/>
                  <a:gd name="T35"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51">
                    <a:moveTo>
                      <a:pt x="11" y="0"/>
                    </a:moveTo>
                    <a:cubicBezTo>
                      <a:pt x="11" y="9"/>
                      <a:pt x="11" y="9"/>
                      <a:pt x="11" y="9"/>
                    </a:cubicBezTo>
                    <a:cubicBezTo>
                      <a:pt x="23" y="9"/>
                      <a:pt x="23" y="9"/>
                      <a:pt x="23" y="9"/>
                    </a:cubicBezTo>
                    <a:cubicBezTo>
                      <a:pt x="23" y="13"/>
                      <a:pt x="23" y="13"/>
                      <a:pt x="23" y="13"/>
                    </a:cubicBezTo>
                    <a:cubicBezTo>
                      <a:pt x="11" y="13"/>
                      <a:pt x="11" y="13"/>
                      <a:pt x="11" y="13"/>
                    </a:cubicBezTo>
                    <a:cubicBezTo>
                      <a:pt x="11" y="39"/>
                      <a:pt x="11" y="39"/>
                      <a:pt x="11" y="39"/>
                    </a:cubicBezTo>
                    <a:cubicBezTo>
                      <a:pt x="11" y="44"/>
                      <a:pt x="13" y="47"/>
                      <a:pt x="17" y="47"/>
                    </a:cubicBezTo>
                    <a:cubicBezTo>
                      <a:pt x="19" y="47"/>
                      <a:pt x="21" y="47"/>
                      <a:pt x="22" y="47"/>
                    </a:cubicBezTo>
                    <a:cubicBezTo>
                      <a:pt x="22" y="50"/>
                      <a:pt x="22" y="50"/>
                      <a:pt x="22" y="50"/>
                    </a:cubicBezTo>
                    <a:cubicBezTo>
                      <a:pt x="21" y="50"/>
                      <a:pt x="19" y="51"/>
                      <a:pt x="17" y="51"/>
                    </a:cubicBezTo>
                    <a:cubicBezTo>
                      <a:pt x="14" y="51"/>
                      <a:pt x="11" y="50"/>
                      <a:pt x="10" y="48"/>
                    </a:cubicBezTo>
                    <a:cubicBezTo>
                      <a:pt x="8" y="46"/>
                      <a:pt x="7" y="42"/>
                      <a:pt x="7" y="38"/>
                    </a:cubicBezTo>
                    <a:cubicBezTo>
                      <a:pt x="7" y="13"/>
                      <a:pt x="7" y="13"/>
                      <a:pt x="7" y="13"/>
                    </a:cubicBezTo>
                    <a:cubicBezTo>
                      <a:pt x="0" y="13"/>
                      <a:pt x="0" y="13"/>
                      <a:pt x="0" y="13"/>
                    </a:cubicBezTo>
                    <a:cubicBezTo>
                      <a:pt x="0" y="9"/>
                      <a:pt x="0" y="9"/>
                      <a:pt x="0" y="9"/>
                    </a:cubicBezTo>
                    <a:cubicBezTo>
                      <a:pt x="7" y="9"/>
                      <a:pt x="7" y="9"/>
                      <a:pt x="7" y="9"/>
                    </a:cubicBezTo>
                    <a:cubicBezTo>
                      <a:pt x="7" y="2"/>
                      <a:pt x="7" y="2"/>
                      <a:pt x="7" y="2"/>
                    </a:cubicBez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09" name="Freeform 62">
                <a:extLst>
                  <a:ext uri="{FF2B5EF4-FFF2-40B4-BE49-F238E27FC236}">
                    <a16:creationId xmlns:a16="http://schemas.microsoft.com/office/drawing/2014/main" id="{2F34B6EC-02E9-4DA6-8935-0B611C558A9B}"/>
                  </a:ext>
                </a:extLst>
              </p:cNvPr>
              <p:cNvSpPr>
                <a:spLocks noEditPoints="1"/>
              </p:cNvSpPr>
              <p:nvPr/>
            </p:nvSpPr>
            <p:spPr bwMode="auto">
              <a:xfrm>
                <a:off x="4532696" y="5944894"/>
                <a:ext cx="15274" cy="15274"/>
              </a:xfrm>
              <a:custGeom>
                <a:avLst/>
                <a:gdLst>
                  <a:gd name="T0" fmla="*/ 1 w 3"/>
                  <a:gd name="T1" fmla="*/ 2 h 3"/>
                  <a:gd name="T2" fmla="*/ 1 w 3"/>
                  <a:gd name="T3" fmla="*/ 2 h 3"/>
                  <a:gd name="T4" fmla="*/ 2 w 3"/>
                  <a:gd name="T5" fmla="*/ 3 h 3"/>
                  <a:gd name="T6" fmla="*/ 3 w 3"/>
                  <a:gd name="T7" fmla="*/ 3 h 3"/>
                  <a:gd name="T8" fmla="*/ 2 w 3"/>
                  <a:gd name="T9" fmla="*/ 2 h 3"/>
                  <a:gd name="T10" fmla="*/ 3 w 3"/>
                  <a:gd name="T11" fmla="*/ 1 h 3"/>
                  <a:gd name="T12" fmla="*/ 1 w 3"/>
                  <a:gd name="T13" fmla="*/ 0 h 3"/>
                  <a:gd name="T14" fmla="*/ 0 w 3"/>
                  <a:gd name="T15" fmla="*/ 0 h 3"/>
                  <a:gd name="T16" fmla="*/ 0 w 3"/>
                  <a:gd name="T17" fmla="*/ 3 h 3"/>
                  <a:gd name="T18" fmla="*/ 1 w 3"/>
                  <a:gd name="T19" fmla="*/ 3 h 3"/>
                  <a:gd name="T20" fmla="*/ 1 w 3"/>
                  <a:gd name="T21" fmla="*/ 2 h 3"/>
                  <a:gd name="T22" fmla="*/ 1 w 3"/>
                  <a:gd name="T23" fmla="*/ 1 h 3"/>
                  <a:gd name="T24" fmla="*/ 1 w 3"/>
                  <a:gd name="T25" fmla="*/ 0 h 3"/>
                  <a:gd name="T26" fmla="*/ 1 w 3"/>
                  <a:gd name="T27" fmla="*/ 0 h 3"/>
                  <a:gd name="T28" fmla="*/ 2 w 3"/>
                  <a:gd name="T29" fmla="*/ 1 h 3"/>
                  <a:gd name="T30" fmla="*/ 1 w 3"/>
                  <a:gd name="T31"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3">
                    <a:moveTo>
                      <a:pt x="1" y="2"/>
                    </a:moveTo>
                    <a:cubicBezTo>
                      <a:pt x="1" y="2"/>
                      <a:pt x="1" y="2"/>
                      <a:pt x="1" y="2"/>
                    </a:cubicBezTo>
                    <a:cubicBezTo>
                      <a:pt x="2" y="3"/>
                      <a:pt x="2" y="3"/>
                      <a:pt x="2" y="3"/>
                    </a:cubicBezTo>
                    <a:cubicBezTo>
                      <a:pt x="3" y="3"/>
                      <a:pt x="3" y="3"/>
                      <a:pt x="3" y="3"/>
                    </a:cubicBezTo>
                    <a:cubicBezTo>
                      <a:pt x="2" y="2"/>
                      <a:pt x="2" y="2"/>
                      <a:pt x="2" y="2"/>
                    </a:cubicBezTo>
                    <a:cubicBezTo>
                      <a:pt x="2" y="2"/>
                      <a:pt x="3" y="1"/>
                      <a:pt x="3" y="1"/>
                    </a:cubicBezTo>
                    <a:cubicBezTo>
                      <a:pt x="3" y="0"/>
                      <a:pt x="2" y="0"/>
                      <a:pt x="1" y="0"/>
                    </a:cubicBezTo>
                    <a:cubicBezTo>
                      <a:pt x="0" y="0"/>
                      <a:pt x="0" y="0"/>
                      <a:pt x="0" y="0"/>
                    </a:cubicBezTo>
                    <a:cubicBezTo>
                      <a:pt x="0" y="3"/>
                      <a:pt x="0" y="3"/>
                      <a:pt x="0" y="3"/>
                    </a:cubicBezTo>
                    <a:cubicBezTo>
                      <a:pt x="1" y="3"/>
                      <a:pt x="1" y="3"/>
                      <a:pt x="1" y="3"/>
                    </a:cubicBezTo>
                    <a:lnTo>
                      <a:pt x="1" y="2"/>
                    </a:lnTo>
                    <a:close/>
                    <a:moveTo>
                      <a:pt x="1" y="1"/>
                    </a:moveTo>
                    <a:cubicBezTo>
                      <a:pt x="1" y="0"/>
                      <a:pt x="1" y="0"/>
                      <a:pt x="1" y="0"/>
                    </a:cubicBezTo>
                    <a:cubicBezTo>
                      <a:pt x="1" y="0"/>
                      <a:pt x="1" y="0"/>
                      <a:pt x="1" y="0"/>
                    </a:cubicBezTo>
                    <a:cubicBezTo>
                      <a:pt x="2" y="0"/>
                      <a:pt x="2" y="0"/>
                      <a:pt x="2" y="1"/>
                    </a:cubicBezTo>
                    <a:cubicBezTo>
                      <a:pt x="2" y="1"/>
                      <a:pt x="2"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0" name="Freeform 63">
                <a:extLst>
                  <a:ext uri="{FF2B5EF4-FFF2-40B4-BE49-F238E27FC236}">
                    <a16:creationId xmlns:a16="http://schemas.microsoft.com/office/drawing/2014/main" id="{E6158B81-46D1-4DB2-A57F-CF175FA4DA6C}"/>
                  </a:ext>
                </a:extLst>
              </p:cNvPr>
              <p:cNvSpPr>
                <a:spLocks noEditPoints="1"/>
              </p:cNvSpPr>
              <p:nvPr/>
            </p:nvSpPr>
            <p:spPr bwMode="auto">
              <a:xfrm>
                <a:off x="4522514" y="5934711"/>
                <a:ext cx="30547" cy="30547"/>
              </a:xfrm>
              <a:custGeom>
                <a:avLst/>
                <a:gdLst>
                  <a:gd name="T0" fmla="*/ 6 w 6"/>
                  <a:gd name="T1" fmla="*/ 3 h 6"/>
                  <a:gd name="T2" fmla="*/ 3 w 6"/>
                  <a:gd name="T3" fmla="*/ 6 h 6"/>
                  <a:gd name="T4" fmla="*/ 0 w 6"/>
                  <a:gd name="T5" fmla="*/ 3 h 6"/>
                  <a:gd name="T6" fmla="*/ 3 w 6"/>
                  <a:gd name="T7" fmla="*/ 0 h 6"/>
                  <a:gd name="T8" fmla="*/ 6 w 6"/>
                  <a:gd name="T9" fmla="*/ 3 h 6"/>
                  <a:gd name="T10" fmla="*/ 3 w 6"/>
                  <a:gd name="T11" fmla="*/ 1 h 6"/>
                  <a:gd name="T12" fmla="*/ 1 w 6"/>
                  <a:gd name="T13" fmla="*/ 3 h 6"/>
                  <a:gd name="T14" fmla="*/ 3 w 6"/>
                  <a:gd name="T15" fmla="*/ 6 h 6"/>
                  <a:gd name="T16" fmla="*/ 6 w 6"/>
                  <a:gd name="T17" fmla="*/ 3 h 6"/>
                  <a:gd name="T18" fmla="*/ 3 w 6"/>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6">
                    <a:moveTo>
                      <a:pt x="6" y="3"/>
                    </a:moveTo>
                    <a:cubicBezTo>
                      <a:pt x="6" y="5"/>
                      <a:pt x="5" y="6"/>
                      <a:pt x="3" y="6"/>
                    </a:cubicBezTo>
                    <a:cubicBezTo>
                      <a:pt x="2" y="6"/>
                      <a:pt x="0" y="5"/>
                      <a:pt x="0" y="3"/>
                    </a:cubicBezTo>
                    <a:cubicBezTo>
                      <a:pt x="0" y="2"/>
                      <a:pt x="2" y="0"/>
                      <a:pt x="3" y="0"/>
                    </a:cubicBezTo>
                    <a:cubicBezTo>
                      <a:pt x="5" y="0"/>
                      <a:pt x="6" y="2"/>
                      <a:pt x="6" y="3"/>
                    </a:cubicBezTo>
                    <a:moveTo>
                      <a:pt x="3" y="1"/>
                    </a:moveTo>
                    <a:cubicBezTo>
                      <a:pt x="2" y="1"/>
                      <a:pt x="1" y="2"/>
                      <a:pt x="1" y="3"/>
                    </a:cubicBezTo>
                    <a:cubicBezTo>
                      <a:pt x="1" y="5"/>
                      <a:pt x="2" y="6"/>
                      <a:pt x="3" y="6"/>
                    </a:cubicBezTo>
                    <a:cubicBezTo>
                      <a:pt x="5" y="6"/>
                      <a:pt x="6" y="5"/>
                      <a:pt x="6" y="3"/>
                    </a:cubicBezTo>
                    <a:cubicBezTo>
                      <a:pt x="6" y="2"/>
                      <a:pt x="5" y="1"/>
                      <a:pt x="3"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grpSp>
      </p:grpSp>
      <p:sp>
        <p:nvSpPr>
          <p:cNvPr id="117" name="Rectangle 116">
            <a:extLst>
              <a:ext uri="{FF2B5EF4-FFF2-40B4-BE49-F238E27FC236}">
                <a16:creationId xmlns:a16="http://schemas.microsoft.com/office/drawing/2014/main" id="{54E7FC1F-07BF-47F6-9AC9-FC08C9C13E14}"/>
              </a:ext>
            </a:extLst>
          </p:cNvPr>
          <p:cNvSpPr/>
          <p:nvPr/>
        </p:nvSpPr>
        <p:spPr bwMode="auto">
          <a:xfrm>
            <a:off x="8720567" y="830586"/>
            <a:ext cx="2798064" cy="365760"/>
          </a:xfrm>
          <a:prstGeom prst="rect">
            <a:avLst/>
          </a:prstGeom>
          <a:noFill/>
          <a:ln w="38100" cap="flat" cmpd="sng" algn="ctr">
            <a:noFill/>
            <a:prstDash val="solid"/>
            <a:miter lim="800000"/>
            <a:headEnd type="none" w="med" len="med"/>
            <a:tailEnd type="none" w="med" len="med"/>
          </a:ln>
          <a:effectLst/>
        </p:spPr>
        <p:txBody>
          <a:bodyPr rot="0" spcFirstLastPara="0" vertOverflow="overflow" horzOverflow="overflow" vert="horz" wrap="square" lIns="91440" tIns="146304" rIns="182880" bIns="146304" numCol="1" spcCol="0" rtlCol="0" fromWordArt="0" anchor="ctr" anchorCtr="0" forceAA="0" compatLnSpc="1">
            <a:prstTxWarp prst="textNoShape">
              <a:avLst/>
            </a:prstTxWarp>
            <a:noAutofit/>
          </a:bodyPr>
          <a:lstStyle/>
          <a:p>
            <a:pPr defTabSz="914363">
              <a:defRPr/>
            </a:pPr>
            <a:r>
              <a:rPr lang="en-US" sz="1400" b="1" kern="0" dirty="0">
                <a:ln>
                  <a:solidFill>
                    <a:srgbClr val="FFFFFF">
                      <a:alpha val="0"/>
                    </a:srgbClr>
                  </a:solidFill>
                </a:ln>
                <a:solidFill>
                  <a:srgbClr val="0078D7"/>
                </a:solidFill>
                <a:latin typeface="Segoe UI Semibold" charset="0"/>
                <a:ea typeface="Segoe UI Semibold" charset="0"/>
                <a:cs typeface="Segoe UI Semibold" charset="0"/>
              </a:rPr>
              <a:t>Linux </a:t>
            </a:r>
          </a:p>
        </p:txBody>
      </p:sp>
      <p:sp>
        <p:nvSpPr>
          <p:cNvPr id="118" name="Rectangle 117">
            <a:extLst>
              <a:ext uri="{FF2B5EF4-FFF2-40B4-BE49-F238E27FC236}">
                <a16:creationId xmlns:a16="http://schemas.microsoft.com/office/drawing/2014/main" id="{203C8B16-AA13-4621-9D80-C5882CD6DDD7}"/>
              </a:ext>
            </a:extLst>
          </p:cNvPr>
          <p:cNvSpPr/>
          <p:nvPr/>
        </p:nvSpPr>
        <p:spPr bwMode="auto">
          <a:xfrm>
            <a:off x="5744307" y="3376382"/>
            <a:ext cx="3171171" cy="359213"/>
          </a:xfrm>
          <a:prstGeom prst="rect">
            <a:avLst/>
          </a:prstGeom>
          <a:noFill/>
          <a:ln w="38100" cap="flat" cmpd="sng" algn="ctr">
            <a:noFill/>
            <a:prstDash val="solid"/>
            <a:miter lim="800000"/>
            <a:headEnd type="none" w="med" len="med"/>
            <a:tailEnd type="none" w="med" len="med"/>
          </a:ln>
          <a:effectLst/>
        </p:spPr>
        <p:txBody>
          <a:bodyPr rot="0" spcFirstLastPara="0" vertOverflow="overflow" horzOverflow="overflow" vert="horz" wrap="square" lIns="91440" tIns="146304" rIns="182880" bIns="146304" numCol="1" spcCol="0" rtlCol="0" fromWordArt="0" anchor="ctr" anchorCtr="0" forceAA="0" compatLnSpc="1">
            <a:prstTxWarp prst="textNoShape">
              <a:avLst/>
            </a:prstTxWarp>
            <a:noAutofit/>
          </a:bodyPr>
          <a:lstStyle/>
          <a:p>
            <a:pPr defTabSz="914363">
              <a:defRPr/>
            </a:pPr>
            <a:r>
              <a:rPr lang="en-US" sz="1400" b="1" kern="0" dirty="0">
                <a:ln>
                  <a:solidFill>
                    <a:srgbClr val="FFFFFF">
                      <a:alpha val="0"/>
                    </a:srgbClr>
                  </a:solidFill>
                </a:ln>
                <a:solidFill>
                  <a:srgbClr val="0078D7"/>
                </a:solidFill>
                <a:latin typeface="Segoe UI Semibold" charset="0"/>
                <a:ea typeface="Segoe UI Semibold" charset="0"/>
                <a:cs typeface="Segoe UI Semibold" charset="0"/>
              </a:rPr>
              <a:t>Docker containers and Kubernetes </a:t>
            </a:r>
          </a:p>
        </p:txBody>
      </p:sp>
      <p:sp>
        <p:nvSpPr>
          <p:cNvPr id="119" name="Rectangle 118">
            <a:extLst>
              <a:ext uri="{FF2B5EF4-FFF2-40B4-BE49-F238E27FC236}">
                <a16:creationId xmlns:a16="http://schemas.microsoft.com/office/drawing/2014/main" id="{4EE6BCB6-81BD-4C2C-8B20-007B7E00D5BD}"/>
              </a:ext>
            </a:extLst>
          </p:cNvPr>
          <p:cNvSpPr/>
          <p:nvPr/>
        </p:nvSpPr>
        <p:spPr bwMode="auto">
          <a:xfrm>
            <a:off x="5796943" y="830586"/>
            <a:ext cx="2798064" cy="365760"/>
          </a:xfrm>
          <a:prstGeom prst="rect">
            <a:avLst/>
          </a:prstGeom>
          <a:noFill/>
          <a:ln w="38100" cap="flat" cmpd="sng" algn="ctr">
            <a:noFill/>
            <a:prstDash val="solid"/>
            <a:miter lim="800000"/>
            <a:headEnd type="none" w="med" len="med"/>
            <a:tailEnd type="none" w="med" len="med"/>
          </a:ln>
          <a:effectLst/>
        </p:spPr>
        <p:txBody>
          <a:bodyPr rot="0" spcFirstLastPara="0" vertOverflow="overflow" horzOverflow="overflow" vert="horz" wrap="square" lIns="91440" tIns="146304" rIns="182880" bIns="146304" numCol="1" spcCol="0" rtlCol="0" fromWordArt="0" anchor="ctr" anchorCtr="0" forceAA="0" compatLnSpc="1">
            <a:prstTxWarp prst="textNoShape">
              <a:avLst/>
            </a:prstTxWarp>
            <a:noAutofit/>
          </a:bodyPr>
          <a:lstStyle/>
          <a:p>
            <a:pPr defTabSz="914363">
              <a:defRPr/>
            </a:pPr>
            <a:r>
              <a:rPr lang="en-US" sz="1400" b="1" kern="0" dirty="0">
                <a:ln>
                  <a:solidFill>
                    <a:srgbClr val="FFFFFF">
                      <a:alpha val="0"/>
                    </a:srgbClr>
                  </a:solidFill>
                </a:ln>
                <a:solidFill>
                  <a:srgbClr val="0078D7"/>
                </a:solidFill>
                <a:latin typeface="Segoe UI Semibold" charset="0"/>
                <a:ea typeface="Segoe UI Semibold" charset="0"/>
                <a:cs typeface="Segoe UI Semibold" charset="0"/>
              </a:rPr>
              <a:t>Windows</a:t>
            </a:r>
          </a:p>
        </p:txBody>
      </p:sp>
      <p:grpSp>
        <p:nvGrpSpPr>
          <p:cNvPr id="120" name="Group 4">
            <a:extLst>
              <a:ext uri="{FF2B5EF4-FFF2-40B4-BE49-F238E27FC236}">
                <a16:creationId xmlns:a16="http://schemas.microsoft.com/office/drawing/2014/main" id="{805DCF00-B643-47E5-BCA5-D2B77F6C32A4}"/>
              </a:ext>
            </a:extLst>
          </p:cNvPr>
          <p:cNvGrpSpPr>
            <a:grpSpLocks noChangeAspect="1"/>
          </p:cNvGrpSpPr>
          <p:nvPr/>
        </p:nvGrpSpPr>
        <p:grpSpPr bwMode="auto">
          <a:xfrm>
            <a:off x="9778796" y="1660091"/>
            <a:ext cx="737530" cy="862328"/>
            <a:chOff x="6796" y="954"/>
            <a:chExt cx="721" cy="843"/>
          </a:xfrm>
          <a:solidFill>
            <a:srgbClr val="0078D7"/>
          </a:solidFill>
        </p:grpSpPr>
        <p:sp>
          <p:nvSpPr>
            <p:cNvPr id="121" name="Freeform 5">
              <a:extLst>
                <a:ext uri="{FF2B5EF4-FFF2-40B4-BE49-F238E27FC236}">
                  <a16:creationId xmlns:a16="http://schemas.microsoft.com/office/drawing/2014/main" id="{42A95C2D-22C6-4F89-BFE2-55CDD441AA1E}"/>
                </a:ext>
              </a:extLst>
            </p:cNvPr>
            <p:cNvSpPr>
              <a:spLocks/>
            </p:cNvSpPr>
            <p:nvPr/>
          </p:nvSpPr>
          <p:spPr bwMode="auto">
            <a:xfrm>
              <a:off x="7137" y="1144"/>
              <a:ext cx="17" cy="8"/>
            </a:xfrm>
            <a:custGeom>
              <a:avLst/>
              <a:gdLst>
                <a:gd name="T0" fmla="*/ 9 w 24"/>
                <a:gd name="T1" fmla="*/ 8 h 12"/>
                <a:gd name="T2" fmla="*/ 16 w 24"/>
                <a:gd name="T3" fmla="*/ 12 h 12"/>
                <a:gd name="T4" fmla="*/ 23 w 24"/>
                <a:gd name="T5" fmla="*/ 8 h 12"/>
                <a:gd name="T6" fmla="*/ 15 w 24"/>
                <a:gd name="T7" fmla="*/ 1 h 12"/>
                <a:gd name="T8" fmla="*/ 7 w 24"/>
                <a:gd name="T9" fmla="*/ 0 h 12"/>
                <a:gd name="T10" fmla="*/ 2 w 24"/>
                <a:gd name="T11" fmla="*/ 1 h 12"/>
                <a:gd name="T12" fmla="*/ 0 w 24"/>
                <a:gd name="T13" fmla="*/ 4 h 12"/>
                <a:gd name="T14" fmla="*/ 9 w 24"/>
                <a:gd name="T15" fmla="*/ 8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12">
                  <a:moveTo>
                    <a:pt x="9" y="8"/>
                  </a:moveTo>
                  <a:cubicBezTo>
                    <a:pt x="11" y="9"/>
                    <a:pt x="13" y="12"/>
                    <a:pt x="16" y="12"/>
                  </a:cubicBezTo>
                  <a:cubicBezTo>
                    <a:pt x="19" y="12"/>
                    <a:pt x="23" y="11"/>
                    <a:pt x="23" y="8"/>
                  </a:cubicBezTo>
                  <a:cubicBezTo>
                    <a:pt x="24" y="5"/>
                    <a:pt x="19" y="3"/>
                    <a:pt x="15" y="1"/>
                  </a:cubicBezTo>
                  <a:cubicBezTo>
                    <a:pt x="13" y="0"/>
                    <a:pt x="10" y="0"/>
                    <a:pt x="7" y="0"/>
                  </a:cubicBezTo>
                  <a:cubicBezTo>
                    <a:pt x="5" y="0"/>
                    <a:pt x="3" y="0"/>
                    <a:pt x="2" y="1"/>
                  </a:cubicBezTo>
                  <a:cubicBezTo>
                    <a:pt x="1" y="2"/>
                    <a:pt x="0" y="3"/>
                    <a:pt x="0" y="4"/>
                  </a:cubicBezTo>
                  <a:cubicBezTo>
                    <a:pt x="1" y="7"/>
                    <a:pt x="6" y="6"/>
                    <a:pt x="9"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22" name="Freeform 6">
              <a:extLst>
                <a:ext uri="{FF2B5EF4-FFF2-40B4-BE49-F238E27FC236}">
                  <a16:creationId xmlns:a16="http://schemas.microsoft.com/office/drawing/2014/main" id="{63D1421E-6118-41A9-99A8-A0B40CC2681A}"/>
                </a:ext>
              </a:extLst>
            </p:cNvPr>
            <p:cNvSpPr>
              <a:spLocks/>
            </p:cNvSpPr>
            <p:nvPr/>
          </p:nvSpPr>
          <p:spPr bwMode="auto">
            <a:xfrm>
              <a:off x="7099" y="1145"/>
              <a:ext cx="7" cy="7"/>
            </a:xfrm>
            <a:custGeom>
              <a:avLst/>
              <a:gdLst>
                <a:gd name="T0" fmla="*/ 5 w 11"/>
                <a:gd name="T1" fmla="*/ 10 h 10"/>
                <a:gd name="T2" fmla="*/ 10 w 11"/>
                <a:gd name="T3" fmla="*/ 4 h 10"/>
                <a:gd name="T4" fmla="*/ 9 w 11"/>
                <a:gd name="T5" fmla="*/ 0 h 10"/>
                <a:gd name="T6" fmla="*/ 8 w 11"/>
                <a:gd name="T7" fmla="*/ 0 h 10"/>
                <a:gd name="T8" fmla="*/ 2 w 11"/>
                <a:gd name="T9" fmla="*/ 8 h 10"/>
                <a:gd name="T10" fmla="*/ 5 w 11"/>
                <a:gd name="T11" fmla="*/ 10 h 10"/>
              </a:gdLst>
              <a:ahLst/>
              <a:cxnLst>
                <a:cxn ang="0">
                  <a:pos x="T0" y="T1"/>
                </a:cxn>
                <a:cxn ang="0">
                  <a:pos x="T2" y="T3"/>
                </a:cxn>
                <a:cxn ang="0">
                  <a:pos x="T4" y="T5"/>
                </a:cxn>
                <a:cxn ang="0">
                  <a:pos x="T6" y="T7"/>
                </a:cxn>
                <a:cxn ang="0">
                  <a:pos x="T8" y="T9"/>
                </a:cxn>
                <a:cxn ang="0">
                  <a:pos x="T10" y="T11"/>
                </a:cxn>
              </a:cxnLst>
              <a:rect l="0" t="0" r="r" b="b"/>
              <a:pathLst>
                <a:path w="11" h="10">
                  <a:moveTo>
                    <a:pt x="5" y="10"/>
                  </a:moveTo>
                  <a:cubicBezTo>
                    <a:pt x="7" y="9"/>
                    <a:pt x="8" y="6"/>
                    <a:pt x="10" y="4"/>
                  </a:cubicBezTo>
                  <a:cubicBezTo>
                    <a:pt x="11" y="4"/>
                    <a:pt x="11" y="1"/>
                    <a:pt x="9" y="0"/>
                  </a:cubicBezTo>
                  <a:cubicBezTo>
                    <a:pt x="9" y="0"/>
                    <a:pt x="9" y="0"/>
                    <a:pt x="8" y="0"/>
                  </a:cubicBezTo>
                  <a:cubicBezTo>
                    <a:pt x="5" y="0"/>
                    <a:pt x="0" y="6"/>
                    <a:pt x="2" y="8"/>
                  </a:cubicBezTo>
                  <a:cubicBezTo>
                    <a:pt x="2" y="9"/>
                    <a:pt x="4" y="10"/>
                    <a:pt x="5"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23" name="Freeform 7">
              <a:extLst>
                <a:ext uri="{FF2B5EF4-FFF2-40B4-BE49-F238E27FC236}">
                  <a16:creationId xmlns:a16="http://schemas.microsoft.com/office/drawing/2014/main" id="{A4B62DEA-16D9-451B-A7CE-FF7552C9E4E5}"/>
                </a:ext>
              </a:extLst>
            </p:cNvPr>
            <p:cNvSpPr>
              <a:spLocks noEditPoints="1"/>
            </p:cNvSpPr>
            <p:nvPr/>
          </p:nvSpPr>
          <p:spPr bwMode="auto">
            <a:xfrm>
              <a:off x="6796" y="954"/>
              <a:ext cx="721" cy="843"/>
            </a:xfrm>
            <a:custGeom>
              <a:avLst/>
              <a:gdLst>
                <a:gd name="T0" fmla="*/ 956 w 1034"/>
                <a:gd name="T1" fmla="*/ 931 h 1208"/>
                <a:gd name="T2" fmla="*/ 903 w 1034"/>
                <a:gd name="T3" fmla="*/ 837 h 1208"/>
                <a:gd name="T4" fmla="*/ 762 w 1034"/>
                <a:gd name="T5" fmla="*/ 437 h 1208"/>
                <a:gd name="T6" fmla="*/ 623 w 1034"/>
                <a:gd name="T7" fmla="*/ 35 h 1208"/>
                <a:gd name="T8" fmla="*/ 356 w 1034"/>
                <a:gd name="T9" fmla="*/ 386 h 1208"/>
                <a:gd name="T10" fmla="*/ 221 w 1034"/>
                <a:gd name="T11" fmla="*/ 622 h 1208"/>
                <a:gd name="T12" fmla="*/ 151 w 1034"/>
                <a:gd name="T13" fmla="*/ 820 h 1208"/>
                <a:gd name="T14" fmla="*/ 85 w 1034"/>
                <a:gd name="T15" fmla="*/ 867 h 1208"/>
                <a:gd name="T16" fmla="*/ 18 w 1034"/>
                <a:gd name="T17" fmla="*/ 1031 h 1208"/>
                <a:gd name="T18" fmla="*/ 28 w 1034"/>
                <a:gd name="T19" fmla="*/ 1124 h 1208"/>
                <a:gd name="T20" fmla="*/ 313 w 1034"/>
                <a:gd name="T21" fmla="*/ 1207 h 1208"/>
                <a:gd name="T22" fmla="*/ 471 w 1034"/>
                <a:gd name="T23" fmla="*/ 1119 h 1208"/>
                <a:gd name="T24" fmla="*/ 664 w 1034"/>
                <a:gd name="T25" fmla="*/ 1167 h 1208"/>
                <a:gd name="T26" fmla="*/ 899 w 1034"/>
                <a:gd name="T27" fmla="*/ 1119 h 1208"/>
                <a:gd name="T28" fmla="*/ 773 w 1034"/>
                <a:gd name="T29" fmla="*/ 587 h 1208"/>
                <a:gd name="T30" fmla="*/ 856 w 1034"/>
                <a:gd name="T31" fmla="*/ 806 h 1208"/>
                <a:gd name="T32" fmla="*/ 783 w 1034"/>
                <a:gd name="T33" fmla="*/ 812 h 1208"/>
                <a:gd name="T34" fmla="*/ 815 w 1034"/>
                <a:gd name="T35" fmla="*/ 670 h 1208"/>
                <a:gd name="T36" fmla="*/ 617 w 1034"/>
                <a:gd name="T37" fmla="*/ 187 h 1208"/>
                <a:gd name="T38" fmla="*/ 566 w 1034"/>
                <a:gd name="T39" fmla="*/ 170 h 1208"/>
                <a:gd name="T40" fmla="*/ 569 w 1034"/>
                <a:gd name="T41" fmla="*/ 288 h 1208"/>
                <a:gd name="T42" fmla="*/ 547 w 1034"/>
                <a:gd name="T43" fmla="*/ 216 h 1208"/>
                <a:gd name="T44" fmla="*/ 512 w 1034"/>
                <a:gd name="T45" fmla="*/ 254 h 1208"/>
                <a:gd name="T46" fmla="*/ 584 w 1034"/>
                <a:gd name="T47" fmla="*/ 248 h 1208"/>
                <a:gd name="T48" fmla="*/ 424 w 1034"/>
                <a:gd name="T49" fmla="*/ 156 h 1208"/>
                <a:gd name="T50" fmla="*/ 407 w 1034"/>
                <a:gd name="T51" fmla="*/ 153 h 1208"/>
                <a:gd name="T52" fmla="*/ 457 w 1034"/>
                <a:gd name="T53" fmla="*/ 249 h 1208"/>
                <a:gd name="T54" fmla="*/ 393 w 1034"/>
                <a:gd name="T55" fmla="*/ 225 h 1208"/>
                <a:gd name="T56" fmla="*/ 391 w 1034"/>
                <a:gd name="T57" fmla="*/ 301 h 1208"/>
                <a:gd name="T58" fmla="*/ 413 w 1034"/>
                <a:gd name="T59" fmla="*/ 225 h 1208"/>
                <a:gd name="T60" fmla="*/ 374 w 1034"/>
                <a:gd name="T61" fmla="*/ 330 h 1208"/>
                <a:gd name="T62" fmla="*/ 589 w 1034"/>
                <a:gd name="T63" fmla="*/ 298 h 1208"/>
                <a:gd name="T64" fmla="*/ 613 w 1034"/>
                <a:gd name="T65" fmla="*/ 346 h 1208"/>
                <a:gd name="T66" fmla="*/ 435 w 1034"/>
                <a:gd name="T67" fmla="*/ 416 h 1208"/>
                <a:gd name="T68" fmla="*/ 486 w 1034"/>
                <a:gd name="T69" fmla="*/ 387 h 1208"/>
                <a:gd name="T70" fmla="*/ 593 w 1034"/>
                <a:gd name="T71" fmla="*/ 331 h 1208"/>
                <a:gd name="T72" fmla="*/ 584 w 1034"/>
                <a:gd name="T73" fmla="*/ 322 h 1208"/>
                <a:gd name="T74" fmla="*/ 410 w 1034"/>
                <a:gd name="T75" fmla="*/ 370 h 1208"/>
                <a:gd name="T76" fmla="*/ 372 w 1034"/>
                <a:gd name="T77" fmla="*/ 352 h 1208"/>
                <a:gd name="T78" fmla="*/ 245 w 1034"/>
                <a:gd name="T79" fmla="*/ 1165 h 1208"/>
                <a:gd name="T80" fmla="*/ 34 w 1034"/>
                <a:gd name="T81" fmla="*/ 1034 h 1208"/>
                <a:gd name="T82" fmla="*/ 108 w 1034"/>
                <a:gd name="T83" fmla="*/ 878 h 1208"/>
                <a:gd name="T84" fmla="*/ 220 w 1034"/>
                <a:gd name="T85" fmla="*/ 819 h 1208"/>
                <a:gd name="T86" fmla="*/ 584 w 1034"/>
                <a:gd name="T87" fmla="*/ 1049 h 1208"/>
                <a:gd name="T88" fmla="*/ 260 w 1034"/>
                <a:gd name="T89" fmla="*/ 845 h 1208"/>
                <a:gd name="T90" fmla="*/ 273 w 1034"/>
                <a:gd name="T91" fmla="*/ 598 h 1208"/>
                <a:gd name="T92" fmla="*/ 250 w 1034"/>
                <a:gd name="T93" fmla="*/ 769 h 1208"/>
                <a:gd name="T94" fmla="*/ 390 w 1034"/>
                <a:gd name="T95" fmla="*/ 382 h 1208"/>
                <a:gd name="T96" fmla="*/ 503 w 1034"/>
                <a:gd name="T97" fmla="*/ 431 h 1208"/>
                <a:gd name="T98" fmla="*/ 603 w 1034"/>
                <a:gd name="T99" fmla="*/ 381 h 1208"/>
                <a:gd name="T100" fmla="*/ 722 w 1034"/>
                <a:gd name="T101" fmla="*/ 607 h 1208"/>
                <a:gd name="T102" fmla="*/ 685 w 1034"/>
                <a:gd name="T103" fmla="*/ 830 h 1208"/>
                <a:gd name="T104" fmla="*/ 1003 w 1034"/>
                <a:gd name="T105" fmla="*/ 1035 h 1208"/>
                <a:gd name="T106" fmla="*/ 678 w 1034"/>
                <a:gd name="T107" fmla="*/ 1154 h 1208"/>
                <a:gd name="T108" fmla="*/ 712 w 1034"/>
                <a:gd name="T109" fmla="*/ 832 h 1208"/>
                <a:gd name="T110" fmla="*/ 914 w 1034"/>
                <a:gd name="T111" fmla="*/ 856 h 1208"/>
                <a:gd name="T112" fmla="*/ 1002 w 1034"/>
                <a:gd name="T113" fmla="*/ 986 h 1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34" h="1208">
                  <a:moveTo>
                    <a:pt x="1026" y="993"/>
                  </a:moveTo>
                  <a:cubicBezTo>
                    <a:pt x="1022" y="986"/>
                    <a:pt x="1016" y="981"/>
                    <a:pt x="1012" y="978"/>
                  </a:cubicBezTo>
                  <a:cubicBezTo>
                    <a:pt x="1009" y="975"/>
                    <a:pt x="1006" y="973"/>
                    <a:pt x="1003" y="972"/>
                  </a:cubicBezTo>
                  <a:cubicBezTo>
                    <a:pt x="1002" y="971"/>
                    <a:pt x="1001" y="970"/>
                    <a:pt x="1000" y="969"/>
                  </a:cubicBezTo>
                  <a:cubicBezTo>
                    <a:pt x="996" y="966"/>
                    <a:pt x="992" y="963"/>
                    <a:pt x="988" y="960"/>
                  </a:cubicBezTo>
                  <a:cubicBezTo>
                    <a:pt x="984" y="957"/>
                    <a:pt x="980" y="953"/>
                    <a:pt x="976" y="950"/>
                  </a:cubicBezTo>
                  <a:cubicBezTo>
                    <a:pt x="966" y="943"/>
                    <a:pt x="960" y="937"/>
                    <a:pt x="956" y="931"/>
                  </a:cubicBezTo>
                  <a:cubicBezTo>
                    <a:pt x="956" y="931"/>
                    <a:pt x="955" y="931"/>
                    <a:pt x="955" y="930"/>
                  </a:cubicBezTo>
                  <a:cubicBezTo>
                    <a:pt x="948" y="923"/>
                    <a:pt x="945" y="917"/>
                    <a:pt x="944" y="910"/>
                  </a:cubicBezTo>
                  <a:cubicBezTo>
                    <a:pt x="943" y="906"/>
                    <a:pt x="943" y="901"/>
                    <a:pt x="943" y="894"/>
                  </a:cubicBezTo>
                  <a:cubicBezTo>
                    <a:pt x="943" y="893"/>
                    <a:pt x="943" y="892"/>
                    <a:pt x="943" y="892"/>
                  </a:cubicBezTo>
                  <a:cubicBezTo>
                    <a:pt x="942" y="884"/>
                    <a:pt x="941" y="876"/>
                    <a:pt x="937" y="867"/>
                  </a:cubicBezTo>
                  <a:cubicBezTo>
                    <a:pt x="934" y="862"/>
                    <a:pt x="931" y="856"/>
                    <a:pt x="925" y="850"/>
                  </a:cubicBezTo>
                  <a:cubicBezTo>
                    <a:pt x="919" y="843"/>
                    <a:pt x="909" y="839"/>
                    <a:pt x="903" y="837"/>
                  </a:cubicBezTo>
                  <a:cubicBezTo>
                    <a:pt x="903" y="837"/>
                    <a:pt x="903" y="837"/>
                    <a:pt x="902" y="837"/>
                  </a:cubicBezTo>
                  <a:cubicBezTo>
                    <a:pt x="908" y="826"/>
                    <a:pt x="911" y="814"/>
                    <a:pt x="914" y="803"/>
                  </a:cubicBezTo>
                  <a:cubicBezTo>
                    <a:pt x="919" y="776"/>
                    <a:pt x="916" y="747"/>
                    <a:pt x="911" y="720"/>
                  </a:cubicBezTo>
                  <a:cubicBezTo>
                    <a:pt x="905" y="682"/>
                    <a:pt x="894" y="646"/>
                    <a:pt x="880" y="610"/>
                  </a:cubicBezTo>
                  <a:cubicBezTo>
                    <a:pt x="869" y="584"/>
                    <a:pt x="857" y="558"/>
                    <a:pt x="841" y="536"/>
                  </a:cubicBezTo>
                  <a:cubicBezTo>
                    <a:pt x="824" y="514"/>
                    <a:pt x="803" y="496"/>
                    <a:pt x="787" y="473"/>
                  </a:cubicBezTo>
                  <a:cubicBezTo>
                    <a:pt x="778" y="461"/>
                    <a:pt x="771" y="449"/>
                    <a:pt x="762" y="437"/>
                  </a:cubicBezTo>
                  <a:cubicBezTo>
                    <a:pt x="759" y="430"/>
                    <a:pt x="755" y="422"/>
                    <a:pt x="752" y="415"/>
                  </a:cubicBezTo>
                  <a:cubicBezTo>
                    <a:pt x="741" y="392"/>
                    <a:pt x="732" y="369"/>
                    <a:pt x="719" y="346"/>
                  </a:cubicBezTo>
                  <a:cubicBezTo>
                    <a:pt x="717" y="343"/>
                    <a:pt x="715" y="339"/>
                    <a:pt x="713" y="336"/>
                  </a:cubicBezTo>
                  <a:cubicBezTo>
                    <a:pt x="711" y="315"/>
                    <a:pt x="709" y="294"/>
                    <a:pt x="708" y="273"/>
                  </a:cubicBezTo>
                  <a:cubicBezTo>
                    <a:pt x="706" y="230"/>
                    <a:pt x="708" y="186"/>
                    <a:pt x="697" y="145"/>
                  </a:cubicBezTo>
                  <a:cubicBezTo>
                    <a:pt x="692" y="125"/>
                    <a:pt x="683" y="106"/>
                    <a:pt x="672" y="89"/>
                  </a:cubicBezTo>
                  <a:cubicBezTo>
                    <a:pt x="659" y="68"/>
                    <a:pt x="642" y="50"/>
                    <a:pt x="623" y="35"/>
                  </a:cubicBezTo>
                  <a:cubicBezTo>
                    <a:pt x="591" y="12"/>
                    <a:pt x="552" y="1"/>
                    <a:pt x="513" y="0"/>
                  </a:cubicBezTo>
                  <a:cubicBezTo>
                    <a:pt x="485" y="0"/>
                    <a:pt x="456" y="6"/>
                    <a:pt x="430" y="19"/>
                  </a:cubicBezTo>
                  <a:cubicBezTo>
                    <a:pt x="403" y="34"/>
                    <a:pt x="382" y="57"/>
                    <a:pt x="368" y="84"/>
                  </a:cubicBezTo>
                  <a:cubicBezTo>
                    <a:pt x="354" y="112"/>
                    <a:pt x="349" y="142"/>
                    <a:pt x="348" y="173"/>
                  </a:cubicBezTo>
                  <a:cubicBezTo>
                    <a:pt x="347" y="203"/>
                    <a:pt x="350" y="233"/>
                    <a:pt x="351" y="262"/>
                  </a:cubicBezTo>
                  <a:cubicBezTo>
                    <a:pt x="352" y="294"/>
                    <a:pt x="352" y="325"/>
                    <a:pt x="354" y="356"/>
                  </a:cubicBezTo>
                  <a:cubicBezTo>
                    <a:pt x="355" y="366"/>
                    <a:pt x="356" y="376"/>
                    <a:pt x="356" y="386"/>
                  </a:cubicBezTo>
                  <a:cubicBezTo>
                    <a:pt x="356" y="391"/>
                    <a:pt x="356" y="395"/>
                    <a:pt x="356" y="400"/>
                  </a:cubicBezTo>
                  <a:cubicBezTo>
                    <a:pt x="356" y="401"/>
                    <a:pt x="355" y="401"/>
                    <a:pt x="355" y="402"/>
                  </a:cubicBezTo>
                  <a:cubicBezTo>
                    <a:pt x="351" y="412"/>
                    <a:pt x="346" y="421"/>
                    <a:pt x="341" y="430"/>
                  </a:cubicBezTo>
                  <a:cubicBezTo>
                    <a:pt x="331" y="443"/>
                    <a:pt x="321" y="455"/>
                    <a:pt x="311" y="468"/>
                  </a:cubicBezTo>
                  <a:cubicBezTo>
                    <a:pt x="299" y="482"/>
                    <a:pt x="288" y="497"/>
                    <a:pt x="276" y="511"/>
                  </a:cubicBezTo>
                  <a:cubicBezTo>
                    <a:pt x="262" y="529"/>
                    <a:pt x="248" y="546"/>
                    <a:pt x="239" y="567"/>
                  </a:cubicBezTo>
                  <a:cubicBezTo>
                    <a:pt x="231" y="584"/>
                    <a:pt x="227" y="604"/>
                    <a:pt x="221" y="622"/>
                  </a:cubicBezTo>
                  <a:cubicBezTo>
                    <a:pt x="215" y="643"/>
                    <a:pt x="207" y="664"/>
                    <a:pt x="198" y="683"/>
                  </a:cubicBezTo>
                  <a:cubicBezTo>
                    <a:pt x="189" y="702"/>
                    <a:pt x="179" y="720"/>
                    <a:pt x="170" y="738"/>
                  </a:cubicBezTo>
                  <a:cubicBezTo>
                    <a:pt x="163" y="751"/>
                    <a:pt x="156" y="764"/>
                    <a:pt x="153" y="778"/>
                  </a:cubicBezTo>
                  <a:cubicBezTo>
                    <a:pt x="151" y="790"/>
                    <a:pt x="153" y="802"/>
                    <a:pt x="156" y="813"/>
                  </a:cubicBezTo>
                  <a:cubicBezTo>
                    <a:pt x="156" y="813"/>
                    <a:pt x="156" y="814"/>
                    <a:pt x="156" y="814"/>
                  </a:cubicBezTo>
                  <a:cubicBezTo>
                    <a:pt x="155" y="816"/>
                    <a:pt x="153" y="817"/>
                    <a:pt x="152" y="819"/>
                  </a:cubicBezTo>
                  <a:cubicBezTo>
                    <a:pt x="151" y="819"/>
                    <a:pt x="151" y="820"/>
                    <a:pt x="151" y="820"/>
                  </a:cubicBezTo>
                  <a:cubicBezTo>
                    <a:pt x="147" y="824"/>
                    <a:pt x="142" y="831"/>
                    <a:pt x="138" y="840"/>
                  </a:cubicBezTo>
                  <a:cubicBezTo>
                    <a:pt x="135" y="845"/>
                    <a:pt x="132" y="850"/>
                    <a:pt x="130" y="854"/>
                  </a:cubicBezTo>
                  <a:cubicBezTo>
                    <a:pt x="126" y="858"/>
                    <a:pt x="123" y="861"/>
                    <a:pt x="119" y="864"/>
                  </a:cubicBezTo>
                  <a:cubicBezTo>
                    <a:pt x="115" y="866"/>
                    <a:pt x="111" y="867"/>
                    <a:pt x="107" y="867"/>
                  </a:cubicBezTo>
                  <a:cubicBezTo>
                    <a:pt x="106" y="867"/>
                    <a:pt x="106" y="867"/>
                    <a:pt x="105" y="867"/>
                  </a:cubicBezTo>
                  <a:cubicBezTo>
                    <a:pt x="101" y="868"/>
                    <a:pt x="97" y="867"/>
                    <a:pt x="93" y="867"/>
                  </a:cubicBezTo>
                  <a:cubicBezTo>
                    <a:pt x="90" y="867"/>
                    <a:pt x="88" y="867"/>
                    <a:pt x="85" y="867"/>
                  </a:cubicBezTo>
                  <a:cubicBezTo>
                    <a:pt x="78" y="867"/>
                    <a:pt x="69" y="867"/>
                    <a:pt x="61" y="869"/>
                  </a:cubicBezTo>
                  <a:cubicBezTo>
                    <a:pt x="50" y="871"/>
                    <a:pt x="41" y="876"/>
                    <a:pt x="34" y="883"/>
                  </a:cubicBezTo>
                  <a:cubicBezTo>
                    <a:pt x="26" y="890"/>
                    <a:pt x="21" y="900"/>
                    <a:pt x="19" y="911"/>
                  </a:cubicBezTo>
                  <a:cubicBezTo>
                    <a:pt x="17" y="919"/>
                    <a:pt x="17" y="928"/>
                    <a:pt x="18" y="938"/>
                  </a:cubicBezTo>
                  <a:cubicBezTo>
                    <a:pt x="19" y="947"/>
                    <a:pt x="20" y="956"/>
                    <a:pt x="21" y="964"/>
                  </a:cubicBezTo>
                  <a:cubicBezTo>
                    <a:pt x="22" y="973"/>
                    <a:pt x="23" y="981"/>
                    <a:pt x="23" y="989"/>
                  </a:cubicBezTo>
                  <a:cubicBezTo>
                    <a:pt x="24" y="1007"/>
                    <a:pt x="22" y="1021"/>
                    <a:pt x="18" y="1031"/>
                  </a:cubicBezTo>
                  <a:cubicBezTo>
                    <a:pt x="17" y="1032"/>
                    <a:pt x="17" y="1032"/>
                    <a:pt x="17" y="1032"/>
                  </a:cubicBezTo>
                  <a:cubicBezTo>
                    <a:pt x="16" y="1036"/>
                    <a:pt x="14" y="1039"/>
                    <a:pt x="12" y="1043"/>
                  </a:cubicBezTo>
                  <a:cubicBezTo>
                    <a:pt x="9" y="1049"/>
                    <a:pt x="6" y="1055"/>
                    <a:pt x="4" y="1062"/>
                  </a:cubicBezTo>
                  <a:cubicBezTo>
                    <a:pt x="1" y="1068"/>
                    <a:pt x="0" y="1075"/>
                    <a:pt x="0" y="1082"/>
                  </a:cubicBezTo>
                  <a:cubicBezTo>
                    <a:pt x="0" y="1086"/>
                    <a:pt x="0" y="1096"/>
                    <a:pt x="5" y="1104"/>
                  </a:cubicBezTo>
                  <a:cubicBezTo>
                    <a:pt x="5" y="1105"/>
                    <a:pt x="5" y="1105"/>
                    <a:pt x="6" y="1106"/>
                  </a:cubicBezTo>
                  <a:cubicBezTo>
                    <a:pt x="11" y="1113"/>
                    <a:pt x="18" y="1119"/>
                    <a:pt x="28" y="1124"/>
                  </a:cubicBezTo>
                  <a:cubicBezTo>
                    <a:pt x="35" y="1128"/>
                    <a:pt x="43" y="1130"/>
                    <a:pt x="52" y="1132"/>
                  </a:cubicBezTo>
                  <a:cubicBezTo>
                    <a:pt x="57" y="1133"/>
                    <a:pt x="63" y="1135"/>
                    <a:pt x="69" y="1137"/>
                  </a:cubicBezTo>
                  <a:cubicBezTo>
                    <a:pt x="78" y="1140"/>
                    <a:pt x="86" y="1143"/>
                    <a:pt x="95" y="1145"/>
                  </a:cubicBezTo>
                  <a:cubicBezTo>
                    <a:pt x="114" y="1151"/>
                    <a:pt x="134" y="1156"/>
                    <a:pt x="154" y="1160"/>
                  </a:cubicBezTo>
                  <a:cubicBezTo>
                    <a:pt x="183" y="1166"/>
                    <a:pt x="211" y="1173"/>
                    <a:pt x="238" y="1183"/>
                  </a:cubicBezTo>
                  <a:cubicBezTo>
                    <a:pt x="244" y="1185"/>
                    <a:pt x="249" y="1187"/>
                    <a:pt x="255" y="1190"/>
                  </a:cubicBezTo>
                  <a:cubicBezTo>
                    <a:pt x="273" y="1198"/>
                    <a:pt x="292" y="1206"/>
                    <a:pt x="313" y="1207"/>
                  </a:cubicBezTo>
                  <a:cubicBezTo>
                    <a:pt x="314" y="1207"/>
                    <a:pt x="314" y="1207"/>
                    <a:pt x="314" y="1207"/>
                  </a:cubicBezTo>
                  <a:cubicBezTo>
                    <a:pt x="333" y="1207"/>
                    <a:pt x="351" y="1202"/>
                    <a:pt x="366" y="1193"/>
                  </a:cubicBezTo>
                  <a:cubicBezTo>
                    <a:pt x="382" y="1183"/>
                    <a:pt x="395" y="1170"/>
                    <a:pt x="404" y="1154"/>
                  </a:cubicBezTo>
                  <a:cubicBezTo>
                    <a:pt x="404" y="1154"/>
                    <a:pt x="404" y="1154"/>
                    <a:pt x="404" y="1153"/>
                  </a:cubicBezTo>
                  <a:cubicBezTo>
                    <a:pt x="409" y="1145"/>
                    <a:pt x="412" y="1135"/>
                    <a:pt x="414" y="1125"/>
                  </a:cubicBezTo>
                  <a:cubicBezTo>
                    <a:pt x="428" y="1122"/>
                    <a:pt x="442" y="1120"/>
                    <a:pt x="457" y="1119"/>
                  </a:cubicBezTo>
                  <a:cubicBezTo>
                    <a:pt x="461" y="1119"/>
                    <a:pt x="466" y="1119"/>
                    <a:pt x="471" y="1119"/>
                  </a:cubicBezTo>
                  <a:cubicBezTo>
                    <a:pt x="483" y="1120"/>
                    <a:pt x="496" y="1120"/>
                    <a:pt x="508" y="1120"/>
                  </a:cubicBezTo>
                  <a:cubicBezTo>
                    <a:pt x="509" y="1120"/>
                    <a:pt x="510" y="1120"/>
                    <a:pt x="511" y="1120"/>
                  </a:cubicBezTo>
                  <a:cubicBezTo>
                    <a:pt x="515" y="1120"/>
                    <a:pt x="518" y="1120"/>
                    <a:pt x="522" y="1121"/>
                  </a:cubicBezTo>
                  <a:cubicBezTo>
                    <a:pt x="544" y="1122"/>
                    <a:pt x="566" y="1124"/>
                    <a:pt x="588" y="1127"/>
                  </a:cubicBezTo>
                  <a:cubicBezTo>
                    <a:pt x="607" y="1130"/>
                    <a:pt x="626" y="1134"/>
                    <a:pt x="645" y="1139"/>
                  </a:cubicBezTo>
                  <a:cubicBezTo>
                    <a:pt x="648" y="1140"/>
                    <a:pt x="651" y="1140"/>
                    <a:pt x="654" y="1141"/>
                  </a:cubicBezTo>
                  <a:cubicBezTo>
                    <a:pt x="655" y="1150"/>
                    <a:pt x="658" y="1159"/>
                    <a:pt x="664" y="1167"/>
                  </a:cubicBezTo>
                  <a:cubicBezTo>
                    <a:pt x="674" y="1183"/>
                    <a:pt x="691" y="1192"/>
                    <a:pt x="703" y="1197"/>
                  </a:cubicBezTo>
                  <a:cubicBezTo>
                    <a:pt x="720" y="1204"/>
                    <a:pt x="737" y="1208"/>
                    <a:pt x="753" y="1208"/>
                  </a:cubicBezTo>
                  <a:cubicBezTo>
                    <a:pt x="758" y="1208"/>
                    <a:pt x="763" y="1208"/>
                    <a:pt x="768" y="1207"/>
                  </a:cubicBezTo>
                  <a:cubicBezTo>
                    <a:pt x="786" y="1205"/>
                    <a:pt x="803" y="1197"/>
                    <a:pt x="821" y="1185"/>
                  </a:cubicBezTo>
                  <a:cubicBezTo>
                    <a:pt x="830" y="1177"/>
                    <a:pt x="840" y="1169"/>
                    <a:pt x="848" y="1161"/>
                  </a:cubicBezTo>
                  <a:cubicBezTo>
                    <a:pt x="851" y="1158"/>
                    <a:pt x="854" y="1155"/>
                    <a:pt x="857" y="1153"/>
                  </a:cubicBezTo>
                  <a:cubicBezTo>
                    <a:pt x="869" y="1142"/>
                    <a:pt x="883" y="1129"/>
                    <a:pt x="899" y="1119"/>
                  </a:cubicBezTo>
                  <a:cubicBezTo>
                    <a:pt x="914" y="1110"/>
                    <a:pt x="930" y="1102"/>
                    <a:pt x="947" y="1093"/>
                  </a:cubicBezTo>
                  <a:cubicBezTo>
                    <a:pt x="955" y="1089"/>
                    <a:pt x="963" y="1085"/>
                    <a:pt x="971" y="1081"/>
                  </a:cubicBezTo>
                  <a:cubicBezTo>
                    <a:pt x="986" y="1074"/>
                    <a:pt x="1003" y="1065"/>
                    <a:pt x="1016" y="1049"/>
                  </a:cubicBezTo>
                  <a:cubicBezTo>
                    <a:pt x="1022" y="1042"/>
                    <a:pt x="1026" y="1035"/>
                    <a:pt x="1030" y="1026"/>
                  </a:cubicBezTo>
                  <a:cubicBezTo>
                    <a:pt x="1030" y="1026"/>
                    <a:pt x="1030" y="1025"/>
                    <a:pt x="1030" y="1025"/>
                  </a:cubicBezTo>
                  <a:cubicBezTo>
                    <a:pt x="1034" y="1014"/>
                    <a:pt x="1032" y="1003"/>
                    <a:pt x="1026" y="993"/>
                  </a:cubicBezTo>
                  <a:close/>
                  <a:moveTo>
                    <a:pt x="773" y="587"/>
                  </a:moveTo>
                  <a:cubicBezTo>
                    <a:pt x="799" y="606"/>
                    <a:pt x="817" y="635"/>
                    <a:pt x="822" y="667"/>
                  </a:cubicBezTo>
                  <a:cubicBezTo>
                    <a:pt x="827" y="692"/>
                    <a:pt x="827" y="713"/>
                    <a:pt x="820" y="742"/>
                  </a:cubicBezTo>
                  <a:cubicBezTo>
                    <a:pt x="815" y="761"/>
                    <a:pt x="808" y="779"/>
                    <a:pt x="801" y="798"/>
                  </a:cubicBezTo>
                  <a:cubicBezTo>
                    <a:pt x="808" y="798"/>
                    <a:pt x="814" y="798"/>
                    <a:pt x="821" y="799"/>
                  </a:cubicBezTo>
                  <a:cubicBezTo>
                    <a:pt x="828" y="801"/>
                    <a:pt x="835" y="802"/>
                    <a:pt x="842" y="803"/>
                  </a:cubicBezTo>
                  <a:cubicBezTo>
                    <a:pt x="844" y="803"/>
                    <a:pt x="846" y="804"/>
                    <a:pt x="848" y="804"/>
                  </a:cubicBezTo>
                  <a:cubicBezTo>
                    <a:pt x="851" y="805"/>
                    <a:pt x="853" y="805"/>
                    <a:pt x="856" y="806"/>
                  </a:cubicBezTo>
                  <a:cubicBezTo>
                    <a:pt x="851" y="805"/>
                    <a:pt x="846" y="805"/>
                    <a:pt x="842" y="805"/>
                  </a:cubicBezTo>
                  <a:cubicBezTo>
                    <a:pt x="836" y="805"/>
                    <a:pt x="831" y="805"/>
                    <a:pt x="826" y="805"/>
                  </a:cubicBezTo>
                  <a:cubicBezTo>
                    <a:pt x="820" y="805"/>
                    <a:pt x="814" y="805"/>
                    <a:pt x="808" y="806"/>
                  </a:cubicBezTo>
                  <a:cubicBezTo>
                    <a:pt x="804" y="806"/>
                    <a:pt x="801" y="807"/>
                    <a:pt x="797" y="807"/>
                  </a:cubicBezTo>
                  <a:cubicBezTo>
                    <a:pt x="795" y="808"/>
                    <a:pt x="792" y="808"/>
                    <a:pt x="790" y="809"/>
                  </a:cubicBezTo>
                  <a:cubicBezTo>
                    <a:pt x="790" y="810"/>
                    <a:pt x="790" y="810"/>
                    <a:pt x="790" y="809"/>
                  </a:cubicBezTo>
                  <a:cubicBezTo>
                    <a:pt x="788" y="810"/>
                    <a:pt x="785" y="811"/>
                    <a:pt x="783" y="812"/>
                  </a:cubicBezTo>
                  <a:cubicBezTo>
                    <a:pt x="776" y="815"/>
                    <a:pt x="771" y="819"/>
                    <a:pt x="765" y="823"/>
                  </a:cubicBezTo>
                  <a:cubicBezTo>
                    <a:pt x="764" y="824"/>
                    <a:pt x="762" y="824"/>
                    <a:pt x="761" y="825"/>
                  </a:cubicBezTo>
                  <a:cubicBezTo>
                    <a:pt x="764" y="820"/>
                    <a:pt x="768" y="814"/>
                    <a:pt x="773" y="810"/>
                  </a:cubicBezTo>
                  <a:cubicBezTo>
                    <a:pt x="779" y="804"/>
                    <a:pt x="786" y="800"/>
                    <a:pt x="794" y="799"/>
                  </a:cubicBezTo>
                  <a:cubicBezTo>
                    <a:pt x="794" y="799"/>
                    <a:pt x="794" y="799"/>
                    <a:pt x="794" y="799"/>
                  </a:cubicBezTo>
                  <a:cubicBezTo>
                    <a:pt x="800" y="781"/>
                    <a:pt x="806" y="762"/>
                    <a:pt x="811" y="743"/>
                  </a:cubicBezTo>
                  <a:cubicBezTo>
                    <a:pt x="816" y="719"/>
                    <a:pt x="819" y="694"/>
                    <a:pt x="815" y="670"/>
                  </a:cubicBezTo>
                  <a:cubicBezTo>
                    <a:pt x="810" y="640"/>
                    <a:pt x="795" y="610"/>
                    <a:pt x="770" y="590"/>
                  </a:cubicBezTo>
                  <a:cubicBezTo>
                    <a:pt x="757" y="579"/>
                    <a:pt x="740" y="571"/>
                    <a:pt x="726" y="560"/>
                  </a:cubicBezTo>
                  <a:cubicBezTo>
                    <a:pt x="742" y="569"/>
                    <a:pt x="758" y="576"/>
                    <a:pt x="773" y="587"/>
                  </a:cubicBezTo>
                  <a:close/>
                  <a:moveTo>
                    <a:pt x="575" y="143"/>
                  </a:moveTo>
                  <a:cubicBezTo>
                    <a:pt x="581" y="143"/>
                    <a:pt x="586" y="143"/>
                    <a:pt x="592" y="147"/>
                  </a:cubicBezTo>
                  <a:cubicBezTo>
                    <a:pt x="605" y="156"/>
                    <a:pt x="611" y="165"/>
                    <a:pt x="616" y="177"/>
                  </a:cubicBezTo>
                  <a:cubicBezTo>
                    <a:pt x="617" y="180"/>
                    <a:pt x="618" y="185"/>
                    <a:pt x="617" y="187"/>
                  </a:cubicBezTo>
                  <a:cubicBezTo>
                    <a:pt x="610" y="174"/>
                    <a:pt x="601" y="162"/>
                    <a:pt x="589" y="154"/>
                  </a:cubicBezTo>
                  <a:cubicBezTo>
                    <a:pt x="583" y="150"/>
                    <a:pt x="576" y="147"/>
                    <a:pt x="569" y="146"/>
                  </a:cubicBezTo>
                  <a:cubicBezTo>
                    <a:pt x="570" y="143"/>
                    <a:pt x="573" y="143"/>
                    <a:pt x="575" y="143"/>
                  </a:cubicBezTo>
                  <a:close/>
                  <a:moveTo>
                    <a:pt x="508" y="209"/>
                  </a:moveTo>
                  <a:cubicBezTo>
                    <a:pt x="513" y="196"/>
                    <a:pt x="522" y="186"/>
                    <a:pt x="533" y="178"/>
                  </a:cubicBezTo>
                  <a:cubicBezTo>
                    <a:pt x="536" y="176"/>
                    <a:pt x="540" y="174"/>
                    <a:pt x="544" y="172"/>
                  </a:cubicBezTo>
                  <a:cubicBezTo>
                    <a:pt x="551" y="169"/>
                    <a:pt x="558" y="169"/>
                    <a:pt x="566" y="170"/>
                  </a:cubicBezTo>
                  <a:cubicBezTo>
                    <a:pt x="573" y="171"/>
                    <a:pt x="580" y="173"/>
                    <a:pt x="586" y="177"/>
                  </a:cubicBezTo>
                  <a:cubicBezTo>
                    <a:pt x="598" y="185"/>
                    <a:pt x="607" y="198"/>
                    <a:pt x="612" y="212"/>
                  </a:cubicBezTo>
                  <a:cubicBezTo>
                    <a:pt x="616" y="225"/>
                    <a:pt x="618" y="238"/>
                    <a:pt x="617" y="252"/>
                  </a:cubicBezTo>
                  <a:cubicBezTo>
                    <a:pt x="616" y="263"/>
                    <a:pt x="615" y="273"/>
                    <a:pt x="610" y="283"/>
                  </a:cubicBezTo>
                  <a:cubicBezTo>
                    <a:pt x="608" y="288"/>
                    <a:pt x="605" y="293"/>
                    <a:pt x="601" y="297"/>
                  </a:cubicBezTo>
                  <a:cubicBezTo>
                    <a:pt x="596" y="296"/>
                    <a:pt x="592" y="295"/>
                    <a:pt x="589" y="294"/>
                  </a:cubicBezTo>
                  <a:cubicBezTo>
                    <a:pt x="582" y="292"/>
                    <a:pt x="575" y="290"/>
                    <a:pt x="569" y="288"/>
                  </a:cubicBezTo>
                  <a:cubicBezTo>
                    <a:pt x="573" y="287"/>
                    <a:pt x="576" y="286"/>
                    <a:pt x="580" y="284"/>
                  </a:cubicBezTo>
                  <a:cubicBezTo>
                    <a:pt x="584" y="281"/>
                    <a:pt x="587" y="277"/>
                    <a:pt x="590" y="272"/>
                  </a:cubicBezTo>
                  <a:cubicBezTo>
                    <a:pt x="592" y="268"/>
                    <a:pt x="594" y="263"/>
                    <a:pt x="594" y="258"/>
                  </a:cubicBezTo>
                  <a:cubicBezTo>
                    <a:pt x="595" y="249"/>
                    <a:pt x="594" y="239"/>
                    <a:pt x="590" y="231"/>
                  </a:cubicBezTo>
                  <a:cubicBezTo>
                    <a:pt x="586" y="223"/>
                    <a:pt x="579" y="216"/>
                    <a:pt x="570" y="213"/>
                  </a:cubicBezTo>
                  <a:cubicBezTo>
                    <a:pt x="567" y="212"/>
                    <a:pt x="563" y="211"/>
                    <a:pt x="559" y="212"/>
                  </a:cubicBezTo>
                  <a:cubicBezTo>
                    <a:pt x="554" y="212"/>
                    <a:pt x="550" y="213"/>
                    <a:pt x="547" y="216"/>
                  </a:cubicBezTo>
                  <a:cubicBezTo>
                    <a:pt x="543" y="218"/>
                    <a:pt x="540" y="221"/>
                    <a:pt x="538" y="224"/>
                  </a:cubicBezTo>
                  <a:cubicBezTo>
                    <a:pt x="533" y="231"/>
                    <a:pt x="531" y="240"/>
                    <a:pt x="531" y="248"/>
                  </a:cubicBezTo>
                  <a:cubicBezTo>
                    <a:pt x="530" y="254"/>
                    <a:pt x="531" y="261"/>
                    <a:pt x="533" y="267"/>
                  </a:cubicBezTo>
                  <a:cubicBezTo>
                    <a:pt x="534" y="269"/>
                    <a:pt x="535" y="272"/>
                    <a:pt x="536" y="274"/>
                  </a:cubicBezTo>
                  <a:cubicBezTo>
                    <a:pt x="532" y="272"/>
                    <a:pt x="529" y="269"/>
                    <a:pt x="525" y="267"/>
                  </a:cubicBezTo>
                  <a:cubicBezTo>
                    <a:pt x="522" y="266"/>
                    <a:pt x="519" y="264"/>
                    <a:pt x="516" y="263"/>
                  </a:cubicBezTo>
                  <a:cubicBezTo>
                    <a:pt x="515" y="260"/>
                    <a:pt x="514" y="257"/>
                    <a:pt x="512" y="254"/>
                  </a:cubicBezTo>
                  <a:cubicBezTo>
                    <a:pt x="511" y="251"/>
                    <a:pt x="508" y="247"/>
                    <a:pt x="506" y="244"/>
                  </a:cubicBezTo>
                  <a:cubicBezTo>
                    <a:pt x="504" y="232"/>
                    <a:pt x="504" y="220"/>
                    <a:pt x="508" y="209"/>
                  </a:cubicBezTo>
                  <a:close/>
                  <a:moveTo>
                    <a:pt x="562" y="229"/>
                  </a:moveTo>
                  <a:cubicBezTo>
                    <a:pt x="561" y="227"/>
                    <a:pt x="560" y="225"/>
                    <a:pt x="561" y="224"/>
                  </a:cubicBezTo>
                  <a:cubicBezTo>
                    <a:pt x="562" y="222"/>
                    <a:pt x="565" y="221"/>
                    <a:pt x="568" y="222"/>
                  </a:cubicBezTo>
                  <a:cubicBezTo>
                    <a:pt x="572" y="222"/>
                    <a:pt x="577" y="226"/>
                    <a:pt x="580" y="230"/>
                  </a:cubicBezTo>
                  <a:cubicBezTo>
                    <a:pt x="583" y="235"/>
                    <a:pt x="587" y="242"/>
                    <a:pt x="584" y="248"/>
                  </a:cubicBezTo>
                  <a:cubicBezTo>
                    <a:pt x="584" y="249"/>
                    <a:pt x="582" y="250"/>
                    <a:pt x="580" y="249"/>
                  </a:cubicBezTo>
                  <a:cubicBezTo>
                    <a:pt x="576" y="247"/>
                    <a:pt x="577" y="240"/>
                    <a:pt x="574" y="236"/>
                  </a:cubicBezTo>
                  <a:cubicBezTo>
                    <a:pt x="573" y="234"/>
                    <a:pt x="571" y="233"/>
                    <a:pt x="569" y="232"/>
                  </a:cubicBezTo>
                  <a:cubicBezTo>
                    <a:pt x="567" y="230"/>
                    <a:pt x="564" y="231"/>
                    <a:pt x="562" y="229"/>
                  </a:cubicBezTo>
                  <a:close/>
                  <a:moveTo>
                    <a:pt x="407" y="153"/>
                  </a:moveTo>
                  <a:cubicBezTo>
                    <a:pt x="408" y="153"/>
                    <a:pt x="409" y="152"/>
                    <a:pt x="409" y="153"/>
                  </a:cubicBezTo>
                  <a:cubicBezTo>
                    <a:pt x="415" y="153"/>
                    <a:pt x="420" y="154"/>
                    <a:pt x="424" y="156"/>
                  </a:cubicBezTo>
                  <a:cubicBezTo>
                    <a:pt x="430" y="158"/>
                    <a:pt x="435" y="162"/>
                    <a:pt x="440" y="165"/>
                  </a:cubicBezTo>
                  <a:cubicBezTo>
                    <a:pt x="442" y="167"/>
                    <a:pt x="444" y="168"/>
                    <a:pt x="445" y="170"/>
                  </a:cubicBezTo>
                  <a:cubicBezTo>
                    <a:pt x="449" y="176"/>
                    <a:pt x="451" y="182"/>
                    <a:pt x="452" y="189"/>
                  </a:cubicBezTo>
                  <a:cubicBezTo>
                    <a:pt x="448" y="180"/>
                    <a:pt x="442" y="172"/>
                    <a:pt x="433" y="165"/>
                  </a:cubicBezTo>
                  <a:cubicBezTo>
                    <a:pt x="429" y="161"/>
                    <a:pt x="424" y="158"/>
                    <a:pt x="418" y="156"/>
                  </a:cubicBezTo>
                  <a:cubicBezTo>
                    <a:pt x="414" y="154"/>
                    <a:pt x="410" y="153"/>
                    <a:pt x="406" y="153"/>
                  </a:cubicBezTo>
                  <a:lnTo>
                    <a:pt x="407" y="153"/>
                  </a:lnTo>
                  <a:close/>
                  <a:moveTo>
                    <a:pt x="377" y="205"/>
                  </a:moveTo>
                  <a:cubicBezTo>
                    <a:pt x="379" y="198"/>
                    <a:pt x="383" y="191"/>
                    <a:pt x="388" y="187"/>
                  </a:cubicBezTo>
                  <a:cubicBezTo>
                    <a:pt x="393" y="182"/>
                    <a:pt x="400" y="178"/>
                    <a:pt x="407" y="178"/>
                  </a:cubicBezTo>
                  <a:cubicBezTo>
                    <a:pt x="412" y="178"/>
                    <a:pt x="418" y="179"/>
                    <a:pt x="422" y="181"/>
                  </a:cubicBezTo>
                  <a:cubicBezTo>
                    <a:pt x="427" y="184"/>
                    <a:pt x="432" y="187"/>
                    <a:pt x="435" y="191"/>
                  </a:cubicBezTo>
                  <a:cubicBezTo>
                    <a:pt x="443" y="199"/>
                    <a:pt x="448" y="209"/>
                    <a:pt x="452" y="219"/>
                  </a:cubicBezTo>
                  <a:cubicBezTo>
                    <a:pt x="455" y="229"/>
                    <a:pt x="457" y="239"/>
                    <a:pt x="457" y="249"/>
                  </a:cubicBezTo>
                  <a:cubicBezTo>
                    <a:pt x="454" y="253"/>
                    <a:pt x="451" y="257"/>
                    <a:pt x="448" y="261"/>
                  </a:cubicBezTo>
                  <a:cubicBezTo>
                    <a:pt x="444" y="262"/>
                    <a:pt x="440" y="264"/>
                    <a:pt x="436" y="266"/>
                  </a:cubicBezTo>
                  <a:cubicBezTo>
                    <a:pt x="438" y="258"/>
                    <a:pt x="437" y="249"/>
                    <a:pt x="435" y="240"/>
                  </a:cubicBezTo>
                  <a:cubicBezTo>
                    <a:pt x="432" y="233"/>
                    <a:pt x="429" y="226"/>
                    <a:pt x="423" y="221"/>
                  </a:cubicBezTo>
                  <a:cubicBezTo>
                    <a:pt x="420" y="218"/>
                    <a:pt x="416" y="216"/>
                    <a:pt x="413" y="216"/>
                  </a:cubicBezTo>
                  <a:cubicBezTo>
                    <a:pt x="409" y="215"/>
                    <a:pt x="405" y="215"/>
                    <a:pt x="402" y="217"/>
                  </a:cubicBezTo>
                  <a:cubicBezTo>
                    <a:pt x="398" y="218"/>
                    <a:pt x="395" y="221"/>
                    <a:pt x="393" y="225"/>
                  </a:cubicBezTo>
                  <a:cubicBezTo>
                    <a:pt x="391" y="229"/>
                    <a:pt x="390" y="233"/>
                    <a:pt x="390" y="237"/>
                  </a:cubicBezTo>
                  <a:cubicBezTo>
                    <a:pt x="388" y="246"/>
                    <a:pt x="388" y="255"/>
                    <a:pt x="391" y="264"/>
                  </a:cubicBezTo>
                  <a:cubicBezTo>
                    <a:pt x="393" y="270"/>
                    <a:pt x="397" y="275"/>
                    <a:pt x="401" y="279"/>
                  </a:cubicBezTo>
                  <a:cubicBezTo>
                    <a:pt x="403" y="282"/>
                    <a:pt x="406" y="284"/>
                    <a:pt x="409" y="286"/>
                  </a:cubicBezTo>
                  <a:cubicBezTo>
                    <a:pt x="407" y="288"/>
                    <a:pt x="404" y="290"/>
                    <a:pt x="402" y="293"/>
                  </a:cubicBezTo>
                  <a:cubicBezTo>
                    <a:pt x="399" y="296"/>
                    <a:pt x="395" y="299"/>
                    <a:pt x="392" y="302"/>
                  </a:cubicBezTo>
                  <a:cubicBezTo>
                    <a:pt x="392" y="302"/>
                    <a:pt x="391" y="301"/>
                    <a:pt x="391" y="301"/>
                  </a:cubicBezTo>
                  <a:cubicBezTo>
                    <a:pt x="387" y="297"/>
                    <a:pt x="383" y="291"/>
                    <a:pt x="381" y="285"/>
                  </a:cubicBezTo>
                  <a:cubicBezTo>
                    <a:pt x="376" y="273"/>
                    <a:pt x="375" y="260"/>
                    <a:pt x="374" y="247"/>
                  </a:cubicBezTo>
                  <a:cubicBezTo>
                    <a:pt x="373" y="233"/>
                    <a:pt x="372" y="218"/>
                    <a:pt x="377" y="205"/>
                  </a:cubicBezTo>
                  <a:close/>
                  <a:moveTo>
                    <a:pt x="421" y="239"/>
                  </a:moveTo>
                  <a:cubicBezTo>
                    <a:pt x="421" y="237"/>
                    <a:pt x="419" y="236"/>
                    <a:pt x="418" y="234"/>
                  </a:cubicBezTo>
                  <a:cubicBezTo>
                    <a:pt x="416" y="232"/>
                    <a:pt x="414" y="232"/>
                    <a:pt x="413" y="229"/>
                  </a:cubicBezTo>
                  <a:cubicBezTo>
                    <a:pt x="413" y="228"/>
                    <a:pt x="412" y="226"/>
                    <a:pt x="413" y="225"/>
                  </a:cubicBezTo>
                  <a:cubicBezTo>
                    <a:pt x="415" y="224"/>
                    <a:pt x="418" y="225"/>
                    <a:pt x="420" y="226"/>
                  </a:cubicBezTo>
                  <a:cubicBezTo>
                    <a:pt x="424" y="228"/>
                    <a:pt x="427" y="232"/>
                    <a:pt x="428" y="236"/>
                  </a:cubicBezTo>
                  <a:cubicBezTo>
                    <a:pt x="430" y="241"/>
                    <a:pt x="430" y="248"/>
                    <a:pt x="427" y="252"/>
                  </a:cubicBezTo>
                  <a:cubicBezTo>
                    <a:pt x="426" y="253"/>
                    <a:pt x="424" y="253"/>
                    <a:pt x="423" y="252"/>
                  </a:cubicBezTo>
                  <a:cubicBezTo>
                    <a:pt x="420" y="249"/>
                    <a:pt x="423" y="243"/>
                    <a:pt x="421" y="239"/>
                  </a:cubicBezTo>
                  <a:close/>
                  <a:moveTo>
                    <a:pt x="371" y="342"/>
                  </a:moveTo>
                  <a:cubicBezTo>
                    <a:pt x="372" y="338"/>
                    <a:pt x="372" y="334"/>
                    <a:pt x="374" y="330"/>
                  </a:cubicBezTo>
                  <a:cubicBezTo>
                    <a:pt x="375" y="324"/>
                    <a:pt x="378" y="320"/>
                    <a:pt x="382" y="316"/>
                  </a:cubicBezTo>
                  <a:cubicBezTo>
                    <a:pt x="388" y="309"/>
                    <a:pt x="395" y="302"/>
                    <a:pt x="402" y="297"/>
                  </a:cubicBezTo>
                  <a:cubicBezTo>
                    <a:pt x="415" y="282"/>
                    <a:pt x="432" y="270"/>
                    <a:pt x="451" y="264"/>
                  </a:cubicBezTo>
                  <a:cubicBezTo>
                    <a:pt x="467" y="258"/>
                    <a:pt x="486" y="257"/>
                    <a:pt x="503" y="262"/>
                  </a:cubicBezTo>
                  <a:cubicBezTo>
                    <a:pt x="510" y="264"/>
                    <a:pt x="518" y="268"/>
                    <a:pt x="525" y="271"/>
                  </a:cubicBezTo>
                  <a:cubicBezTo>
                    <a:pt x="531" y="275"/>
                    <a:pt x="538" y="279"/>
                    <a:pt x="545" y="282"/>
                  </a:cubicBezTo>
                  <a:cubicBezTo>
                    <a:pt x="559" y="289"/>
                    <a:pt x="573" y="294"/>
                    <a:pt x="589" y="298"/>
                  </a:cubicBezTo>
                  <a:cubicBezTo>
                    <a:pt x="593" y="299"/>
                    <a:pt x="598" y="300"/>
                    <a:pt x="603" y="302"/>
                  </a:cubicBezTo>
                  <a:cubicBezTo>
                    <a:pt x="606" y="304"/>
                    <a:pt x="610" y="306"/>
                    <a:pt x="612" y="309"/>
                  </a:cubicBezTo>
                  <a:cubicBezTo>
                    <a:pt x="612" y="309"/>
                    <a:pt x="612" y="310"/>
                    <a:pt x="612" y="310"/>
                  </a:cubicBezTo>
                  <a:cubicBezTo>
                    <a:pt x="612" y="310"/>
                    <a:pt x="613" y="311"/>
                    <a:pt x="613" y="311"/>
                  </a:cubicBezTo>
                  <a:cubicBezTo>
                    <a:pt x="614" y="314"/>
                    <a:pt x="615" y="317"/>
                    <a:pt x="616" y="319"/>
                  </a:cubicBezTo>
                  <a:cubicBezTo>
                    <a:pt x="616" y="322"/>
                    <a:pt x="616" y="325"/>
                    <a:pt x="616" y="328"/>
                  </a:cubicBezTo>
                  <a:cubicBezTo>
                    <a:pt x="615" y="334"/>
                    <a:pt x="613" y="340"/>
                    <a:pt x="613" y="346"/>
                  </a:cubicBezTo>
                  <a:cubicBezTo>
                    <a:pt x="612" y="350"/>
                    <a:pt x="612" y="355"/>
                    <a:pt x="610" y="359"/>
                  </a:cubicBezTo>
                  <a:cubicBezTo>
                    <a:pt x="608" y="363"/>
                    <a:pt x="604" y="366"/>
                    <a:pt x="600" y="368"/>
                  </a:cubicBezTo>
                  <a:cubicBezTo>
                    <a:pt x="596" y="370"/>
                    <a:pt x="591" y="372"/>
                    <a:pt x="586" y="373"/>
                  </a:cubicBezTo>
                  <a:cubicBezTo>
                    <a:pt x="566" y="381"/>
                    <a:pt x="551" y="397"/>
                    <a:pt x="532" y="409"/>
                  </a:cubicBezTo>
                  <a:cubicBezTo>
                    <a:pt x="522" y="415"/>
                    <a:pt x="512" y="419"/>
                    <a:pt x="501" y="423"/>
                  </a:cubicBezTo>
                  <a:cubicBezTo>
                    <a:pt x="489" y="426"/>
                    <a:pt x="476" y="428"/>
                    <a:pt x="464" y="427"/>
                  </a:cubicBezTo>
                  <a:cubicBezTo>
                    <a:pt x="454" y="426"/>
                    <a:pt x="443" y="422"/>
                    <a:pt x="435" y="416"/>
                  </a:cubicBezTo>
                  <a:cubicBezTo>
                    <a:pt x="423" y="408"/>
                    <a:pt x="415" y="395"/>
                    <a:pt x="405" y="383"/>
                  </a:cubicBezTo>
                  <a:cubicBezTo>
                    <a:pt x="400" y="376"/>
                    <a:pt x="394" y="369"/>
                    <a:pt x="387" y="363"/>
                  </a:cubicBezTo>
                  <a:cubicBezTo>
                    <a:pt x="389" y="364"/>
                    <a:pt x="392" y="366"/>
                    <a:pt x="395" y="369"/>
                  </a:cubicBezTo>
                  <a:cubicBezTo>
                    <a:pt x="399" y="372"/>
                    <a:pt x="402" y="376"/>
                    <a:pt x="406" y="379"/>
                  </a:cubicBezTo>
                  <a:cubicBezTo>
                    <a:pt x="416" y="387"/>
                    <a:pt x="429" y="392"/>
                    <a:pt x="446" y="392"/>
                  </a:cubicBezTo>
                  <a:cubicBezTo>
                    <a:pt x="448" y="392"/>
                    <a:pt x="450" y="392"/>
                    <a:pt x="452" y="392"/>
                  </a:cubicBezTo>
                  <a:cubicBezTo>
                    <a:pt x="464" y="392"/>
                    <a:pt x="475" y="390"/>
                    <a:pt x="486" y="387"/>
                  </a:cubicBezTo>
                  <a:cubicBezTo>
                    <a:pt x="498" y="385"/>
                    <a:pt x="509" y="381"/>
                    <a:pt x="517" y="379"/>
                  </a:cubicBezTo>
                  <a:cubicBezTo>
                    <a:pt x="534" y="372"/>
                    <a:pt x="548" y="363"/>
                    <a:pt x="560" y="353"/>
                  </a:cubicBezTo>
                  <a:cubicBezTo>
                    <a:pt x="562" y="351"/>
                    <a:pt x="562" y="351"/>
                    <a:pt x="562" y="351"/>
                  </a:cubicBezTo>
                  <a:cubicBezTo>
                    <a:pt x="567" y="347"/>
                    <a:pt x="572" y="343"/>
                    <a:pt x="576" y="340"/>
                  </a:cubicBezTo>
                  <a:cubicBezTo>
                    <a:pt x="576" y="340"/>
                    <a:pt x="577" y="340"/>
                    <a:pt x="577" y="340"/>
                  </a:cubicBezTo>
                  <a:cubicBezTo>
                    <a:pt x="580" y="337"/>
                    <a:pt x="583" y="336"/>
                    <a:pt x="587" y="334"/>
                  </a:cubicBezTo>
                  <a:cubicBezTo>
                    <a:pt x="589" y="333"/>
                    <a:pt x="591" y="332"/>
                    <a:pt x="593" y="331"/>
                  </a:cubicBezTo>
                  <a:cubicBezTo>
                    <a:pt x="593" y="331"/>
                    <a:pt x="594" y="331"/>
                    <a:pt x="594" y="330"/>
                  </a:cubicBezTo>
                  <a:cubicBezTo>
                    <a:pt x="595" y="329"/>
                    <a:pt x="595" y="329"/>
                    <a:pt x="595" y="329"/>
                  </a:cubicBezTo>
                  <a:cubicBezTo>
                    <a:pt x="595" y="329"/>
                    <a:pt x="596" y="329"/>
                    <a:pt x="596" y="329"/>
                  </a:cubicBezTo>
                  <a:cubicBezTo>
                    <a:pt x="596" y="329"/>
                    <a:pt x="596" y="328"/>
                    <a:pt x="596" y="328"/>
                  </a:cubicBezTo>
                  <a:cubicBezTo>
                    <a:pt x="598" y="327"/>
                    <a:pt x="599" y="324"/>
                    <a:pt x="599" y="322"/>
                  </a:cubicBezTo>
                  <a:cubicBezTo>
                    <a:pt x="597" y="322"/>
                    <a:pt x="596" y="322"/>
                    <a:pt x="595" y="322"/>
                  </a:cubicBezTo>
                  <a:cubicBezTo>
                    <a:pt x="592" y="321"/>
                    <a:pt x="588" y="321"/>
                    <a:pt x="584" y="322"/>
                  </a:cubicBezTo>
                  <a:cubicBezTo>
                    <a:pt x="582" y="323"/>
                    <a:pt x="580" y="324"/>
                    <a:pt x="578" y="326"/>
                  </a:cubicBezTo>
                  <a:cubicBezTo>
                    <a:pt x="576" y="327"/>
                    <a:pt x="574" y="329"/>
                    <a:pt x="573" y="331"/>
                  </a:cubicBezTo>
                  <a:cubicBezTo>
                    <a:pt x="568" y="336"/>
                    <a:pt x="562" y="340"/>
                    <a:pt x="556" y="344"/>
                  </a:cubicBezTo>
                  <a:cubicBezTo>
                    <a:pt x="543" y="354"/>
                    <a:pt x="530" y="363"/>
                    <a:pt x="515" y="369"/>
                  </a:cubicBezTo>
                  <a:cubicBezTo>
                    <a:pt x="506" y="372"/>
                    <a:pt x="496" y="375"/>
                    <a:pt x="485" y="377"/>
                  </a:cubicBezTo>
                  <a:cubicBezTo>
                    <a:pt x="473" y="379"/>
                    <a:pt x="460" y="381"/>
                    <a:pt x="447" y="381"/>
                  </a:cubicBezTo>
                  <a:cubicBezTo>
                    <a:pt x="434" y="380"/>
                    <a:pt x="421" y="377"/>
                    <a:pt x="410" y="370"/>
                  </a:cubicBezTo>
                  <a:cubicBezTo>
                    <a:pt x="405" y="367"/>
                    <a:pt x="400" y="363"/>
                    <a:pt x="395" y="360"/>
                  </a:cubicBezTo>
                  <a:cubicBezTo>
                    <a:pt x="390" y="357"/>
                    <a:pt x="385" y="354"/>
                    <a:pt x="379" y="353"/>
                  </a:cubicBezTo>
                  <a:cubicBezTo>
                    <a:pt x="378" y="353"/>
                    <a:pt x="377" y="353"/>
                    <a:pt x="375" y="353"/>
                  </a:cubicBezTo>
                  <a:cubicBezTo>
                    <a:pt x="375" y="353"/>
                    <a:pt x="374" y="352"/>
                    <a:pt x="374" y="352"/>
                  </a:cubicBezTo>
                  <a:cubicBezTo>
                    <a:pt x="374" y="353"/>
                    <a:pt x="374" y="353"/>
                    <a:pt x="374" y="353"/>
                  </a:cubicBezTo>
                  <a:cubicBezTo>
                    <a:pt x="374" y="354"/>
                    <a:pt x="374" y="354"/>
                    <a:pt x="374" y="355"/>
                  </a:cubicBezTo>
                  <a:cubicBezTo>
                    <a:pt x="373" y="354"/>
                    <a:pt x="373" y="353"/>
                    <a:pt x="372" y="352"/>
                  </a:cubicBezTo>
                  <a:cubicBezTo>
                    <a:pt x="371" y="351"/>
                    <a:pt x="371" y="350"/>
                    <a:pt x="371" y="349"/>
                  </a:cubicBezTo>
                  <a:cubicBezTo>
                    <a:pt x="370" y="348"/>
                    <a:pt x="370" y="347"/>
                    <a:pt x="370" y="347"/>
                  </a:cubicBezTo>
                  <a:cubicBezTo>
                    <a:pt x="370" y="345"/>
                    <a:pt x="371" y="343"/>
                    <a:pt x="371" y="342"/>
                  </a:cubicBezTo>
                  <a:close/>
                  <a:moveTo>
                    <a:pt x="390" y="1142"/>
                  </a:moveTo>
                  <a:cubicBezTo>
                    <a:pt x="382" y="1156"/>
                    <a:pt x="372" y="1168"/>
                    <a:pt x="358" y="1176"/>
                  </a:cubicBezTo>
                  <a:cubicBezTo>
                    <a:pt x="345" y="1184"/>
                    <a:pt x="330" y="1188"/>
                    <a:pt x="314" y="1187"/>
                  </a:cubicBezTo>
                  <a:cubicBezTo>
                    <a:pt x="290" y="1186"/>
                    <a:pt x="268" y="1174"/>
                    <a:pt x="245" y="1165"/>
                  </a:cubicBezTo>
                  <a:cubicBezTo>
                    <a:pt x="198" y="1146"/>
                    <a:pt x="148" y="1141"/>
                    <a:pt x="100" y="1126"/>
                  </a:cubicBezTo>
                  <a:cubicBezTo>
                    <a:pt x="86" y="1122"/>
                    <a:pt x="71" y="1117"/>
                    <a:pt x="57" y="1113"/>
                  </a:cubicBezTo>
                  <a:cubicBezTo>
                    <a:pt x="50" y="1111"/>
                    <a:pt x="43" y="1109"/>
                    <a:pt x="37" y="1106"/>
                  </a:cubicBezTo>
                  <a:cubicBezTo>
                    <a:pt x="31" y="1104"/>
                    <a:pt x="25" y="1099"/>
                    <a:pt x="22" y="1094"/>
                  </a:cubicBezTo>
                  <a:cubicBezTo>
                    <a:pt x="19" y="1089"/>
                    <a:pt x="18" y="1084"/>
                    <a:pt x="18" y="1078"/>
                  </a:cubicBezTo>
                  <a:cubicBezTo>
                    <a:pt x="18" y="1073"/>
                    <a:pt x="19" y="1068"/>
                    <a:pt x="21" y="1063"/>
                  </a:cubicBezTo>
                  <a:cubicBezTo>
                    <a:pt x="25" y="1053"/>
                    <a:pt x="30" y="1044"/>
                    <a:pt x="34" y="1034"/>
                  </a:cubicBezTo>
                  <a:cubicBezTo>
                    <a:pt x="41" y="1018"/>
                    <a:pt x="42" y="1001"/>
                    <a:pt x="41" y="984"/>
                  </a:cubicBezTo>
                  <a:cubicBezTo>
                    <a:pt x="40" y="966"/>
                    <a:pt x="37" y="949"/>
                    <a:pt x="36" y="932"/>
                  </a:cubicBezTo>
                  <a:cubicBezTo>
                    <a:pt x="36" y="925"/>
                    <a:pt x="35" y="917"/>
                    <a:pt x="37" y="909"/>
                  </a:cubicBezTo>
                  <a:cubicBezTo>
                    <a:pt x="38" y="902"/>
                    <a:pt x="42" y="894"/>
                    <a:pt x="47" y="889"/>
                  </a:cubicBezTo>
                  <a:cubicBezTo>
                    <a:pt x="52" y="884"/>
                    <a:pt x="59" y="881"/>
                    <a:pt x="66" y="880"/>
                  </a:cubicBezTo>
                  <a:cubicBezTo>
                    <a:pt x="73" y="878"/>
                    <a:pt x="80" y="878"/>
                    <a:pt x="87" y="879"/>
                  </a:cubicBezTo>
                  <a:cubicBezTo>
                    <a:pt x="94" y="879"/>
                    <a:pt x="101" y="879"/>
                    <a:pt x="108" y="878"/>
                  </a:cubicBezTo>
                  <a:cubicBezTo>
                    <a:pt x="115" y="878"/>
                    <a:pt x="122" y="876"/>
                    <a:pt x="129" y="873"/>
                  </a:cubicBezTo>
                  <a:cubicBezTo>
                    <a:pt x="134" y="869"/>
                    <a:pt x="139" y="864"/>
                    <a:pt x="143" y="859"/>
                  </a:cubicBezTo>
                  <a:cubicBezTo>
                    <a:pt x="147" y="854"/>
                    <a:pt x="150" y="848"/>
                    <a:pt x="154" y="842"/>
                  </a:cubicBezTo>
                  <a:cubicBezTo>
                    <a:pt x="157" y="836"/>
                    <a:pt x="160" y="830"/>
                    <a:pt x="165" y="825"/>
                  </a:cubicBezTo>
                  <a:cubicBezTo>
                    <a:pt x="169" y="820"/>
                    <a:pt x="174" y="815"/>
                    <a:pt x="180" y="813"/>
                  </a:cubicBezTo>
                  <a:cubicBezTo>
                    <a:pt x="187" y="810"/>
                    <a:pt x="194" y="809"/>
                    <a:pt x="201" y="811"/>
                  </a:cubicBezTo>
                  <a:cubicBezTo>
                    <a:pt x="208" y="812"/>
                    <a:pt x="214" y="815"/>
                    <a:pt x="220" y="819"/>
                  </a:cubicBezTo>
                  <a:cubicBezTo>
                    <a:pt x="231" y="827"/>
                    <a:pt x="240" y="838"/>
                    <a:pt x="248" y="849"/>
                  </a:cubicBezTo>
                  <a:cubicBezTo>
                    <a:pt x="266" y="875"/>
                    <a:pt x="284" y="901"/>
                    <a:pt x="301" y="928"/>
                  </a:cubicBezTo>
                  <a:cubicBezTo>
                    <a:pt x="314" y="951"/>
                    <a:pt x="326" y="974"/>
                    <a:pt x="341" y="994"/>
                  </a:cubicBezTo>
                  <a:cubicBezTo>
                    <a:pt x="351" y="1008"/>
                    <a:pt x="363" y="1020"/>
                    <a:pt x="373" y="1034"/>
                  </a:cubicBezTo>
                  <a:cubicBezTo>
                    <a:pt x="383" y="1048"/>
                    <a:pt x="392" y="1062"/>
                    <a:pt x="396" y="1078"/>
                  </a:cubicBezTo>
                  <a:cubicBezTo>
                    <a:pt x="402" y="1100"/>
                    <a:pt x="400" y="1123"/>
                    <a:pt x="390" y="1142"/>
                  </a:cubicBezTo>
                  <a:close/>
                  <a:moveTo>
                    <a:pt x="584" y="1049"/>
                  </a:moveTo>
                  <a:cubicBezTo>
                    <a:pt x="529" y="1078"/>
                    <a:pt x="462" y="1081"/>
                    <a:pt x="404" y="1058"/>
                  </a:cubicBezTo>
                  <a:cubicBezTo>
                    <a:pt x="400" y="1048"/>
                    <a:pt x="394" y="1038"/>
                    <a:pt x="386" y="1028"/>
                  </a:cubicBezTo>
                  <a:cubicBezTo>
                    <a:pt x="380" y="1021"/>
                    <a:pt x="375" y="1015"/>
                    <a:pt x="369" y="1008"/>
                  </a:cubicBezTo>
                  <a:cubicBezTo>
                    <a:pt x="364" y="1002"/>
                    <a:pt x="359" y="996"/>
                    <a:pt x="354" y="989"/>
                  </a:cubicBezTo>
                  <a:cubicBezTo>
                    <a:pt x="345" y="977"/>
                    <a:pt x="337" y="964"/>
                    <a:pt x="329" y="950"/>
                  </a:cubicBezTo>
                  <a:cubicBezTo>
                    <a:pt x="324" y="942"/>
                    <a:pt x="319" y="933"/>
                    <a:pt x="314" y="925"/>
                  </a:cubicBezTo>
                  <a:cubicBezTo>
                    <a:pt x="299" y="901"/>
                    <a:pt x="283" y="876"/>
                    <a:pt x="260" y="845"/>
                  </a:cubicBezTo>
                  <a:cubicBezTo>
                    <a:pt x="257" y="841"/>
                    <a:pt x="254" y="836"/>
                    <a:pt x="250" y="832"/>
                  </a:cubicBezTo>
                  <a:cubicBezTo>
                    <a:pt x="249" y="828"/>
                    <a:pt x="249" y="824"/>
                    <a:pt x="249" y="820"/>
                  </a:cubicBezTo>
                  <a:cubicBezTo>
                    <a:pt x="244" y="815"/>
                    <a:pt x="239" y="809"/>
                    <a:pt x="236" y="803"/>
                  </a:cubicBezTo>
                  <a:cubicBezTo>
                    <a:pt x="230" y="794"/>
                    <a:pt x="227" y="783"/>
                    <a:pt x="225" y="772"/>
                  </a:cubicBezTo>
                  <a:cubicBezTo>
                    <a:pt x="219" y="743"/>
                    <a:pt x="221" y="712"/>
                    <a:pt x="231" y="684"/>
                  </a:cubicBezTo>
                  <a:cubicBezTo>
                    <a:pt x="235" y="673"/>
                    <a:pt x="240" y="662"/>
                    <a:pt x="245" y="652"/>
                  </a:cubicBezTo>
                  <a:cubicBezTo>
                    <a:pt x="254" y="633"/>
                    <a:pt x="262" y="615"/>
                    <a:pt x="273" y="598"/>
                  </a:cubicBezTo>
                  <a:cubicBezTo>
                    <a:pt x="274" y="597"/>
                    <a:pt x="275" y="595"/>
                    <a:pt x="276" y="594"/>
                  </a:cubicBezTo>
                  <a:cubicBezTo>
                    <a:pt x="269" y="614"/>
                    <a:pt x="262" y="634"/>
                    <a:pt x="254" y="653"/>
                  </a:cubicBezTo>
                  <a:cubicBezTo>
                    <a:pt x="249" y="665"/>
                    <a:pt x="243" y="676"/>
                    <a:pt x="239" y="688"/>
                  </a:cubicBezTo>
                  <a:cubicBezTo>
                    <a:pt x="229" y="715"/>
                    <a:pt x="226" y="746"/>
                    <a:pt x="234" y="774"/>
                  </a:cubicBezTo>
                  <a:cubicBezTo>
                    <a:pt x="237" y="785"/>
                    <a:pt x="241" y="796"/>
                    <a:pt x="247" y="806"/>
                  </a:cubicBezTo>
                  <a:cubicBezTo>
                    <a:pt x="248" y="807"/>
                    <a:pt x="248" y="808"/>
                    <a:pt x="249" y="808"/>
                  </a:cubicBezTo>
                  <a:cubicBezTo>
                    <a:pt x="248" y="795"/>
                    <a:pt x="249" y="782"/>
                    <a:pt x="250" y="769"/>
                  </a:cubicBezTo>
                  <a:cubicBezTo>
                    <a:pt x="254" y="726"/>
                    <a:pt x="266" y="684"/>
                    <a:pt x="284" y="644"/>
                  </a:cubicBezTo>
                  <a:cubicBezTo>
                    <a:pt x="295" y="618"/>
                    <a:pt x="309" y="593"/>
                    <a:pt x="326" y="569"/>
                  </a:cubicBezTo>
                  <a:cubicBezTo>
                    <a:pt x="324" y="554"/>
                    <a:pt x="325" y="539"/>
                    <a:pt x="330" y="524"/>
                  </a:cubicBezTo>
                  <a:cubicBezTo>
                    <a:pt x="337" y="500"/>
                    <a:pt x="351" y="480"/>
                    <a:pt x="366" y="459"/>
                  </a:cubicBezTo>
                  <a:cubicBezTo>
                    <a:pt x="374" y="448"/>
                    <a:pt x="383" y="436"/>
                    <a:pt x="387" y="422"/>
                  </a:cubicBezTo>
                  <a:cubicBezTo>
                    <a:pt x="390" y="409"/>
                    <a:pt x="389" y="395"/>
                    <a:pt x="390" y="382"/>
                  </a:cubicBezTo>
                  <a:cubicBezTo>
                    <a:pt x="390" y="382"/>
                    <a:pt x="390" y="382"/>
                    <a:pt x="390" y="382"/>
                  </a:cubicBezTo>
                  <a:cubicBezTo>
                    <a:pt x="394" y="385"/>
                    <a:pt x="397" y="389"/>
                    <a:pt x="400" y="393"/>
                  </a:cubicBezTo>
                  <a:cubicBezTo>
                    <a:pt x="401" y="393"/>
                    <a:pt x="401" y="393"/>
                    <a:pt x="401" y="393"/>
                  </a:cubicBezTo>
                  <a:cubicBezTo>
                    <a:pt x="404" y="396"/>
                    <a:pt x="407" y="400"/>
                    <a:pt x="410" y="404"/>
                  </a:cubicBezTo>
                  <a:cubicBezTo>
                    <a:pt x="416" y="411"/>
                    <a:pt x="423" y="419"/>
                    <a:pt x="432" y="424"/>
                  </a:cubicBezTo>
                  <a:cubicBezTo>
                    <a:pt x="441" y="430"/>
                    <a:pt x="451" y="434"/>
                    <a:pt x="464" y="435"/>
                  </a:cubicBezTo>
                  <a:cubicBezTo>
                    <a:pt x="466" y="435"/>
                    <a:pt x="468" y="435"/>
                    <a:pt x="470" y="435"/>
                  </a:cubicBezTo>
                  <a:cubicBezTo>
                    <a:pt x="480" y="435"/>
                    <a:pt x="491" y="434"/>
                    <a:pt x="503" y="431"/>
                  </a:cubicBezTo>
                  <a:cubicBezTo>
                    <a:pt x="513" y="428"/>
                    <a:pt x="524" y="424"/>
                    <a:pt x="535" y="418"/>
                  </a:cubicBezTo>
                  <a:cubicBezTo>
                    <a:pt x="535" y="418"/>
                    <a:pt x="535" y="418"/>
                    <a:pt x="535" y="418"/>
                  </a:cubicBezTo>
                  <a:cubicBezTo>
                    <a:pt x="541" y="414"/>
                    <a:pt x="547" y="410"/>
                    <a:pt x="553" y="406"/>
                  </a:cubicBezTo>
                  <a:cubicBezTo>
                    <a:pt x="565" y="397"/>
                    <a:pt x="575" y="389"/>
                    <a:pt x="588" y="386"/>
                  </a:cubicBezTo>
                  <a:cubicBezTo>
                    <a:pt x="588" y="386"/>
                    <a:pt x="588" y="386"/>
                    <a:pt x="588" y="386"/>
                  </a:cubicBezTo>
                  <a:cubicBezTo>
                    <a:pt x="593" y="384"/>
                    <a:pt x="596" y="383"/>
                    <a:pt x="601" y="382"/>
                  </a:cubicBezTo>
                  <a:cubicBezTo>
                    <a:pt x="602" y="382"/>
                    <a:pt x="602" y="382"/>
                    <a:pt x="603" y="381"/>
                  </a:cubicBezTo>
                  <a:cubicBezTo>
                    <a:pt x="604" y="381"/>
                    <a:pt x="605" y="380"/>
                    <a:pt x="607" y="379"/>
                  </a:cubicBezTo>
                  <a:cubicBezTo>
                    <a:pt x="607" y="378"/>
                    <a:pt x="608" y="378"/>
                    <a:pt x="609" y="377"/>
                  </a:cubicBezTo>
                  <a:cubicBezTo>
                    <a:pt x="611" y="376"/>
                    <a:pt x="612" y="375"/>
                    <a:pt x="613" y="373"/>
                  </a:cubicBezTo>
                  <a:cubicBezTo>
                    <a:pt x="617" y="380"/>
                    <a:pt x="620" y="388"/>
                    <a:pt x="623" y="395"/>
                  </a:cubicBezTo>
                  <a:cubicBezTo>
                    <a:pt x="632" y="416"/>
                    <a:pt x="644" y="436"/>
                    <a:pt x="653" y="457"/>
                  </a:cubicBezTo>
                  <a:cubicBezTo>
                    <a:pt x="666" y="485"/>
                    <a:pt x="675" y="516"/>
                    <a:pt x="680" y="547"/>
                  </a:cubicBezTo>
                  <a:cubicBezTo>
                    <a:pt x="697" y="564"/>
                    <a:pt x="711" y="585"/>
                    <a:pt x="722" y="607"/>
                  </a:cubicBezTo>
                  <a:cubicBezTo>
                    <a:pt x="753" y="672"/>
                    <a:pt x="753" y="747"/>
                    <a:pt x="745" y="819"/>
                  </a:cubicBezTo>
                  <a:cubicBezTo>
                    <a:pt x="745" y="821"/>
                    <a:pt x="745" y="823"/>
                    <a:pt x="744" y="824"/>
                  </a:cubicBezTo>
                  <a:cubicBezTo>
                    <a:pt x="741" y="824"/>
                    <a:pt x="738" y="823"/>
                    <a:pt x="735" y="823"/>
                  </a:cubicBezTo>
                  <a:cubicBezTo>
                    <a:pt x="729" y="822"/>
                    <a:pt x="729" y="822"/>
                    <a:pt x="729" y="822"/>
                  </a:cubicBezTo>
                  <a:cubicBezTo>
                    <a:pt x="724" y="821"/>
                    <a:pt x="717" y="820"/>
                    <a:pt x="710" y="821"/>
                  </a:cubicBezTo>
                  <a:cubicBezTo>
                    <a:pt x="701" y="821"/>
                    <a:pt x="692" y="824"/>
                    <a:pt x="685" y="829"/>
                  </a:cubicBezTo>
                  <a:cubicBezTo>
                    <a:pt x="685" y="829"/>
                    <a:pt x="685" y="829"/>
                    <a:pt x="685" y="830"/>
                  </a:cubicBezTo>
                  <a:cubicBezTo>
                    <a:pt x="675" y="838"/>
                    <a:pt x="672" y="849"/>
                    <a:pt x="671" y="856"/>
                  </a:cubicBezTo>
                  <a:cubicBezTo>
                    <a:pt x="670" y="864"/>
                    <a:pt x="670" y="871"/>
                    <a:pt x="671" y="879"/>
                  </a:cubicBezTo>
                  <a:cubicBezTo>
                    <a:pt x="673" y="914"/>
                    <a:pt x="673" y="948"/>
                    <a:pt x="670" y="980"/>
                  </a:cubicBezTo>
                  <a:cubicBezTo>
                    <a:pt x="669" y="981"/>
                    <a:pt x="668" y="982"/>
                    <a:pt x="667" y="983"/>
                  </a:cubicBezTo>
                  <a:cubicBezTo>
                    <a:pt x="642" y="1008"/>
                    <a:pt x="615" y="1032"/>
                    <a:pt x="584" y="1049"/>
                  </a:cubicBezTo>
                  <a:close/>
                  <a:moveTo>
                    <a:pt x="1014" y="1016"/>
                  </a:moveTo>
                  <a:cubicBezTo>
                    <a:pt x="1011" y="1023"/>
                    <a:pt x="1008" y="1029"/>
                    <a:pt x="1003" y="1035"/>
                  </a:cubicBezTo>
                  <a:cubicBezTo>
                    <a:pt x="992" y="1047"/>
                    <a:pt x="978" y="1056"/>
                    <a:pt x="963" y="1063"/>
                  </a:cubicBezTo>
                  <a:cubicBezTo>
                    <a:pt x="938" y="1076"/>
                    <a:pt x="913" y="1087"/>
                    <a:pt x="889" y="1102"/>
                  </a:cubicBezTo>
                  <a:cubicBezTo>
                    <a:pt x="874" y="1112"/>
                    <a:pt x="860" y="1124"/>
                    <a:pt x="846" y="1137"/>
                  </a:cubicBezTo>
                  <a:cubicBezTo>
                    <a:pt x="835" y="1148"/>
                    <a:pt x="824" y="1160"/>
                    <a:pt x="811" y="1169"/>
                  </a:cubicBezTo>
                  <a:cubicBezTo>
                    <a:pt x="798" y="1178"/>
                    <a:pt x="783" y="1185"/>
                    <a:pt x="767" y="1188"/>
                  </a:cubicBezTo>
                  <a:cubicBezTo>
                    <a:pt x="747" y="1190"/>
                    <a:pt x="727" y="1187"/>
                    <a:pt x="710" y="1179"/>
                  </a:cubicBezTo>
                  <a:cubicBezTo>
                    <a:pt x="697" y="1173"/>
                    <a:pt x="685" y="1166"/>
                    <a:pt x="678" y="1154"/>
                  </a:cubicBezTo>
                  <a:cubicBezTo>
                    <a:pt x="670" y="1142"/>
                    <a:pt x="669" y="1128"/>
                    <a:pt x="669" y="1114"/>
                  </a:cubicBezTo>
                  <a:cubicBezTo>
                    <a:pt x="669" y="1090"/>
                    <a:pt x="673" y="1066"/>
                    <a:pt x="677" y="1042"/>
                  </a:cubicBezTo>
                  <a:cubicBezTo>
                    <a:pt x="681" y="1022"/>
                    <a:pt x="684" y="1002"/>
                    <a:pt x="687" y="982"/>
                  </a:cubicBezTo>
                  <a:cubicBezTo>
                    <a:pt x="690" y="946"/>
                    <a:pt x="690" y="909"/>
                    <a:pt x="688" y="872"/>
                  </a:cubicBezTo>
                  <a:cubicBezTo>
                    <a:pt x="687" y="866"/>
                    <a:pt x="687" y="860"/>
                    <a:pt x="688" y="854"/>
                  </a:cubicBezTo>
                  <a:cubicBezTo>
                    <a:pt x="689" y="848"/>
                    <a:pt x="691" y="842"/>
                    <a:pt x="696" y="838"/>
                  </a:cubicBezTo>
                  <a:cubicBezTo>
                    <a:pt x="700" y="834"/>
                    <a:pt x="706" y="832"/>
                    <a:pt x="712" y="832"/>
                  </a:cubicBezTo>
                  <a:cubicBezTo>
                    <a:pt x="717" y="832"/>
                    <a:pt x="723" y="832"/>
                    <a:pt x="729" y="833"/>
                  </a:cubicBezTo>
                  <a:cubicBezTo>
                    <a:pt x="742" y="835"/>
                    <a:pt x="755" y="837"/>
                    <a:pt x="768" y="840"/>
                  </a:cubicBezTo>
                  <a:cubicBezTo>
                    <a:pt x="776" y="842"/>
                    <a:pt x="784" y="845"/>
                    <a:pt x="792" y="847"/>
                  </a:cubicBezTo>
                  <a:cubicBezTo>
                    <a:pt x="806" y="851"/>
                    <a:pt x="820" y="853"/>
                    <a:pt x="834" y="851"/>
                  </a:cubicBezTo>
                  <a:cubicBezTo>
                    <a:pt x="849" y="849"/>
                    <a:pt x="864" y="844"/>
                    <a:pt x="879" y="844"/>
                  </a:cubicBezTo>
                  <a:cubicBezTo>
                    <a:pt x="885" y="844"/>
                    <a:pt x="892" y="845"/>
                    <a:pt x="898" y="847"/>
                  </a:cubicBezTo>
                  <a:cubicBezTo>
                    <a:pt x="904" y="849"/>
                    <a:pt x="910" y="852"/>
                    <a:pt x="914" y="856"/>
                  </a:cubicBezTo>
                  <a:cubicBezTo>
                    <a:pt x="917" y="860"/>
                    <a:pt x="920" y="864"/>
                    <a:pt x="922" y="869"/>
                  </a:cubicBezTo>
                  <a:cubicBezTo>
                    <a:pt x="924" y="875"/>
                    <a:pt x="926" y="883"/>
                    <a:pt x="926" y="890"/>
                  </a:cubicBezTo>
                  <a:cubicBezTo>
                    <a:pt x="927" y="896"/>
                    <a:pt x="927" y="903"/>
                    <a:pt x="928" y="909"/>
                  </a:cubicBezTo>
                  <a:cubicBezTo>
                    <a:pt x="930" y="919"/>
                    <a:pt x="935" y="928"/>
                    <a:pt x="942" y="937"/>
                  </a:cubicBezTo>
                  <a:cubicBezTo>
                    <a:pt x="949" y="945"/>
                    <a:pt x="957" y="951"/>
                    <a:pt x="965" y="958"/>
                  </a:cubicBezTo>
                  <a:cubicBezTo>
                    <a:pt x="973" y="965"/>
                    <a:pt x="981" y="972"/>
                    <a:pt x="989" y="977"/>
                  </a:cubicBezTo>
                  <a:cubicBezTo>
                    <a:pt x="993" y="980"/>
                    <a:pt x="998" y="983"/>
                    <a:pt x="1002" y="986"/>
                  </a:cubicBezTo>
                  <a:cubicBezTo>
                    <a:pt x="1005" y="989"/>
                    <a:pt x="1009" y="992"/>
                    <a:pt x="1011" y="997"/>
                  </a:cubicBezTo>
                  <a:cubicBezTo>
                    <a:pt x="1015" y="1003"/>
                    <a:pt x="1016" y="1010"/>
                    <a:pt x="1014" y="10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grpSp>
        <p:nvGrpSpPr>
          <p:cNvPr id="10" name="Group 9">
            <a:extLst>
              <a:ext uri="{FF2B5EF4-FFF2-40B4-BE49-F238E27FC236}">
                <a16:creationId xmlns:a16="http://schemas.microsoft.com/office/drawing/2014/main" id="{ED1FEE64-E91C-4646-B994-3D9449BE6648}"/>
              </a:ext>
            </a:extLst>
          </p:cNvPr>
          <p:cNvGrpSpPr/>
          <p:nvPr/>
        </p:nvGrpSpPr>
        <p:grpSpPr>
          <a:xfrm>
            <a:off x="5982284" y="5106259"/>
            <a:ext cx="2209216" cy="370216"/>
            <a:chOff x="1814286" y="7761330"/>
            <a:chExt cx="9662611" cy="1619249"/>
          </a:xfrm>
          <a:solidFill>
            <a:schemeClr val="accent1"/>
          </a:solidFill>
        </p:grpSpPr>
        <p:sp>
          <p:nvSpPr>
            <p:cNvPr id="125" name="Freeform: Shape 124">
              <a:extLst>
                <a:ext uri="{FF2B5EF4-FFF2-40B4-BE49-F238E27FC236}">
                  <a16:creationId xmlns:a16="http://schemas.microsoft.com/office/drawing/2014/main" id="{BBC7CF94-094E-4260-9C76-DE107DB3013A}"/>
                </a:ext>
              </a:extLst>
            </p:cNvPr>
            <p:cNvSpPr/>
            <p:nvPr/>
          </p:nvSpPr>
          <p:spPr>
            <a:xfrm>
              <a:off x="1814286" y="7761330"/>
              <a:ext cx="1685626" cy="1619249"/>
            </a:xfrm>
            <a:custGeom>
              <a:avLst/>
              <a:gdLst>
                <a:gd name="connsiteX0" fmla="*/ 829296 w 1685626"/>
                <a:gd name="connsiteY0" fmla="*/ 1034895 h 1619249"/>
                <a:gd name="connsiteX1" fmla="*/ 850017 w 1685626"/>
                <a:gd name="connsiteY1" fmla="*/ 1038247 h 1619249"/>
                <a:gd name="connsiteX2" fmla="*/ 865438 w 1685626"/>
                <a:gd name="connsiteY2" fmla="*/ 1051656 h 1619249"/>
                <a:gd name="connsiteX3" fmla="*/ 957962 w 1685626"/>
                <a:gd name="connsiteY3" fmla="*/ 1218312 h 1619249"/>
                <a:gd name="connsiteX4" fmla="*/ 921338 w 1685626"/>
                <a:gd name="connsiteY4" fmla="*/ 1225974 h 1619249"/>
                <a:gd name="connsiteX5" fmla="*/ 838451 w 1685626"/>
                <a:gd name="connsiteY5" fmla="*/ 1235552 h 1619249"/>
                <a:gd name="connsiteX6" fmla="*/ 717013 w 1685626"/>
                <a:gd name="connsiteY6" fmla="*/ 1216397 h 1619249"/>
                <a:gd name="connsiteX7" fmla="*/ 811465 w 1685626"/>
                <a:gd name="connsiteY7" fmla="*/ 1045910 h 1619249"/>
                <a:gd name="connsiteX8" fmla="*/ 829296 w 1685626"/>
                <a:gd name="connsiteY8" fmla="*/ 1034895 h 1619249"/>
                <a:gd name="connsiteX9" fmla="*/ 674606 w 1685626"/>
                <a:gd name="connsiteY9" fmla="*/ 955877 h 1619249"/>
                <a:gd name="connsiteX10" fmla="*/ 707375 w 1685626"/>
                <a:gd name="connsiteY10" fmla="*/ 980780 h 1619249"/>
                <a:gd name="connsiteX11" fmla="*/ 705448 w 1685626"/>
                <a:gd name="connsiteY11" fmla="*/ 999936 h 1619249"/>
                <a:gd name="connsiteX12" fmla="*/ 632199 w 1685626"/>
                <a:gd name="connsiteY12" fmla="*/ 1176169 h 1619249"/>
                <a:gd name="connsiteX13" fmla="*/ 483775 w 1685626"/>
                <a:gd name="connsiteY13" fmla="*/ 988442 h 1619249"/>
                <a:gd name="connsiteX14" fmla="*/ 1000369 w 1685626"/>
                <a:gd name="connsiteY14" fmla="*/ 953962 h 1619249"/>
                <a:gd name="connsiteX15" fmla="*/ 1193128 w 1685626"/>
                <a:gd name="connsiteY15" fmla="*/ 986527 h 1619249"/>
                <a:gd name="connsiteX16" fmla="*/ 1156504 w 1685626"/>
                <a:gd name="connsiteY16" fmla="*/ 1059319 h 1619249"/>
                <a:gd name="connsiteX17" fmla="*/ 1040848 w 1685626"/>
                <a:gd name="connsiteY17" fmla="*/ 1174254 h 1619249"/>
                <a:gd name="connsiteX18" fmla="*/ 965672 w 1685626"/>
                <a:gd name="connsiteY18" fmla="*/ 994189 h 1619249"/>
                <a:gd name="connsiteX19" fmla="*/ 983021 w 1685626"/>
                <a:gd name="connsiteY19" fmla="*/ 957793 h 1619249"/>
                <a:gd name="connsiteX20" fmla="*/ 1000369 w 1685626"/>
                <a:gd name="connsiteY20" fmla="*/ 953962 h 1619249"/>
                <a:gd name="connsiteX21" fmla="*/ 809538 w 1685626"/>
                <a:gd name="connsiteY21" fmla="*/ 800714 h 1619249"/>
                <a:gd name="connsiteX22" fmla="*/ 867365 w 1685626"/>
                <a:gd name="connsiteY22" fmla="*/ 800714 h 1619249"/>
                <a:gd name="connsiteX23" fmla="*/ 903989 w 1685626"/>
                <a:gd name="connsiteY23" fmla="*/ 846688 h 1619249"/>
                <a:gd name="connsiteX24" fmla="*/ 890496 w 1685626"/>
                <a:gd name="connsiteY24" fmla="*/ 902241 h 1619249"/>
                <a:gd name="connsiteX25" fmla="*/ 838451 w 1685626"/>
                <a:gd name="connsiteY25" fmla="*/ 927143 h 1619249"/>
                <a:gd name="connsiteX26" fmla="*/ 786407 w 1685626"/>
                <a:gd name="connsiteY26" fmla="*/ 902241 h 1619249"/>
                <a:gd name="connsiteX27" fmla="*/ 772913 w 1685626"/>
                <a:gd name="connsiteY27" fmla="*/ 846688 h 1619249"/>
                <a:gd name="connsiteX28" fmla="*/ 1158431 w 1685626"/>
                <a:gd name="connsiteY28" fmla="*/ 664708 h 1619249"/>
                <a:gd name="connsiteX29" fmla="*/ 1204693 w 1685626"/>
                <a:gd name="connsiteY29" fmla="*/ 777728 h 1619249"/>
                <a:gd name="connsiteX30" fmla="*/ 1212404 w 1685626"/>
                <a:gd name="connsiteY30" fmla="*/ 898410 h 1619249"/>
                <a:gd name="connsiteX31" fmla="*/ 1029283 w 1685626"/>
                <a:gd name="connsiteY31" fmla="*/ 846688 h 1619249"/>
                <a:gd name="connsiteX32" fmla="*/ 1006152 w 1685626"/>
                <a:gd name="connsiteY32" fmla="*/ 808376 h 1619249"/>
                <a:gd name="connsiteX33" fmla="*/ 1013862 w 1685626"/>
                <a:gd name="connsiteY33" fmla="*/ 794968 h 1619249"/>
                <a:gd name="connsiteX34" fmla="*/ 516544 w 1685626"/>
                <a:gd name="connsiteY34" fmla="*/ 664708 h 1619249"/>
                <a:gd name="connsiteX35" fmla="*/ 659186 w 1685626"/>
                <a:gd name="connsiteY35" fmla="*/ 791136 h 1619249"/>
                <a:gd name="connsiteX36" fmla="*/ 663041 w 1685626"/>
                <a:gd name="connsiteY36" fmla="*/ 835194 h 1619249"/>
                <a:gd name="connsiteX37" fmla="*/ 647620 w 1685626"/>
                <a:gd name="connsiteY37" fmla="*/ 844772 h 1619249"/>
                <a:gd name="connsiteX38" fmla="*/ 460644 w 1685626"/>
                <a:gd name="connsiteY38" fmla="*/ 898410 h 1619249"/>
                <a:gd name="connsiteX39" fmla="*/ 516544 w 1685626"/>
                <a:gd name="connsiteY39" fmla="*/ 664708 h 1619249"/>
                <a:gd name="connsiteX40" fmla="*/ 882786 w 1685626"/>
                <a:gd name="connsiteY40" fmla="*/ 490389 h 1619249"/>
                <a:gd name="connsiteX41" fmla="*/ 1100604 w 1685626"/>
                <a:gd name="connsiteY41" fmla="*/ 593832 h 1619249"/>
                <a:gd name="connsiteX42" fmla="*/ 942541 w 1685626"/>
                <a:gd name="connsiteY42" fmla="*/ 704935 h 1619249"/>
                <a:gd name="connsiteX43" fmla="*/ 900134 w 1685626"/>
                <a:gd name="connsiteY43" fmla="*/ 697272 h 1619249"/>
                <a:gd name="connsiteX44" fmla="*/ 894352 w 1685626"/>
                <a:gd name="connsiteY44" fmla="*/ 683863 h 1619249"/>
                <a:gd name="connsiteX45" fmla="*/ 790262 w 1685626"/>
                <a:gd name="connsiteY45" fmla="*/ 488474 h 1619249"/>
                <a:gd name="connsiteX46" fmla="*/ 780624 w 1685626"/>
                <a:gd name="connsiteY46" fmla="*/ 680032 h 1619249"/>
                <a:gd name="connsiteX47" fmla="*/ 747855 w 1685626"/>
                <a:gd name="connsiteY47" fmla="*/ 710681 h 1619249"/>
                <a:gd name="connsiteX48" fmla="*/ 732434 w 1685626"/>
                <a:gd name="connsiteY48" fmla="*/ 706850 h 1619249"/>
                <a:gd name="connsiteX49" fmla="*/ 572444 w 1685626"/>
                <a:gd name="connsiteY49" fmla="*/ 593832 h 1619249"/>
                <a:gd name="connsiteX50" fmla="*/ 751710 w 1685626"/>
                <a:gd name="connsiteY50" fmla="*/ 496136 h 1619249"/>
                <a:gd name="connsiteX51" fmla="*/ 844234 w 1685626"/>
                <a:gd name="connsiteY51" fmla="*/ 204967 h 1619249"/>
                <a:gd name="connsiteX52" fmla="*/ 811465 w 1685626"/>
                <a:gd name="connsiteY52" fmla="*/ 218377 h 1619249"/>
                <a:gd name="connsiteX53" fmla="*/ 799900 w 1685626"/>
                <a:gd name="connsiteY53" fmla="*/ 245195 h 1619249"/>
                <a:gd name="connsiteX54" fmla="*/ 799900 w 1685626"/>
                <a:gd name="connsiteY54" fmla="*/ 254773 h 1619249"/>
                <a:gd name="connsiteX55" fmla="*/ 803755 w 1685626"/>
                <a:gd name="connsiteY55" fmla="*/ 277760 h 1619249"/>
                <a:gd name="connsiteX56" fmla="*/ 805682 w 1685626"/>
                <a:gd name="connsiteY56" fmla="*/ 289253 h 1619249"/>
                <a:gd name="connsiteX57" fmla="*/ 805682 w 1685626"/>
                <a:gd name="connsiteY57" fmla="*/ 291169 h 1619249"/>
                <a:gd name="connsiteX58" fmla="*/ 809538 w 1685626"/>
                <a:gd name="connsiteY58" fmla="*/ 356299 h 1619249"/>
                <a:gd name="connsiteX59" fmla="*/ 799900 w 1685626"/>
                <a:gd name="connsiteY59" fmla="*/ 371623 h 1619249"/>
                <a:gd name="connsiteX60" fmla="*/ 799900 w 1685626"/>
                <a:gd name="connsiteY60" fmla="*/ 375454 h 1619249"/>
                <a:gd name="connsiteX61" fmla="*/ 797972 w 1685626"/>
                <a:gd name="connsiteY61" fmla="*/ 390779 h 1619249"/>
                <a:gd name="connsiteX62" fmla="*/ 732434 w 1685626"/>
                <a:gd name="connsiteY62" fmla="*/ 400357 h 1619249"/>
                <a:gd name="connsiteX63" fmla="*/ 495341 w 1685626"/>
                <a:gd name="connsiteY63" fmla="*/ 534449 h 1619249"/>
                <a:gd name="connsiteX64" fmla="*/ 483775 w 1685626"/>
                <a:gd name="connsiteY64" fmla="*/ 526787 h 1619249"/>
                <a:gd name="connsiteX65" fmla="*/ 481848 w 1685626"/>
                <a:gd name="connsiteY65" fmla="*/ 526787 h 1619249"/>
                <a:gd name="connsiteX66" fmla="*/ 474137 w 1685626"/>
                <a:gd name="connsiteY66" fmla="*/ 528702 h 1619249"/>
                <a:gd name="connsiteX67" fmla="*/ 462572 w 1685626"/>
                <a:gd name="connsiteY67" fmla="*/ 524871 h 1619249"/>
                <a:gd name="connsiteX68" fmla="*/ 414382 w 1685626"/>
                <a:gd name="connsiteY68" fmla="*/ 480812 h 1619249"/>
                <a:gd name="connsiteX69" fmla="*/ 406672 w 1685626"/>
                <a:gd name="connsiteY69" fmla="*/ 473149 h 1619249"/>
                <a:gd name="connsiteX70" fmla="*/ 391251 w 1685626"/>
                <a:gd name="connsiteY70" fmla="*/ 455909 h 1619249"/>
                <a:gd name="connsiteX71" fmla="*/ 385468 w 1685626"/>
                <a:gd name="connsiteY71" fmla="*/ 452078 h 1619249"/>
                <a:gd name="connsiteX72" fmla="*/ 383540 w 1685626"/>
                <a:gd name="connsiteY72" fmla="*/ 450162 h 1619249"/>
                <a:gd name="connsiteX73" fmla="*/ 356554 w 1685626"/>
                <a:gd name="connsiteY73" fmla="*/ 440584 h 1619249"/>
                <a:gd name="connsiteX74" fmla="*/ 329568 w 1685626"/>
                <a:gd name="connsiteY74" fmla="*/ 453993 h 1619249"/>
                <a:gd name="connsiteX75" fmla="*/ 337278 w 1685626"/>
                <a:gd name="connsiteY75" fmla="*/ 507630 h 1619249"/>
                <a:gd name="connsiteX76" fmla="*/ 339206 w 1685626"/>
                <a:gd name="connsiteY76" fmla="*/ 509545 h 1619249"/>
                <a:gd name="connsiteX77" fmla="*/ 344989 w 1685626"/>
                <a:gd name="connsiteY77" fmla="*/ 513376 h 1619249"/>
                <a:gd name="connsiteX78" fmla="*/ 366192 w 1685626"/>
                <a:gd name="connsiteY78" fmla="*/ 524871 h 1619249"/>
                <a:gd name="connsiteX79" fmla="*/ 377758 w 1685626"/>
                <a:gd name="connsiteY79" fmla="*/ 530618 h 1619249"/>
                <a:gd name="connsiteX80" fmla="*/ 431730 w 1685626"/>
                <a:gd name="connsiteY80" fmla="*/ 568929 h 1619249"/>
                <a:gd name="connsiteX81" fmla="*/ 437513 w 1685626"/>
                <a:gd name="connsiteY81" fmla="*/ 586170 h 1619249"/>
                <a:gd name="connsiteX82" fmla="*/ 437513 w 1685626"/>
                <a:gd name="connsiteY82" fmla="*/ 584254 h 1619249"/>
                <a:gd name="connsiteX83" fmla="*/ 449078 w 1685626"/>
                <a:gd name="connsiteY83" fmla="*/ 595748 h 1619249"/>
                <a:gd name="connsiteX84" fmla="*/ 443296 w 1685626"/>
                <a:gd name="connsiteY84" fmla="*/ 605325 h 1619249"/>
                <a:gd name="connsiteX85" fmla="*/ 375830 w 1685626"/>
                <a:gd name="connsiteY85" fmla="*/ 919481 h 1619249"/>
                <a:gd name="connsiteX86" fmla="*/ 360409 w 1685626"/>
                <a:gd name="connsiteY86" fmla="*/ 923312 h 1619249"/>
                <a:gd name="connsiteX87" fmla="*/ 358482 w 1685626"/>
                <a:gd name="connsiteY87" fmla="*/ 925228 h 1619249"/>
                <a:gd name="connsiteX88" fmla="*/ 344989 w 1685626"/>
                <a:gd name="connsiteY88" fmla="*/ 938637 h 1619249"/>
                <a:gd name="connsiteX89" fmla="*/ 279451 w 1685626"/>
                <a:gd name="connsiteY89" fmla="*/ 950130 h 1619249"/>
                <a:gd name="connsiteX90" fmla="*/ 267885 w 1685626"/>
                <a:gd name="connsiteY90" fmla="*/ 952046 h 1619249"/>
                <a:gd name="connsiteX91" fmla="*/ 244754 w 1685626"/>
                <a:gd name="connsiteY91" fmla="*/ 953962 h 1619249"/>
                <a:gd name="connsiteX92" fmla="*/ 237044 w 1685626"/>
                <a:gd name="connsiteY92" fmla="*/ 955877 h 1619249"/>
                <a:gd name="connsiteX93" fmla="*/ 233189 w 1685626"/>
                <a:gd name="connsiteY93" fmla="*/ 957793 h 1619249"/>
                <a:gd name="connsiteX94" fmla="*/ 202347 w 1685626"/>
                <a:gd name="connsiteY94" fmla="*/ 1001851 h 1619249"/>
                <a:gd name="connsiteX95" fmla="*/ 240899 w 1685626"/>
                <a:gd name="connsiteY95" fmla="*/ 1028669 h 1619249"/>
                <a:gd name="connsiteX96" fmla="*/ 250537 w 1685626"/>
                <a:gd name="connsiteY96" fmla="*/ 1026754 h 1619249"/>
                <a:gd name="connsiteX97" fmla="*/ 252464 w 1685626"/>
                <a:gd name="connsiteY97" fmla="*/ 1024838 h 1619249"/>
                <a:gd name="connsiteX98" fmla="*/ 260175 w 1685626"/>
                <a:gd name="connsiteY98" fmla="*/ 1024838 h 1619249"/>
                <a:gd name="connsiteX99" fmla="*/ 281378 w 1685626"/>
                <a:gd name="connsiteY99" fmla="*/ 1017176 h 1619249"/>
                <a:gd name="connsiteX100" fmla="*/ 292944 w 1685626"/>
                <a:gd name="connsiteY100" fmla="*/ 1013345 h 1619249"/>
                <a:gd name="connsiteX101" fmla="*/ 294871 w 1685626"/>
                <a:gd name="connsiteY101" fmla="*/ 1013345 h 1619249"/>
                <a:gd name="connsiteX102" fmla="*/ 358482 w 1685626"/>
                <a:gd name="connsiteY102" fmla="*/ 996104 h 1619249"/>
                <a:gd name="connsiteX103" fmla="*/ 360409 w 1685626"/>
                <a:gd name="connsiteY103" fmla="*/ 996104 h 1619249"/>
                <a:gd name="connsiteX104" fmla="*/ 375830 w 1685626"/>
                <a:gd name="connsiteY104" fmla="*/ 1001851 h 1619249"/>
                <a:gd name="connsiteX105" fmla="*/ 377758 w 1685626"/>
                <a:gd name="connsiteY105" fmla="*/ 1003767 h 1619249"/>
                <a:gd name="connsiteX106" fmla="*/ 395106 w 1685626"/>
                <a:gd name="connsiteY106" fmla="*/ 1001851 h 1619249"/>
                <a:gd name="connsiteX107" fmla="*/ 553168 w 1685626"/>
                <a:gd name="connsiteY107" fmla="*/ 1225974 h 1619249"/>
                <a:gd name="connsiteX108" fmla="*/ 605213 w 1685626"/>
                <a:gd name="connsiteY108" fmla="*/ 1260455 h 1619249"/>
                <a:gd name="connsiteX109" fmla="*/ 595575 w 1685626"/>
                <a:gd name="connsiteY109" fmla="*/ 1273864 h 1619249"/>
                <a:gd name="connsiteX110" fmla="*/ 597503 w 1685626"/>
                <a:gd name="connsiteY110" fmla="*/ 1275780 h 1619249"/>
                <a:gd name="connsiteX111" fmla="*/ 599430 w 1685626"/>
                <a:gd name="connsiteY111" fmla="*/ 1294935 h 1619249"/>
                <a:gd name="connsiteX112" fmla="*/ 568589 w 1685626"/>
                <a:gd name="connsiteY112" fmla="*/ 1350487 h 1619249"/>
                <a:gd name="connsiteX113" fmla="*/ 568589 w 1685626"/>
                <a:gd name="connsiteY113" fmla="*/ 1352403 h 1619249"/>
                <a:gd name="connsiteX114" fmla="*/ 560879 w 1685626"/>
                <a:gd name="connsiteY114" fmla="*/ 1361981 h 1619249"/>
                <a:gd name="connsiteX115" fmla="*/ 547386 w 1685626"/>
                <a:gd name="connsiteY115" fmla="*/ 1381137 h 1619249"/>
                <a:gd name="connsiteX116" fmla="*/ 543530 w 1685626"/>
                <a:gd name="connsiteY116" fmla="*/ 1386884 h 1619249"/>
                <a:gd name="connsiteX117" fmla="*/ 541603 w 1685626"/>
                <a:gd name="connsiteY117" fmla="*/ 1388799 h 1619249"/>
                <a:gd name="connsiteX118" fmla="*/ 557023 w 1685626"/>
                <a:gd name="connsiteY118" fmla="*/ 1440520 h 1619249"/>
                <a:gd name="connsiteX119" fmla="*/ 570517 w 1685626"/>
                <a:gd name="connsiteY119" fmla="*/ 1444351 h 1619249"/>
                <a:gd name="connsiteX120" fmla="*/ 607141 w 1685626"/>
                <a:gd name="connsiteY120" fmla="*/ 1421364 h 1619249"/>
                <a:gd name="connsiteX121" fmla="*/ 609068 w 1685626"/>
                <a:gd name="connsiteY121" fmla="*/ 1419448 h 1619249"/>
                <a:gd name="connsiteX122" fmla="*/ 612924 w 1685626"/>
                <a:gd name="connsiteY122" fmla="*/ 1413702 h 1619249"/>
                <a:gd name="connsiteX123" fmla="*/ 620634 w 1685626"/>
                <a:gd name="connsiteY123" fmla="*/ 1392630 h 1619249"/>
                <a:gd name="connsiteX124" fmla="*/ 624489 w 1685626"/>
                <a:gd name="connsiteY124" fmla="*/ 1381137 h 1619249"/>
                <a:gd name="connsiteX125" fmla="*/ 649548 w 1685626"/>
                <a:gd name="connsiteY125" fmla="*/ 1321754 h 1619249"/>
                <a:gd name="connsiteX126" fmla="*/ 664968 w 1685626"/>
                <a:gd name="connsiteY126" fmla="*/ 1310260 h 1619249"/>
                <a:gd name="connsiteX127" fmla="*/ 666896 w 1685626"/>
                <a:gd name="connsiteY127" fmla="*/ 1308345 h 1619249"/>
                <a:gd name="connsiteX128" fmla="*/ 674606 w 1685626"/>
                <a:gd name="connsiteY128" fmla="*/ 1293020 h 1619249"/>
                <a:gd name="connsiteX129" fmla="*/ 842307 w 1685626"/>
                <a:gd name="connsiteY129" fmla="*/ 1323669 h 1619249"/>
                <a:gd name="connsiteX130" fmla="*/ 946396 w 1685626"/>
                <a:gd name="connsiteY130" fmla="*/ 1310260 h 1619249"/>
                <a:gd name="connsiteX131" fmla="*/ 1008079 w 1685626"/>
                <a:gd name="connsiteY131" fmla="*/ 1293020 h 1619249"/>
                <a:gd name="connsiteX132" fmla="*/ 1015790 w 1685626"/>
                <a:gd name="connsiteY132" fmla="*/ 1306429 h 1619249"/>
                <a:gd name="connsiteX133" fmla="*/ 1017717 w 1685626"/>
                <a:gd name="connsiteY133" fmla="*/ 1308345 h 1619249"/>
                <a:gd name="connsiteX134" fmla="*/ 1033138 w 1685626"/>
                <a:gd name="connsiteY134" fmla="*/ 1319838 h 1619249"/>
                <a:gd name="connsiteX135" fmla="*/ 1058197 w 1685626"/>
                <a:gd name="connsiteY135" fmla="*/ 1379221 h 1619249"/>
                <a:gd name="connsiteX136" fmla="*/ 1058197 w 1685626"/>
                <a:gd name="connsiteY136" fmla="*/ 1381137 h 1619249"/>
                <a:gd name="connsiteX137" fmla="*/ 1062052 w 1685626"/>
                <a:gd name="connsiteY137" fmla="*/ 1392630 h 1619249"/>
                <a:gd name="connsiteX138" fmla="*/ 1069762 w 1685626"/>
                <a:gd name="connsiteY138" fmla="*/ 1413702 h 1619249"/>
                <a:gd name="connsiteX139" fmla="*/ 1073617 w 1685626"/>
                <a:gd name="connsiteY139" fmla="*/ 1419448 h 1619249"/>
                <a:gd name="connsiteX140" fmla="*/ 1075545 w 1685626"/>
                <a:gd name="connsiteY140" fmla="*/ 1421364 h 1619249"/>
                <a:gd name="connsiteX141" fmla="*/ 1112169 w 1685626"/>
                <a:gd name="connsiteY141" fmla="*/ 1444351 h 1619249"/>
                <a:gd name="connsiteX142" fmla="*/ 1127590 w 1685626"/>
                <a:gd name="connsiteY142" fmla="*/ 1440520 h 1619249"/>
                <a:gd name="connsiteX143" fmla="*/ 1144938 w 1685626"/>
                <a:gd name="connsiteY143" fmla="*/ 1419448 h 1619249"/>
                <a:gd name="connsiteX144" fmla="*/ 1143011 w 1685626"/>
                <a:gd name="connsiteY144" fmla="*/ 1390715 h 1619249"/>
                <a:gd name="connsiteX145" fmla="*/ 1141083 w 1685626"/>
                <a:gd name="connsiteY145" fmla="*/ 1388799 h 1619249"/>
                <a:gd name="connsiteX146" fmla="*/ 1137228 w 1685626"/>
                <a:gd name="connsiteY146" fmla="*/ 1383052 h 1619249"/>
                <a:gd name="connsiteX147" fmla="*/ 1123735 w 1685626"/>
                <a:gd name="connsiteY147" fmla="*/ 1363896 h 1619249"/>
                <a:gd name="connsiteX148" fmla="*/ 1116024 w 1685626"/>
                <a:gd name="connsiteY148" fmla="*/ 1354319 h 1619249"/>
                <a:gd name="connsiteX149" fmla="*/ 1116024 w 1685626"/>
                <a:gd name="connsiteY149" fmla="*/ 1350487 h 1619249"/>
                <a:gd name="connsiteX150" fmla="*/ 1085183 w 1685626"/>
                <a:gd name="connsiteY150" fmla="*/ 1294935 h 1619249"/>
                <a:gd name="connsiteX151" fmla="*/ 1087110 w 1685626"/>
                <a:gd name="connsiteY151" fmla="*/ 1275780 h 1619249"/>
                <a:gd name="connsiteX152" fmla="*/ 1089038 w 1685626"/>
                <a:gd name="connsiteY152" fmla="*/ 1273864 h 1619249"/>
                <a:gd name="connsiteX153" fmla="*/ 1083255 w 1685626"/>
                <a:gd name="connsiteY153" fmla="*/ 1258539 h 1619249"/>
                <a:gd name="connsiteX154" fmla="*/ 1291435 w 1685626"/>
                <a:gd name="connsiteY154" fmla="*/ 998020 h 1619249"/>
                <a:gd name="connsiteX155" fmla="*/ 1306856 w 1685626"/>
                <a:gd name="connsiteY155" fmla="*/ 999936 h 1619249"/>
                <a:gd name="connsiteX156" fmla="*/ 1308783 w 1685626"/>
                <a:gd name="connsiteY156" fmla="*/ 998020 h 1619249"/>
                <a:gd name="connsiteX157" fmla="*/ 1324204 w 1685626"/>
                <a:gd name="connsiteY157" fmla="*/ 992273 h 1619249"/>
                <a:gd name="connsiteX158" fmla="*/ 1326132 w 1685626"/>
                <a:gd name="connsiteY158" fmla="*/ 992273 h 1619249"/>
                <a:gd name="connsiteX159" fmla="*/ 1387814 w 1685626"/>
                <a:gd name="connsiteY159" fmla="*/ 1009514 h 1619249"/>
                <a:gd name="connsiteX160" fmla="*/ 1389742 w 1685626"/>
                <a:gd name="connsiteY160" fmla="*/ 1009514 h 1619249"/>
                <a:gd name="connsiteX161" fmla="*/ 1401307 w 1685626"/>
                <a:gd name="connsiteY161" fmla="*/ 1013345 h 1619249"/>
                <a:gd name="connsiteX162" fmla="*/ 1422511 w 1685626"/>
                <a:gd name="connsiteY162" fmla="*/ 1022923 h 1619249"/>
                <a:gd name="connsiteX163" fmla="*/ 1430221 w 1685626"/>
                <a:gd name="connsiteY163" fmla="*/ 1024838 h 1619249"/>
                <a:gd name="connsiteX164" fmla="*/ 1434077 w 1685626"/>
                <a:gd name="connsiteY164" fmla="*/ 1026754 h 1619249"/>
                <a:gd name="connsiteX165" fmla="*/ 1443714 w 1685626"/>
                <a:gd name="connsiteY165" fmla="*/ 1028669 h 1619249"/>
                <a:gd name="connsiteX166" fmla="*/ 1482266 w 1685626"/>
                <a:gd name="connsiteY166" fmla="*/ 1001851 h 1619249"/>
                <a:gd name="connsiteX167" fmla="*/ 1447570 w 1685626"/>
                <a:gd name="connsiteY167" fmla="*/ 961624 h 1619249"/>
                <a:gd name="connsiteX168" fmla="*/ 1443714 w 1685626"/>
                <a:gd name="connsiteY168" fmla="*/ 959708 h 1619249"/>
                <a:gd name="connsiteX169" fmla="*/ 1436004 w 1685626"/>
                <a:gd name="connsiteY169" fmla="*/ 957793 h 1619249"/>
                <a:gd name="connsiteX170" fmla="*/ 1412873 w 1685626"/>
                <a:gd name="connsiteY170" fmla="*/ 955877 h 1619249"/>
                <a:gd name="connsiteX171" fmla="*/ 1401307 w 1685626"/>
                <a:gd name="connsiteY171" fmla="*/ 953962 h 1619249"/>
                <a:gd name="connsiteX172" fmla="*/ 1399380 w 1685626"/>
                <a:gd name="connsiteY172" fmla="*/ 953962 h 1619249"/>
                <a:gd name="connsiteX173" fmla="*/ 1333842 w 1685626"/>
                <a:gd name="connsiteY173" fmla="*/ 942468 h 1619249"/>
                <a:gd name="connsiteX174" fmla="*/ 1320349 w 1685626"/>
                <a:gd name="connsiteY174" fmla="*/ 929059 h 1619249"/>
                <a:gd name="connsiteX175" fmla="*/ 1304928 w 1685626"/>
                <a:gd name="connsiteY175" fmla="*/ 925228 h 1619249"/>
                <a:gd name="connsiteX176" fmla="*/ 1297218 w 1685626"/>
                <a:gd name="connsiteY176" fmla="*/ 756656 h 1619249"/>
                <a:gd name="connsiteX177" fmla="*/ 1229752 w 1685626"/>
                <a:gd name="connsiteY177" fmla="*/ 599579 h 1619249"/>
                <a:gd name="connsiteX178" fmla="*/ 1241318 w 1685626"/>
                <a:gd name="connsiteY178" fmla="*/ 588085 h 1619249"/>
                <a:gd name="connsiteX179" fmla="*/ 1241318 w 1685626"/>
                <a:gd name="connsiteY179" fmla="*/ 586170 h 1619249"/>
                <a:gd name="connsiteX180" fmla="*/ 1247100 w 1685626"/>
                <a:gd name="connsiteY180" fmla="*/ 568929 h 1619249"/>
                <a:gd name="connsiteX181" fmla="*/ 1301073 w 1685626"/>
                <a:gd name="connsiteY181" fmla="*/ 530618 h 1619249"/>
                <a:gd name="connsiteX182" fmla="*/ 1312638 w 1685626"/>
                <a:gd name="connsiteY182" fmla="*/ 524871 h 1619249"/>
                <a:gd name="connsiteX183" fmla="*/ 1333842 w 1685626"/>
                <a:gd name="connsiteY183" fmla="*/ 513376 h 1619249"/>
                <a:gd name="connsiteX184" fmla="*/ 1339625 w 1685626"/>
                <a:gd name="connsiteY184" fmla="*/ 509545 h 1619249"/>
                <a:gd name="connsiteX185" fmla="*/ 1339625 w 1685626"/>
                <a:gd name="connsiteY185" fmla="*/ 505714 h 1619249"/>
                <a:gd name="connsiteX186" fmla="*/ 1347335 w 1685626"/>
                <a:gd name="connsiteY186" fmla="*/ 452078 h 1619249"/>
                <a:gd name="connsiteX187" fmla="*/ 1320349 w 1685626"/>
                <a:gd name="connsiteY187" fmla="*/ 438669 h 1619249"/>
                <a:gd name="connsiteX188" fmla="*/ 1293362 w 1685626"/>
                <a:gd name="connsiteY188" fmla="*/ 448247 h 1619249"/>
                <a:gd name="connsiteX189" fmla="*/ 1291435 w 1685626"/>
                <a:gd name="connsiteY189" fmla="*/ 450162 h 1619249"/>
                <a:gd name="connsiteX190" fmla="*/ 1285652 w 1685626"/>
                <a:gd name="connsiteY190" fmla="*/ 453993 h 1619249"/>
                <a:gd name="connsiteX191" fmla="*/ 1270231 w 1685626"/>
                <a:gd name="connsiteY191" fmla="*/ 471234 h 1619249"/>
                <a:gd name="connsiteX192" fmla="*/ 1262521 w 1685626"/>
                <a:gd name="connsiteY192" fmla="*/ 478896 h 1619249"/>
                <a:gd name="connsiteX193" fmla="*/ 1214331 w 1685626"/>
                <a:gd name="connsiteY193" fmla="*/ 521040 h 1619249"/>
                <a:gd name="connsiteX194" fmla="*/ 1202766 w 1685626"/>
                <a:gd name="connsiteY194" fmla="*/ 524871 h 1619249"/>
                <a:gd name="connsiteX195" fmla="*/ 1195055 w 1685626"/>
                <a:gd name="connsiteY195" fmla="*/ 522955 h 1619249"/>
                <a:gd name="connsiteX196" fmla="*/ 1193128 w 1685626"/>
                <a:gd name="connsiteY196" fmla="*/ 522955 h 1619249"/>
                <a:gd name="connsiteX197" fmla="*/ 1177707 w 1685626"/>
                <a:gd name="connsiteY197" fmla="*/ 532533 h 1619249"/>
                <a:gd name="connsiteX198" fmla="*/ 1129517 w 1685626"/>
                <a:gd name="connsiteY198" fmla="*/ 486558 h 1619249"/>
                <a:gd name="connsiteX199" fmla="*/ 878931 w 1685626"/>
                <a:gd name="connsiteY199" fmla="*/ 386948 h 1619249"/>
                <a:gd name="connsiteX200" fmla="*/ 877003 w 1685626"/>
                <a:gd name="connsiteY200" fmla="*/ 371623 h 1619249"/>
                <a:gd name="connsiteX201" fmla="*/ 877003 w 1685626"/>
                <a:gd name="connsiteY201" fmla="*/ 373539 h 1619249"/>
                <a:gd name="connsiteX202" fmla="*/ 867365 w 1685626"/>
                <a:gd name="connsiteY202" fmla="*/ 358214 h 1619249"/>
                <a:gd name="connsiteX203" fmla="*/ 871221 w 1685626"/>
                <a:gd name="connsiteY203" fmla="*/ 293084 h 1619249"/>
                <a:gd name="connsiteX204" fmla="*/ 871221 w 1685626"/>
                <a:gd name="connsiteY204" fmla="*/ 291169 h 1619249"/>
                <a:gd name="connsiteX205" fmla="*/ 873148 w 1685626"/>
                <a:gd name="connsiteY205" fmla="*/ 279675 h 1619249"/>
                <a:gd name="connsiteX206" fmla="*/ 877003 w 1685626"/>
                <a:gd name="connsiteY206" fmla="*/ 256688 h 1619249"/>
                <a:gd name="connsiteX207" fmla="*/ 877003 w 1685626"/>
                <a:gd name="connsiteY207" fmla="*/ 245195 h 1619249"/>
                <a:gd name="connsiteX208" fmla="*/ 844234 w 1685626"/>
                <a:gd name="connsiteY208" fmla="*/ 204967 h 1619249"/>
                <a:gd name="connsiteX209" fmla="*/ 840379 w 1685626"/>
                <a:gd name="connsiteY209" fmla="*/ 0 h 1619249"/>
                <a:gd name="connsiteX210" fmla="*/ 888569 w 1685626"/>
                <a:gd name="connsiteY210" fmla="*/ 9578 h 1619249"/>
                <a:gd name="connsiteX211" fmla="*/ 1476483 w 1685626"/>
                <a:gd name="connsiteY211" fmla="*/ 289254 h 1619249"/>
                <a:gd name="connsiteX212" fmla="*/ 1538166 w 1685626"/>
                <a:gd name="connsiteY212" fmla="*/ 360130 h 1619249"/>
                <a:gd name="connsiteX213" fmla="*/ 1684663 w 1685626"/>
                <a:gd name="connsiteY213" fmla="*/ 986527 h 1619249"/>
                <a:gd name="connsiteX214" fmla="*/ 1661532 w 1685626"/>
                <a:gd name="connsiteY214" fmla="*/ 1078475 h 1619249"/>
                <a:gd name="connsiteX215" fmla="*/ 1254811 w 1685626"/>
                <a:gd name="connsiteY215" fmla="*/ 1578442 h 1619249"/>
                <a:gd name="connsiteX216" fmla="*/ 1166142 w 1685626"/>
                <a:gd name="connsiteY216" fmla="*/ 1618669 h 1619249"/>
                <a:gd name="connsiteX217" fmla="*/ 518472 w 1685626"/>
                <a:gd name="connsiteY217" fmla="*/ 1618669 h 1619249"/>
                <a:gd name="connsiteX218" fmla="*/ 429803 w 1685626"/>
                <a:gd name="connsiteY218" fmla="*/ 1578442 h 1619249"/>
                <a:gd name="connsiteX219" fmla="*/ 23081 w 1685626"/>
                <a:gd name="connsiteY219" fmla="*/ 1078475 h 1619249"/>
                <a:gd name="connsiteX220" fmla="*/ 1878 w 1685626"/>
                <a:gd name="connsiteY220" fmla="*/ 986527 h 1619249"/>
                <a:gd name="connsiteX221" fmla="*/ 146447 w 1685626"/>
                <a:gd name="connsiteY221" fmla="*/ 356299 h 1619249"/>
                <a:gd name="connsiteX222" fmla="*/ 204275 w 1685626"/>
                <a:gd name="connsiteY222" fmla="*/ 285422 h 1619249"/>
                <a:gd name="connsiteX223" fmla="*/ 792189 w 1685626"/>
                <a:gd name="connsiteY223" fmla="*/ 3832 h 1619249"/>
                <a:gd name="connsiteX224" fmla="*/ 840379 w 1685626"/>
                <a:gd name="connsiteY224" fmla="*/ 0 h 1619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Lst>
              <a:rect l="l" t="t" r="r" b="b"/>
              <a:pathLst>
                <a:path w="1685626" h="1619249">
                  <a:moveTo>
                    <a:pt x="829296" y="1034895"/>
                  </a:moveTo>
                  <a:cubicBezTo>
                    <a:pt x="836042" y="1033458"/>
                    <a:pt x="843271" y="1034416"/>
                    <a:pt x="850017" y="1038247"/>
                  </a:cubicBezTo>
                  <a:cubicBezTo>
                    <a:pt x="855800" y="1042078"/>
                    <a:pt x="859655" y="1045910"/>
                    <a:pt x="865438" y="1051656"/>
                  </a:cubicBezTo>
                  <a:lnTo>
                    <a:pt x="957962" y="1218312"/>
                  </a:lnTo>
                  <a:cubicBezTo>
                    <a:pt x="946396" y="1220228"/>
                    <a:pt x="934831" y="1222143"/>
                    <a:pt x="921338" y="1225974"/>
                  </a:cubicBezTo>
                  <a:cubicBezTo>
                    <a:pt x="894352" y="1231721"/>
                    <a:pt x="867365" y="1235552"/>
                    <a:pt x="838451" y="1235552"/>
                  </a:cubicBezTo>
                  <a:cubicBezTo>
                    <a:pt x="797972" y="1235552"/>
                    <a:pt x="755565" y="1227890"/>
                    <a:pt x="717013" y="1216397"/>
                  </a:cubicBezTo>
                  <a:lnTo>
                    <a:pt x="811465" y="1045910"/>
                  </a:lnTo>
                  <a:cubicBezTo>
                    <a:pt x="816284" y="1040163"/>
                    <a:pt x="822549" y="1036332"/>
                    <a:pt x="829296" y="1034895"/>
                  </a:cubicBezTo>
                  <a:close/>
                  <a:moveTo>
                    <a:pt x="674606" y="955877"/>
                  </a:moveTo>
                  <a:cubicBezTo>
                    <a:pt x="690027" y="955877"/>
                    <a:pt x="705448" y="965455"/>
                    <a:pt x="707375" y="980780"/>
                  </a:cubicBezTo>
                  <a:cubicBezTo>
                    <a:pt x="709303" y="986527"/>
                    <a:pt x="709303" y="994189"/>
                    <a:pt x="705448" y="999936"/>
                  </a:cubicBezTo>
                  <a:lnTo>
                    <a:pt x="632199" y="1176169"/>
                  </a:lnTo>
                  <a:cubicBezTo>
                    <a:pt x="564734" y="1132111"/>
                    <a:pt x="510761" y="1065065"/>
                    <a:pt x="483775" y="988442"/>
                  </a:cubicBezTo>
                  <a:close/>
                  <a:moveTo>
                    <a:pt x="1000369" y="953962"/>
                  </a:moveTo>
                  <a:lnTo>
                    <a:pt x="1193128" y="986527"/>
                  </a:lnTo>
                  <a:cubicBezTo>
                    <a:pt x="1183490" y="1013345"/>
                    <a:pt x="1171924" y="1038247"/>
                    <a:pt x="1156504" y="1059319"/>
                  </a:cubicBezTo>
                  <a:cubicBezTo>
                    <a:pt x="1127590" y="1105293"/>
                    <a:pt x="1087110" y="1145520"/>
                    <a:pt x="1040848" y="1174254"/>
                  </a:cubicBezTo>
                  <a:lnTo>
                    <a:pt x="965672" y="994189"/>
                  </a:lnTo>
                  <a:cubicBezTo>
                    <a:pt x="961817" y="978864"/>
                    <a:pt x="969528" y="963540"/>
                    <a:pt x="983021" y="957793"/>
                  </a:cubicBezTo>
                  <a:cubicBezTo>
                    <a:pt x="988803" y="955877"/>
                    <a:pt x="994586" y="953962"/>
                    <a:pt x="1000369" y="953962"/>
                  </a:cubicBezTo>
                  <a:close/>
                  <a:moveTo>
                    <a:pt x="809538" y="800714"/>
                  </a:moveTo>
                  <a:lnTo>
                    <a:pt x="867365" y="800714"/>
                  </a:lnTo>
                  <a:lnTo>
                    <a:pt x="903989" y="846688"/>
                  </a:lnTo>
                  <a:lnTo>
                    <a:pt x="890496" y="902241"/>
                  </a:lnTo>
                  <a:lnTo>
                    <a:pt x="838451" y="927143"/>
                  </a:lnTo>
                  <a:lnTo>
                    <a:pt x="786407" y="902241"/>
                  </a:lnTo>
                  <a:lnTo>
                    <a:pt x="772913" y="846688"/>
                  </a:lnTo>
                  <a:close/>
                  <a:moveTo>
                    <a:pt x="1158431" y="664708"/>
                  </a:moveTo>
                  <a:cubicBezTo>
                    <a:pt x="1179635" y="699188"/>
                    <a:pt x="1195055" y="737500"/>
                    <a:pt x="1204693" y="777728"/>
                  </a:cubicBezTo>
                  <a:cubicBezTo>
                    <a:pt x="1214331" y="817954"/>
                    <a:pt x="1216259" y="858182"/>
                    <a:pt x="1212404" y="898410"/>
                  </a:cubicBezTo>
                  <a:lnTo>
                    <a:pt x="1029283" y="846688"/>
                  </a:lnTo>
                  <a:cubicBezTo>
                    <a:pt x="1011934" y="842858"/>
                    <a:pt x="1002297" y="825616"/>
                    <a:pt x="1006152" y="808376"/>
                  </a:cubicBezTo>
                  <a:cubicBezTo>
                    <a:pt x="1008079" y="802630"/>
                    <a:pt x="1010007" y="798798"/>
                    <a:pt x="1013862" y="794968"/>
                  </a:cubicBezTo>
                  <a:close/>
                  <a:moveTo>
                    <a:pt x="516544" y="664708"/>
                  </a:moveTo>
                  <a:lnTo>
                    <a:pt x="659186" y="791136"/>
                  </a:lnTo>
                  <a:cubicBezTo>
                    <a:pt x="672679" y="802630"/>
                    <a:pt x="674606" y="821786"/>
                    <a:pt x="663041" y="835194"/>
                  </a:cubicBezTo>
                  <a:cubicBezTo>
                    <a:pt x="659186" y="840942"/>
                    <a:pt x="655331" y="842858"/>
                    <a:pt x="647620" y="844772"/>
                  </a:cubicBezTo>
                  <a:lnTo>
                    <a:pt x="460644" y="898410"/>
                  </a:lnTo>
                  <a:cubicBezTo>
                    <a:pt x="454861" y="817954"/>
                    <a:pt x="474137" y="735584"/>
                    <a:pt x="516544" y="664708"/>
                  </a:cubicBezTo>
                  <a:close/>
                  <a:moveTo>
                    <a:pt x="882786" y="490389"/>
                  </a:moveTo>
                  <a:cubicBezTo>
                    <a:pt x="967600" y="499967"/>
                    <a:pt x="1042776" y="536364"/>
                    <a:pt x="1100604" y="593832"/>
                  </a:cubicBezTo>
                  <a:lnTo>
                    <a:pt x="942541" y="704935"/>
                  </a:lnTo>
                  <a:cubicBezTo>
                    <a:pt x="929048" y="712597"/>
                    <a:pt x="909772" y="710681"/>
                    <a:pt x="900134" y="697272"/>
                  </a:cubicBezTo>
                  <a:cubicBezTo>
                    <a:pt x="896279" y="693441"/>
                    <a:pt x="894352" y="689610"/>
                    <a:pt x="894352" y="683863"/>
                  </a:cubicBezTo>
                  <a:close/>
                  <a:moveTo>
                    <a:pt x="790262" y="488474"/>
                  </a:moveTo>
                  <a:lnTo>
                    <a:pt x="780624" y="680032"/>
                  </a:lnTo>
                  <a:cubicBezTo>
                    <a:pt x="780624" y="697272"/>
                    <a:pt x="765203" y="710681"/>
                    <a:pt x="747855" y="710681"/>
                  </a:cubicBezTo>
                  <a:cubicBezTo>
                    <a:pt x="742072" y="710681"/>
                    <a:pt x="738217" y="708766"/>
                    <a:pt x="732434" y="706850"/>
                  </a:cubicBezTo>
                  <a:lnTo>
                    <a:pt x="572444" y="593832"/>
                  </a:lnTo>
                  <a:cubicBezTo>
                    <a:pt x="622561" y="545942"/>
                    <a:pt x="684244" y="511461"/>
                    <a:pt x="751710" y="496136"/>
                  </a:cubicBezTo>
                  <a:close/>
                  <a:moveTo>
                    <a:pt x="844234" y="204967"/>
                  </a:moveTo>
                  <a:cubicBezTo>
                    <a:pt x="832669" y="203052"/>
                    <a:pt x="821103" y="208799"/>
                    <a:pt x="811465" y="218377"/>
                  </a:cubicBezTo>
                  <a:cubicBezTo>
                    <a:pt x="803755" y="226039"/>
                    <a:pt x="799900" y="235617"/>
                    <a:pt x="799900" y="245195"/>
                  </a:cubicBezTo>
                  <a:lnTo>
                    <a:pt x="799900" y="254773"/>
                  </a:lnTo>
                  <a:cubicBezTo>
                    <a:pt x="799900" y="262435"/>
                    <a:pt x="801827" y="270097"/>
                    <a:pt x="803755" y="277760"/>
                  </a:cubicBezTo>
                  <a:cubicBezTo>
                    <a:pt x="805682" y="281591"/>
                    <a:pt x="805682" y="285422"/>
                    <a:pt x="805682" y="289253"/>
                  </a:cubicBezTo>
                  <a:lnTo>
                    <a:pt x="805682" y="291169"/>
                  </a:lnTo>
                  <a:cubicBezTo>
                    <a:pt x="809538" y="312240"/>
                    <a:pt x="809538" y="333312"/>
                    <a:pt x="809538" y="356299"/>
                  </a:cubicBezTo>
                  <a:cubicBezTo>
                    <a:pt x="807610" y="362045"/>
                    <a:pt x="805682" y="367792"/>
                    <a:pt x="799900" y="371623"/>
                  </a:cubicBezTo>
                  <a:lnTo>
                    <a:pt x="799900" y="375454"/>
                  </a:lnTo>
                  <a:lnTo>
                    <a:pt x="797972" y="390779"/>
                  </a:lnTo>
                  <a:cubicBezTo>
                    <a:pt x="776769" y="392695"/>
                    <a:pt x="755565" y="396526"/>
                    <a:pt x="732434" y="400357"/>
                  </a:cubicBezTo>
                  <a:cubicBezTo>
                    <a:pt x="641837" y="419513"/>
                    <a:pt x="558951" y="467402"/>
                    <a:pt x="495341" y="534449"/>
                  </a:cubicBezTo>
                  <a:lnTo>
                    <a:pt x="483775" y="526787"/>
                  </a:lnTo>
                  <a:lnTo>
                    <a:pt x="481848" y="526787"/>
                  </a:lnTo>
                  <a:cubicBezTo>
                    <a:pt x="479920" y="526787"/>
                    <a:pt x="477992" y="528702"/>
                    <a:pt x="474137" y="528702"/>
                  </a:cubicBezTo>
                  <a:cubicBezTo>
                    <a:pt x="470282" y="528702"/>
                    <a:pt x="466427" y="526787"/>
                    <a:pt x="462572" y="524871"/>
                  </a:cubicBezTo>
                  <a:cubicBezTo>
                    <a:pt x="445223" y="511461"/>
                    <a:pt x="427875" y="496136"/>
                    <a:pt x="414382" y="480812"/>
                  </a:cubicBezTo>
                  <a:cubicBezTo>
                    <a:pt x="412454" y="476980"/>
                    <a:pt x="408599" y="475065"/>
                    <a:pt x="406672" y="473149"/>
                  </a:cubicBezTo>
                  <a:cubicBezTo>
                    <a:pt x="400889" y="467402"/>
                    <a:pt x="397034" y="461656"/>
                    <a:pt x="391251" y="455909"/>
                  </a:cubicBezTo>
                  <a:cubicBezTo>
                    <a:pt x="389323" y="453993"/>
                    <a:pt x="387396" y="453993"/>
                    <a:pt x="385468" y="452078"/>
                  </a:cubicBezTo>
                  <a:cubicBezTo>
                    <a:pt x="383540" y="450162"/>
                    <a:pt x="383540" y="450162"/>
                    <a:pt x="383540" y="450162"/>
                  </a:cubicBezTo>
                  <a:cubicBezTo>
                    <a:pt x="375830" y="444415"/>
                    <a:pt x="366192" y="440584"/>
                    <a:pt x="356554" y="440584"/>
                  </a:cubicBezTo>
                  <a:cubicBezTo>
                    <a:pt x="344989" y="440584"/>
                    <a:pt x="335351" y="444415"/>
                    <a:pt x="329568" y="453993"/>
                  </a:cubicBezTo>
                  <a:cubicBezTo>
                    <a:pt x="318002" y="471234"/>
                    <a:pt x="321858" y="494221"/>
                    <a:pt x="337278" y="507630"/>
                  </a:cubicBezTo>
                  <a:cubicBezTo>
                    <a:pt x="339206" y="507630"/>
                    <a:pt x="339206" y="509545"/>
                    <a:pt x="339206" y="509545"/>
                  </a:cubicBezTo>
                  <a:cubicBezTo>
                    <a:pt x="339206" y="509545"/>
                    <a:pt x="343061" y="513376"/>
                    <a:pt x="344989" y="513376"/>
                  </a:cubicBezTo>
                  <a:cubicBezTo>
                    <a:pt x="350771" y="517209"/>
                    <a:pt x="358482" y="521040"/>
                    <a:pt x="366192" y="524871"/>
                  </a:cubicBezTo>
                  <a:cubicBezTo>
                    <a:pt x="370047" y="526787"/>
                    <a:pt x="373903" y="528702"/>
                    <a:pt x="377758" y="530618"/>
                  </a:cubicBezTo>
                  <a:cubicBezTo>
                    <a:pt x="397034" y="542111"/>
                    <a:pt x="416309" y="553605"/>
                    <a:pt x="431730" y="568929"/>
                  </a:cubicBezTo>
                  <a:cubicBezTo>
                    <a:pt x="435585" y="572761"/>
                    <a:pt x="439441" y="580423"/>
                    <a:pt x="437513" y="586170"/>
                  </a:cubicBezTo>
                  <a:lnTo>
                    <a:pt x="437513" y="584254"/>
                  </a:lnTo>
                  <a:lnTo>
                    <a:pt x="449078" y="595748"/>
                  </a:lnTo>
                  <a:cubicBezTo>
                    <a:pt x="447151" y="599579"/>
                    <a:pt x="445223" y="601494"/>
                    <a:pt x="443296" y="605325"/>
                  </a:cubicBezTo>
                  <a:cubicBezTo>
                    <a:pt x="383540" y="699188"/>
                    <a:pt x="358482" y="810292"/>
                    <a:pt x="375830" y="919481"/>
                  </a:cubicBezTo>
                  <a:lnTo>
                    <a:pt x="360409" y="923312"/>
                  </a:lnTo>
                  <a:cubicBezTo>
                    <a:pt x="360409" y="925228"/>
                    <a:pt x="358482" y="925228"/>
                    <a:pt x="358482" y="925228"/>
                  </a:cubicBezTo>
                  <a:cubicBezTo>
                    <a:pt x="356554" y="930975"/>
                    <a:pt x="350771" y="934806"/>
                    <a:pt x="344989" y="938637"/>
                  </a:cubicBezTo>
                  <a:cubicBezTo>
                    <a:pt x="323785" y="944384"/>
                    <a:pt x="302582" y="948215"/>
                    <a:pt x="279451" y="950130"/>
                  </a:cubicBezTo>
                  <a:cubicBezTo>
                    <a:pt x="275595" y="950130"/>
                    <a:pt x="271740" y="950130"/>
                    <a:pt x="267885" y="952046"/>
                  </a:cubicBezTo>
                  <a:cubicBezTo>
                    <a:pt x="260175" y="952046"/>
                    <a:pt x="252464" y="953962"/>
                    <a:pt x="244754" y="953962"/>
                  </a:cubicBezTo>
                  <a:cubicBezTo>
                    <a:pt x="242826" y="953962"/>
                    <a:pt x="240899" y="955877"/>
                    <a:pt x="237044" y="955877"/>
                  </a:cubicBezTo>
                  <a:cubicBezTo>
                    <a:pt x="235116" y="955877"/>
                    <a:pt x="235116" y="955877"/>
                    <a:pt x="233189" y="957793"/>
                  </a:cubicBezTo>
                  <a:cubicBezTo>
                    <a:pt x="211985" y="961624"/>
                    <a:pt x="198492" y="980780"/>
                    <a:pt x="202347" y="1001851"/>
                  </a:cubicBezTo>
                  <a:cubicBezTo>
                    <a:pt x="206202" y="1019091"/>
                    <a:pt x="223551" y="1030585"/>
                    <a:pt x="240899" y="1028669"/>
                  </a:cubicBezTo>
                  <a:cubicBezTo>
                    <a:pt x="244754" y="1028669"/>
                    <a:pt x="246682" y="1028669"/>
                    <a:pt x="250537" y="1026754"/>
                  </a:cubicBezTo>
                  <a:cubicBezTo>
                    <a:pt x="252464" y="1026754"/>
                    <a:pt x="252464" y="1026754"/>
                    <a:pt x="252464" y="1024838"/>
                  </a:cubicBezTo>
                  <a:cubicBezTo>
                    <a:pt x="252464" y="1022923"/>
                    <a:pt x="258247" y="1024838"/>
                    <a:pt x="260175" y="1024838"/>
                  </a:cubicBezTo>
                  <a:cubicBezTo>
                    <a:pt x="267885" y="1022923"/>
                    <a:pt x="275595" y="1019091"/>
                    <a:pt x="281378" y="1017176"/>
                  </a:cubicBezTo>
                  <a:cubicBezTo>
                    <a:pt x="285233" y="1015260"/>
                    <a:pt x="289089" y="1013345"/>
                    <a:pt x="292944" y="1013345"/>
                  </a:cubicBezTo>
                  <a:lnTo>
                    <a:pt x="294871" y="1013345"/>
                  </a:lnTo>
                  <a:cubicBezTo>
                    <a:pt x="316075" y="1005682"/>
                    <a:pt x="335351" y="999936"/>
                    <a:pt x="358482" y="996104"/>
                  </a:cubicBezTo>
                  <a:lnTo>
                    <a:pt x="360409" y="996104"/>
                  </a:lnTo>
                  <a:cubicBezTo>
                    <a:pt x="366192" y="996104"/>
                    <a:pt x="371975" y="998020"/>
                    <a:pt x="375830" y="1001851"/>
                  </a:cubicBezTo>
                  <a:cubicBezTo>
                    <a:pt x="377758" y="1001851"/>
                    <a:pt x="377758" y="1003767"/>
                    <a:pt x="377758" y="1003767"/>
                  </a:cubicBezTo>
                  <a:lnTo>
                    <a:pt x="395106" y="1001851"/>
                  </a:lnTo>
                  <a:cubicBezTo>
                    <a:pt x="424020" y="1089968"/>
                    <a:pt x="477992" y="1168507"/>
                    <a:pt x="553168" y="1225974"/>
                  </a:cubicBezTo>
                  <a:cubicBezTo>
                    <a:pt x="570517" y="1239384"/>
                    <a:pt x="585937" y="1250877"/>
                    <a:pt x="605213" y="1260455"/>
                  </a:cubicBezTo>
                  <a:lnTo>
                    <a:pt x="595575" y="1273864"/>
                  </a:lnTo>
                  <a:cubicBezTo>
                    <a:pt x="595575" y="1275780"/>
                    <a:pt x="597503" y="1275780"/>
                    <a:pt x="597503" y="1275780"/>
                  </a:cubicBezTo>
                  <a:cubicBezTo>
                    <a:pt x="601358" y="1281526"/>
                    <a:pt x="601358" y="1289189"/>
                    <a:pt x="599430" y="1294935"/>
                  </a:cubicBezTo>
                  <a:cubicBezTo>
                    <a:pt x="591720" y="1314091"/>
                    <a:pt x="580155" y="1333247"/>
                    <a:pt x="568589" y="1350487"/>
                  </a:cubicBezTo>
                  <a:lnTo>
                    <a:pt x="568589" y="1352403"/>
                  </a:lnTo>
                  <a:cubicBezTo>
                    <a:pt x="566661" y="1356234"/>
                    <a:pt x="564734" y="1358150"/>
                    <a:pt x="560879" y="1361981"/>
                  </a:cubicBezTo>
                  <a:cubicBezTo>
                    <a:pt x="557023" y="1365812"/>
                    <a:pt x="553168" y="1373474"/>
                    <a:pt x="547386" y="1381137"/>
                  </a:cubicBezTo>
                  <a:cubicBezTo>
                    <a:pt x="545458" y="1383052"/>
                    <a:pt x="545458" y="1384968"/>
                    <a:pt x="543530" y="1386884"/>
                  </a:cubicBezTo>
                  <a:cubicBezTo>
                    <a:pt x="543530" y="1386884"/>
                    <a:pt x="543530" y="1388799"/>
                    <a:pt x="541603" y="1388799"/>
                  </a:cubicBezTo>
                  <a:cubicBezTo>
                    <a:pt x="531965" y="1407955"/>
                    <a:pt x="539675" y="1430942"/>
                    <a:pt x="557023" y="1440520"/>
                  </a:cubicBezTo>
                  <a:cubicBezTo>
                    <a:pt x="560879" y="1442435"/>
                    <a:pt x="566661" y="1444351"/>
                    <a:pt x="570517" y="1444351"/>
                  </a:cubicBezTo>
                  <a:cubicBezTo>
                    <a:pt x="585937" y="1444351"/>
                    <a:pt x="599430" y="1434773"/>
                    <a:pt x="607141" y="1421364"/>
                  </a:cubicBezTo>
                  <a:cubicBezTo>
                    <a:pt x="607141" y="1421364"/>
                    <a:pt x="607141" y="1419448"/>
                    <a:pt x="609068" y="1419448"/>
                  </a:cubicBezTo>
                  <a:cubicBezTo>
                    <a:pt x="609068" y="1417533"/>
                    <a:pt x="610996" y="1415617"/>
                    <a:pt x="612924" y="1413702"/>
                  </a:cubicBezTo>
                  <a:cubicBezTo>
                    <a:pt x="614851" y="1406039"/>
                    <a:pt x="618706" y="1400293"/>
                    <a:pt x="620634" y="1392630"/>
                  </a:cubicBezTo>
                  <a:lnTo>
                    <a:pt x="624489" y="1381137"/>
                  </a:lnTo>
                  <a:cubicBezTo>
                    <a:pt x="630272" y="1360065"/>
                    <a:pt x="639910" y="1340909"/>
                    <a:pt x="649548" y="1321754"/>
                  </a:cubicBezTo>
                  <a:cubicBezTo>
                    <a:pt x="653403" y="1316007"/>
                    <a:pt x="659186" y="1312176"/>
                    <a:pt x="664968" y="1310260"/>
                  </a:cubicBezTo>
                  <a:cubicBezTo>
                    <a:pt x="666896" y="1310260"/>
                    <a:pt x="666896" y="1310260"/>
                    <a:pt x="666896" y="1308345"/>
                  </a:cubicBezTo>
                  <a:lnTo>
                    <a:pt x="674606" y="1293020"/>
                  </a:lnTo>
                  <a:cubicBezTo>
                    <a:pt x="728579" y="1314091"/>
                    <a:pt x="784479" y="1323669"/>
                    <a:pt x="842307" y="1323669"/>
                  </a:cubicBezTo>
                  <a:cubicBezTo>
                    <a:pt x="877003" y="1323669"/>
                    <a:pt x="911700" y="1319838"/>
                    <a:pt x="946396" y="1310260"/>
                  </a:cubicBezTo>
                  <a:cubicBezTo>
                    <a:pt x="967600" y="1306429"/>
                    <a:pt x="988803" y="1298767"/>
                    <a:pt x="1008079" y="1293020"/>
                  </a:cubicBezTo>
                  <a:lnTo>
                    <a:pt x="1015790" y="1306429"/>
                  </a:lnTo>
                  <a:cubicBezTo>
                    <a:pt x="1017717" y="1306429"/>
                    <a:pt x="1017717" y="1306429"/>
                    <a:pt x="1017717" y="1308345"/>
                  </a:cubicBezTo>
                  <a:cubicBezTo>
                    <a:pt x="1023500" y="1310260"/>
                    <a:pt x="1029283" y="1314091"/>
                    <a:pt x="1033138" y="1319838"/>
                  </a:cubicBezTo>
                  <a:cubicBezTo>
                    <a:pt x="1042776" y="1338994"/>
                    <a:pt x="1052414" y="1358150"/>
                    <a:pt x="1058197" y="1379221"/>
                  </a:cubicBezTo>
                  <a:lnTo>
                    <a:pt x="1058197" y="1381137"/>
                  </a:lnTo>
                  <a:lnTo>
                    <a:pt x="1062052" y="1392630"/>
                  </a:lnTo>
                  <a:cubicBezTo>
                    <a:pt x="1063979" y="1400293"/>
                    <a:pt x="1065907" y="1407955"/>
                    <a:pt x="1069762" y="1413702"/>
                  </a:cubicBezTo>
                  <a:cubicBezTo>
                    <a:pt x="1071690" y="1415617"/>
                    <a:pt x="1071690" y="1417533"/>
                    <a:pt x="1073617" y="1419448"/>
                  </a:cubicBezTo>
                  <a:cubicBezTo>
                    <a:pt x="1073617" y="1419448"/>
                    <a:pt x="1073617" y="1421364"/>
                    <a:pt x="1075545" y="1421364"/>
                  </a:cubicBezTo>
                  <a:cubicBezTo>
                    <a:pt x="1083255" y="1434773"/>
                    <a:pt x="1096748" y="1444351"/>
                    <a:pt x="1112169" y="1444351"/>
                  </a:cubicBezTo>
                  <a:cubicBezTo>
                    <a:pt x="1117952" y="1444351"/>
                    <a:pt x="1121807" y="1442435"/>
                    <a:pt x="1127590" y="1440520"/>
                  </a:cubicBezTo>
                  <a:cubicBezTo>
                    <a:pt x="1135300" y="1436689"/>
                    <a:pt x="1143011" y="1429026"/>
                    <a:pt x="1144938" y="1419448"/>
                  </a:cubicBezTo>
                  <a:cubicBezTo>
                    <a:pt x="1146866" y="1409870"/>
                    <a:pt x="1146866" y="1400293"/>
                    <a:pt x="1143011" y="1390715"/>
                  </a:cubicBezTo>
                  <a:cubicBezTo>
                    <a:pt x="1143011" y="1388799"/>
                    <a:pt x="1141083" y="1388799"/>
                    <a:pt x="1141083" y="1388799"/>
                  </a:cubicBezTo>
                  <a:cubicBezTo>
                    <a:pt x="1141083" y="1386884"/>
                    <a:pt x="1139155" y="1384968"/>
                    <a:pt x="1137228" y="1383052"/>
                  </a:cubicBezTo>
                  <a:cubicBezTo>
                    <a:pt x="1133373" y="1375390"/>
                    <a:pt x="1129517" y="1369643"/>
                    <a:pt x="1123735" y="1363896"/>
                  </a:cubicBezTo>
                  <a:cubicBezTo>
                    <a:pt x="1121807" y="1360065"/>
                    <a:pt x="1119879" y="1358150"/>
                    <a:pt x="1116024" y="1354319"/>
                  </a:cubicBezTo>
                  <a:lnTo>
                    <a:pt x="1116024" y="1350487"/>
                  </a:lnTo>
                  <a:cubicBezTo>
                    <a:pt x="1102531" y="1333247"/>
                    <a:pt x="1092893" y="1314091"/>
                    <a:pt x="1085183" y="1294935"/>
                  </a:cubicBezTo>
                  <a:cubicBezTo>
                    <a:pt x="1083255" y="1289189"/>
                    <a:pt x="1083255" y="1281526"/>
                    <a:pt x="1087110" y="1275780"/>
                  </a:cubicBezTo>
                  <a:cubicBezTo>
                    <a:pt x="1087110" y="1273864"/>
                    <a:pt x="1089038" y="1273864"/>
                    <a:pt x="1089038" y="1273864"/>
                  </a:cubicBezTo>
                  <a:lnTo>
                    <a:pt x="1083255" y="1258539"/>
                  </a:lnTo>
                  <a:cubicBezTo>
                    <a:pt x="1181562" y="1199156"/>
                    <a:pt x="1256738" y="1107208"/>
                    <a:pt x="1291435" y="998020"/>
                  </a:cubicBezTo>
                  <a:lnTo>
                    <a:pt x="1306856" y="999936"/>
                  </a:lnTo>
                  <a:cubicBezTo>
                    <a:pt x="1308783" y="999936"/>
                    <a:pt x="1308783" y="998020"/>
                    <a:pt x="1308783" y="998020"/>
                  </a:cubicBezTo>
                  <a:cubicBezTo>
                    <a:pt x="1312638" y="994189"/>
                    <a:pt x="1318421" y="992273"/>
                    <a:pt x="1324204" y="992273"/>
                  </a:cubicBezTo>
                  <a:lnTo>
                    <a:pt x="1326132" y="992273"/>
                  </a:lnTo>
                  <a:cubicBezTo>
                    <a:pt x="1347335" y="996104"/>
                    <a:pt x="1368538" y="1001851"/>
                    <a:pt x="1387814" y="1009514"/>
                  </a:cubicBezTo>
                  <a:lnTo>
                    <a:pt x="1389742" y="1009514"/>
                  </a:lnTo>
                  <a:cubicBezTo>
                    <a:pt x="1393597" y="1011429"/>
                    <a:pt x="1397452" y="1013345"/>
                    <a:pt x="1401307" y="1013345"/>
                  </a:cubicBezTo>
                  <a:cubicBezTo>
                    <a:pt x="1409018" y="1017176"/>
                    <a:pt x="1414801" y="1021007"/>
                    <a:pt x="1422511" y="1022923"/>
                  </a:cubicBezTo>
                  <a:cubicBezTo>
                    <a:pt x="1424439" y="1022923"/>
                    <a:pt x="1426366" y="1024838"/>
                    <a:pt x="1430221" y="1024838"/>
                  </a:cubicBezTo>
                  <a:cubicBezTo>
                    <a:pt x="1432149" y="1024838"/>
                    <a:pt x="1432149" y="1024838"/>
                    <a:pt x="1434077" y="1026754"/>
                  </a:cubicBezTo>
                  <a:cubicBezTo>
                    <a:pt x="1437932" y="1028669"/>
                    <a:pt x="1439859" y="1028669"/>
                    <a:pt x="1443714" y="1028669"/>
                  </a:cubicBezTo>
                  <a:cubicBezTo>
                    <a:pt x="1461063" y="1028669"/>
                    <a:pt x="1476483" y="1017176"/>
                    <a:pt x="1482266" y="1001851"/>
                  </a:cubicBezTo>
                  <a:cubicBezTo>
                    <a:pt x="1480339" y="980780"/>
                    <a:pt x="1464918" y="965455"/>
                    <a:pt x="1447570" y="961624"/>
                  </a:cubicBezTo>
                  <a:cubicBezTo>
                    <a:pt x="1445642" y="961624"/>
                    <a:pt x="1443714" y="961624"/>
                    <a:pt x="1443714" y="959708"/>
                  </a:cubicBezTo>
                  <a:cubicBezTo>
                    <a:pt x="1443714" y="957793"/>
                    <a:pt x="1439859" y="957793"/>
                    <a:pt x="1436004" y="957793"/>
                  </a:cubicBezTo>
                  <a:cubicBezTo>
                    <a:pt x="1428294" y="955877"/>
                    <a:pt x="1420583" y="955877"/>
                    <a:pt x="1412873" y="955877"/>
                  </a:cubicBezTo>
                  <a:cubicBezTo>
                    <a:pt x="1409018" y="955877"/>
                    <a:pt x="1405163" y="955877"/>
                    <a:pt x="1401307" y="953962"/>
                  </a:cubicBezTo>
                  <a:lnTo>
                    <a:pt x="1399380" y="953962"/>
                  </a:lnTo>
                  <a:cubicBezTo>
                    <a:pt x="1378176" y="952046"/>
                    <a:pt x="1355045" y="948215"/>
                    <a:pt x="1333842" y="942468"/>
                  </a:cubicBezTo>
                  <a:cubicBezTo>
                    <a:pt x="1328059" y="940552"/>
                    <a:pt x="1322276" y="934806"/>
                    <a:pt x="1320349" y="929059"/>
                  </a:cubicBezTo>
                  <a:lnTo>
                    <a:pt x="1304928" y="925228"/>
                  </a:lnTo>
                  <a:cubicBezTo>
                    <a:pt x="1312638" y="869676"/>
                    <a:pt x="1308783" y="812208"/>
                    <a:pt x="1297218" y="756656"/>
                  </a:cubicBezTo>
                  <a:cubicBezTo>
                    <a:pt x="1283725" y="701104"/>
                    <a:pt x="1260594" y="647467"/>
                    <a:pt x="1229752" y="599579"/>
                  </a:cubicBezTo>
                  <a:lnTo>
                    <a:pt x="1241318" y="588085"/>
                  </a:lnTo>
                  <a:lnTo>
                    <a:pt x="1241318" y="586170"/>
                  </a:lnTo>
                  <a:cubicBezTo>
                    <a:pt x="1241318" y="580423"/>
                    <a:pt x="1243245" y="572761"/>
                    <a:pt x="1247100" y="568929"/>
                  </a:cubicBezTo>
                  <a:cubicBezTo>
                    <a:pt x="1264449" y="553605"/>
                    <a:pt x="1281797" y="542111"/>
                    <a:pt x="1301073" y="530618"/>
                  </a:cubicBezTo>
                  <a:cubicBezTo>
                    <a:pt x="1304928" y="528702"/>
                    <a:pt x="1308783" y="526787"/>
                    <a:pt x="1312638" y="524871"/>
                  </a:cubicBezTo>
                  <a:cubicBezTo>
                    <a:pt x="1320349" y="521040"/>
                    <a:pt x="1326132" y="517209"/>
                    <a:pt x="1333842" y="513376"/>
                  </a:cubicBezTo>
                  <a:cubicBezTo>
                    <a:pt x="1335770" y="511461"/>
                    <a:pt x="1337697" y="511461"/>
                    <a:pt x="1339625" y="509545"/>
                  </a:cubicBezTo>
                  <a:cubicBezTo>
                    <a:pt x="1341552" y="507630"/>
                    <a:pt x="1339625" y="507630"/>
                    <a:pt x="1339625" y="505714"/>
                  </a:cubicBezTo>
                  <a:cubicBezTo>
                    <a:pt x="1356973" y="492305"/>
                    <a:pt x="1360828" y="469318"/>
                    <a:pt x="1347335" y="452078"/>
                  </a:cubicBezTo>
                  <a:cubicBezTo>
                    <a:pt x="1341552" y="444415"/>
                    <a:pt x="1329987" y="438669"/>
                    <a:pt x="1320349" y="438669"/>
                  </a:cubicBezTo>
                  <a:cubicBezTo>
                    <a:pt x="1310711" y="438669"/>
                    <a:pt x="1301073" y="442500"/>
                    <a:pt x="1293362" y="448247"/>
                  </a:cubicBezTo>
                  <a:lnTo>
                    <a:pt x="1291435" y="450162"/>
                  </a:lnTo>
                  <a:cubicBezTo>
                    <a:pt x="1289507" y="452078"/>
                    <a:pt x="1287580" y="453993"/>
                    <a:pt x="1285652" y="453993"/>
                  </a:cubicBezTo>
                  <a:cubicBezTo>
                    <a:pt x="1279869" y="459740"/>
                    <a:pt x="1274087" y="465487"/>
                    <a:pt x="1270231" y="471234"/>
                  </a:cubicBezTo>
                  <a:cubicBezTo>
                    <a:pt x="1268304" y="475065"/>
                    <a:pt x="1264449" y="476980"/>
                    <a:pt x="1262521" y="478896"/>
                  </a:cubicBezTo>
                  <a:cubicBezTo>
                    <a:pt x="1249028" y="494221"/>
                    <a:pt x="1231680" y="509545"/>
                    <a:pt x="1214331" y="521040"/>
                  </a:cubicBezTo>
                  <a:cubicBezTo>
                    <a:pt x="1210476" y="522955"/>
                    <a:pt x="1206621" y="524871"/>
                    <a:pt x="1202766" y="524871"/>
                  </a:cubicBezTo>
                  <a:cubicBezTo>
                    <a:pt x="1200838" y="524871"/>
                    <a:pt x="1196983" y="524871"/>
                    <a:pt x="1195055" y="522955"/>
                  </a:cubicBezTo>
                  <a:lnTo>
                    <a:pt x="1193128" y="522955"/>
                  </a:lnTo>
                  <a:lnTo>
                    <a:pt x="1177707" y="532533"/>
                  </a:lnTo>
                  <a:cubicBezTo>
                    <a:pt x="1162286" y="517209"/>
                    <a:pt x="1144938" y="501883"/>
                    <a:pt x="1129517" y="486558"/>
                  </a:cubicBezTo>
                  <a:cubicBezTo>
                    <a:pt x="1058197" y="431006"/>
                    <a:pt x="969528" y="396526"/>
                    <a:pt x="878931" y="386948"/>
                  </a:cubicBezTo>
                  <a:lnTo>
                    <a:pt x="877003" y="371623"/>
                  </a:lnTo>
                  <a:lnTo>
                    <a:pt x="877003" y="373539"/>
                  </a:lnTo>
                  <a:cubicBezTo>
                    <a:pt x="871221" y="369708"/>
                    <a:pt x="869293" y="363961"/>
                    <a:pt x="867365" y="358214"/>
                  </a:cubicBezTo>
                  <a:cubicBezTo>
                    <a:pt x="867365" y="337143"/>
                    <a:pt x="867365" y="316071"/>
                    <a:pt x="871221" y="293084"/>
                  </a:cubicBezTo>
                  <a:lnTo>
                    <a:pt x="871221" y="291169"/>
                  </a:lnTo>
                  <a:cubicBezTo>
                    <a:pt x="871221" y="287338"/>
                    <a:pt x="873148" y="283506"/>
                    <a:pt x="873148" y="279675"/>
                  </a:cubicBezTo>
                  <a:cubicBezTo>
                    <a:pt x="875076" y="272013"/>
                    <a:pt x="875076" y="264351"/>
                    <a:pt x="877003" y="256688"/>
                  </a:cubicBezTo>
                  <a:lnTo>
                    <a:pt x="877003" y="245195"/>
                  </a:lnTo>
                  <a:cubicBezTo>
                    <a:pt x="878931" y="226039"/>
                    <a:pt x="863510" y="206883"/>
                    <a:pt x="844234" y="204967"/>
                  </a:cubicBezTo>
                  <a:close/>
                  <a:moveTo>
                    <a:pt x="840379" y="0"/>
                  </a:moveTo>
                  <a:cubicBezTo>
                    <a:pt x="855800" y="0"/>
                    <a:pt x="873148" y="1916"/>
                    <a:pt x="888569" y="9578"/>
                  </a:cubicBezTo>
                  <a:lnTo>
                    <a:pt x="1476483" y="289254"/>
                  </a:lnTo>
                  <a:cubicBezTo>
                    <a:pt x="1505397" y="304578"/>
                    <a:pt x="1528528" y="329481"/>
                    <a:pt x="1538166" y="360130"/>
                  </a:cubicBezTo>
                  <a:lnTo>
                    <a:pt x="1684663" y="986527"/>
                  </a:lnTo>
                  <a:cubicBezTo>
                    <a:pt x="1688518" y="1019092"/>
                    <a:pt x="1680808" y="1051657"/>
                    <a:pt x="1661532" y="1078475"/>
                  </a:cubicBezTo>
                  <a:lnTo>
                    <a:pt x="1254811" y="1578442"/>
                  </a:lnTo>
                  <a:cubicBezTo>
                    <a:pt x="1233607" y="1607176"/>
                    <a:pt x="1200838" y="1622501"/>
                    <a:pt x="1166142" y="1618669"/>
                  </a:cubicBezTo>
                  <a:lnTo>
                    <a:pt x="518472" y="1618669"/>
                  </a:lnTo>
                  <a:cubicBezTo>
                    <a:pt x="485703" y="1616754"/>
                    <a:pt x="452934" y="1601429"/>
                    <a:pt x="429803" y="1578442"/>
                  </a:cubicBezTo>
                  <a:lnTo>
                    <a:pt x="23081" y="1078475"/>
                  </a:lnTo>
                  <a:cubicBezTo>
                    <a:pt x="3805" y="1051657"/>
                    <a:pt x="-3905" y="1019092"/>
                    <a:pt x="1878" y="986527"/>
                  </a:cubicBezTo>
                  <a:lnTo>
                    <a:pt x="146447" y="356299"/>
                  </a:lnTo>
                  <a:cubicBezTo>
                    <a:pt x="154157" y="323734"/>
                    <a:pt x="175361" y="298831"/>
                    <a:pt x="204275" y="285422"/>
                  </a:cubicBezTo>
                  <a:lnTo>
                    <a:pt x="792189" y="3832"/>
                  </a:lnTo>
                  <a:cubicBezTo>
                    <a:pt x="807610" y="0"/>
                    <a:pt x="824958" y="0"/>
                    <a:pt x="840379" y="0"/>
                  </a:cubicBezTo>
                  <a:close/>
                </a:path>
              </a:pathLst>
            </a:custGeom>
            <a:grpFill/>
            <a:ln w="19276"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EA9C1287-0E69-4D1E-8D27-EA8A30620C48}"/>
                </a:ext>
              </a:extLst>
            </p:cNvPr>
            <p:cNvSpPr/>
            <p:nvPr/>
          </p:nvSpPr>
          <p:spPr>
            <a:xfrm>
              <a:off x="3997852" y="8000437"/>
              <a:ext cx="7479045" cy="1149350"/>
            </a:xfrm>
            <a:custGeom>
              <a:avLst/>
              <a:gdLst>
                <a:gd name="connsiteX0" fmla="*/ 7155553 w 7479045"/>
                <a:gd name="connsiteY0" fmla="*/ 958132 h 1149350"/>
                <a:gd name="connsiteX1" fmla="*/ 7236512 w 7479045"/>
                <a:gd name="connsiteY1" fmla="*/ 946639 h 1149350"/>
                <a:gd name="connsiteX2" fmla="*/ 7259643 w 7479045"/>
                <a:gd name="connsiteY2" fmla="*/ 904496 h 1149350"/>
                <a:gd name="connsiteX3" fmla="*/ 7228802 w 7479045"/>
                <a:gd name="connsiteY3" fmla="*/ 862353 h 1149350"/>
                <a:gd name="connsiteX4" fmla="*/ 7134350 w 7479045"/>
                <a:gd name="connsiteY4" fmla="*/ 820210 h 1149350"/>
                <a:gd name="connsiteX5" fmla="*/ 7045681 w 7479045"/>
                <a:gd name="connsiteY5" fmla="*/ 781899 h 1149350"/>
                <a:gd name="connsiteX6" fmla="*/ 6978215 w 7479045"/>
                <a:gd name="connsiteY6" fmla="*/ 735925 h 1149350"/>
                <a:gd name="connsiteX7" fmla="*/ 6935808 w 7479045"/>
                <a:gd name="connsiteY7" fmla="*/ 670795 h 1149350"/>
                <a:gd name="connsiteX8" fmla="*/ 6920388 w 7479045"/>
                <a:gd name="connsiteY8" fmla="*/ 580762 h 1149350"/>
                <a:gd name="connsiteX9" fmla="*/ 6997491 w 7479045"/>
                <a:gd name="connsiteY9" fmla="*/ 417938 h 1149350"/>
                <a:gd name="connsiteX10" fmla="*/ 7207598 w 7479045"/>
                <a:gd name="connsiteY10" fmla="*/ 358555 h 1149350"/>
                <a:gd name="connsiteX11" fmla="*/ 7336746 w 7479045"/>
                <a:gd name="connsiteY11" fmla="*/ 371964 h 1149350"/>
                <a:gd name="connsiteX12" fmla="*/ 7435054 w 7479045"/>
                <a:gd name="connsiteY12" fmla="*/ 396866 h 1149350"/>
                <a:gd name="connsiteX13" fmla="*/ 7398429 w 7479045"/>
                <a:gd name="connsiteY13" fmla="*/ 559691 h 1149350"/>
                <a:gd name="connsiteX14" fmla="*/ 7319398 w 7479045"/>
                <a:gd name="connsiteY14" fmla="*/ 536704 h 1149350"/>
                <a:gd name="connsiteX15" fmla="*/ 7224946 w 7479045"/>
                <a:gd name="connsiteY15" fmla="*/ 527126 h 1149350"/>
                <a:gd name="connsiteX16" fmla="*/ 7126639 w 7479045"/>
                <a:gd name="connsiteY16" fmla="*/ 580762 h 1149350"/>
                <a:gd name="connsiteX17" fmla="*/ 7130495 w 7479045"/>
                <a:gd name="connsiteY17" fmla="*/ 603749 h 1149350"/>
                <a:gd name="connsiteX18" fmla="*/ 7147843 w 7479045"/>
                <a:gd name="connsiteY18" fmla="*/ 622905 h 1149350"/>
                <a:gd name="connsiteX19" fmla="*/ 7180612 w 7479045"/>
                <a:gd name="connsiteY19" fmla="*/ 642061 h 1149350"/>
                <a:gd name="connsiteX20" fmla="*/ 7236512 w 7479045"/>
                <a:gd name="connsiteY20" fmla="*/ 665048 h 1149350"/>
                <a:gd name="connsiteX21" fmla="*/ 7348312 w 7479045"/>
                <a:gd name="connsiteY21" fmla="*/ 714853 h 1149350"/>
                <a:gd name="connsiteX22" fmla="*/ 7417705 w 7479045"/>
                <a:gd name="connsiteY22" fmla="*/ 768490 h 1149350"/>
                <a:gd name="connsiteX23" fmla="*/ 7454329 w 7479045"/>
                <a:gd name="connsiteY23" fmla="*/ 831704 h 1149350"/>
                <a:gd name="connsiteX24" fmla="*/ 7465895 w 7479045"/>
                <a:gd name="connsiteY24" fmla="*/ 912158 h 1149350"/>
                <a:gd name="connsiteX25" fmla="*/ 7383009 w 7479045"/>
                <a:gd name="connsiteY25" fmla="*/ 1076899 h 1149350"/>
                <a:gd name="connsiteX26" fmla="*/ 7151698 w 7479045"/>
                <a:gd name="connsiteY26" fmla="*/ 1132451 h 1149350"/>
                <a:gd name="connsiteX27" fmla="*/ 6987853 w 7479045"/>
                <a:gd name="connsiteY27" fmla="*/ 1115210 h 1149350"/>
                <a:gd name="connsiteX28" fmla="*/ 6899184 w 7479045"/>
                <a:gd name="connsiteY28" fmla="*/ 1088392 h 1149350"/>
                <a:gd name="connsiteX29" fmla="*/ 6933880 w 7479045"/>
                <a:gd name="connsiteY29" fmla="*/ 919821 h 1149350"/>
                <a:gd name="connsiteX30" fmla="*/ 7041826 w 7479045"/>
                <a:gd name="connsiteY30" fmla="*/ 952386 h 1149350"/>
                <a:gd name="connsiteX31" fmla="*/ 7155553 w 7479045"/>
                <a:gd name="connsiteY31" fmla="*/ 958132 h 1149350"/>
                <a:gd name="connsiteX32" fmla="*/ 6093452 w 7479045"/>
                <a:gd name="connsiteY32" fmla="*/ 747418 h 1149350"/>
                <a:gd name="connsiteX33" fmla="*/ 6122365 w 7479045"/>
                <a:gd name="connsiteY33" fmla="*/ 578847 h 1149350"/>
                <a:gd name="connsiteX34" fmla="*/ 6201397 w 7479045"/>
                <a:gd name="connsiteY34" fmla="*/ 456250 h 1149350"/>
                <a:gd name="connsiteX35" fmla="*/ 6313197 w 7479045"/>
                <a:gd name="connsiteY35" fmla="*/ 383457 h 1149350"/>
                <a:gd name="connsiteX36" fmla="*/ 6444273 w 7479045"/>
                <a:gd name="connsiteY36" fmla="*/ 358555 h 1149350"/>
                <a:gd name="connsiteX37" fmla="*/ 6691004 w 7479045"/>
                <a:gd name="connsiteY37" fmla="*/ 454334 h 1149350"/>
                <a:gd name="connsiteX38" fmla="*/ 6781601 w 7479045"/>
                <a:gd name="connsiteY38" fmla="*/ 734009 h 1149350"/>
                <a:gd name="connsiteX39" fmla="*/ 6779673 w 7479045"/>
                <a:gd name="connsiteY39" fmla="*/ 774236 h 1149350"/>
                <a:gd name="connsiteX40" fmla="*/ 6777746 w 7479045"/>
                <a:gd name="connsiteY40" fmla="*/ 812548 h 1149350"/>
                <a:gd name="connsiteX41" fmla="*/ 6307414 w 7479045"/>
                <a:gd name="connsiteY41" fmla="*/ 812548 h 1149350"/>
                <a:gd name="connsiteX42" fmla="*/ 6367169 w 7479045"/>
                <a:gd name="connsiteY42" fmla="*/ 914074 h 1149350"/>
                <a:gd name="connsiteX43" fmla="*/ 6509811 w 7479045"/>
                <a:gd name="connsiteY43" fmla="*/ 952386 h 1149350"/>
                <a:gd name="connsiteX44" fmla="*/ 6621611 w 7479045"/>
                <a:gd name="connsiteY44" fmla="*/ 942808 h 1149350"/>
                <a:gd name="connsiteX45" fmla="*/ 6712208 w 7479045"/>
                <a:gd name="connsiteY45" fmla="*/ 914074 h 1149350"/>
                <a:gd name="connsiteX46" fmla="*/ 6741122 w 7479045"/>
                <a:gd name="connsiteY46" fmla="*/ 1082645 h 1149350"/>
                <a:gd name="connsiteX47" fmla="*/ 6696787 w 7479045"/>
                <a:gd name="connsiteY47" fmla="*/ 1099886 h 1149350"/>
                <a:gd name="connsiteX48" fmla="*/ 6633176 w 7479045"/>
                <a:gd name="connsiteY48" fmla="*/ 1113295 h 1149350"/>
                <a:gd name="connsiteX49" fmla="*/ 6559928 w 7479045"/>
                <a:gd name="connsiteY49" fmla="*/ 1124788 h 1149350"/>
                <a:gd name="connsiteX50" fmla="*/ 6480897 w 7479045"/>
                <a:gd name="connsiteY50" fmla="*/ 1128619 h 1149350"/>
                <a:gd name="connsiteX51" fmla="*/ 6307414 w 7479045"/>
                <a:gd name="connsiteY51" fmla="*/ 1099886 h 1149350"/>
                <a:gd name="connsiteX52" fmla="*/ 6185976 w 7479045"/>
                <a:gd name="connsiteY52" fmla="*/ 1021347 h 1149350"/>
                <a:gd name="connsiteX53" fmla="*/ 6114655 w 7479045"/>
                <a:gd name="connsiteY53" fmla="*/ 900665 h 1149350"/>
                <a:gd name="connsiteX54" fmla="*/ 6093452 w 7479045"/>
                <a:gd name="connsiteY54" fmla="*/ 747418 h 1149350"/>
                <a:gd name="connsiteX55" fmla="*/ 6581132 w 7479045"/>
                <a:gd name="connsiteY55" fmla="*/ 668879 h 1149350"/>
                <a:gd name="connsiteX56" fmla="*/ 6571494 w 7479045"/>
                <a:gd name="connsiteY56" fmla="*/ 617159 h 1149350"/>
                <a:gd name="connsiteX57" fmla="*/ 6548363 w 7479045"/>
                <a:gd name="connsiteY57" fmla="*/ 573100 h 1149350"/>
                <a:gd name="connsiteX58" fmla="*/ 6507883 w 7479045"/>
                <a:gd name="connsiteY58" fmla="*/ 540535 h 1149350"/>
                <a:gd name="connsiteX59" fmla="*/ 6448128 w 7479045"/>
                <a:gd name="connsiteY59" fmla="*/ 527126 h 1149350"/>
                <a:gd name="connsiteX60" fmla="*/ 6388373 w 7479045"/>
                <a:gd name="connsiteY60" fmla="*/ 540535 h 1149350"/>
                <a:gd name="connsiteX61" fmla="*/ 6345966 w 7479045"/>
                <a:gd name="connsiteY61" fmla="*/ 571185 h 1149350"/>
                <a:gd name="connsiteX62" fmla="*/ 6318980 w 7479045"/>
                <a:gd name="connsiteY62" fmla="*/ 617159 h 1149350"/>
                <a:gd name="connsiteX63" fmla="*/ 6307414 w 7479045"/>
                <a:gd name="connsiteY63" fmla="*/ 668879 h 1149350"/>
                <a:gd name="connsiteX64" fmla="*/ 6581132 w 7479045"/>
                <a:gd name="connsiteY64" fmla="*/ 668879 h 1149350"/>
                <a:gd name="connsiteX65" fmla="*/ 5528668 w 7479045"/>
                <a:gd name="connsiteY65" fmla="*/ 193815 h 1149350"/>
                <a:gd name="connsiteX66" fmla="*/ 5736848 w 7479045"/>
                <a:gd name="connsiteY66" fmla="*/ 161250 h 1149350"/>
                <a:gd name="connsiteX67" fmla="*/ 5736848 w 7479045"/>
                <a:gd name="connsiteY67" fmla="*/ 375795 h 1149350"/>
                <a:gd name="connsiteX68" fmla="*/ 5987434 w 7479045"/>
                <a:gd name="connsiteY68" fmla="*/ 375795 h 1149350"/>
                <a:gd name="connsiteX69" fmla="*/ 5987434 w 7479045"/>
                <a:gd name="connsiteY69" fmla="*/ 548198 h 1149350"/>
                <a:gd name="connsiteX70" fmla="*/ 5736848 w 7479045"/>
                <a:gd name="connsiteY70" fmla="*/ 548198 h 1149350"/>
                <a:gd name="connsiteX71" fmla="*/ 5736848 w 7479045"/>
                <a:gd name="connsiteY71" fmla="*/ 804886 h 1149350"/>
                <a:gd name="connsiteX72" fmla="*/ 5759979 w 7479045"/>
                <a:gd name="connsiteY72" fmla="*/ 908327 h 1149350"/>
                <a:gd name="connsiteX73" fmla="*/ 5854431 w 7479045"/>
                <a:gd name="connsiteY73" fmla="*/ 946639 h 1149350"/>
                <a:gd name="connsiteX74" fmla="*/ 5921896 w 7479045"/>
                <a:gd name="connsiteY74" fmla="*/ 940892 h 1149350"/>
                <a:gd name="connsiteX75" fmla="*/ 5987434 w 7479045"/>
                <a:gd name="connsiteY75" fmla="*/ 923652 h 1149350"/>
                <a:gd name="connsiteX76" fmla="*/ 6016348 w 7479045"/>
                <a:gd name="connsiteY76" fmla="*/ 1084561 h 1149350"/>
                <a:gd name="connsiteX77" fmla="*/ 5931534 w 7479045"/>
                <a:gd name="connsiteY77" fmla="*/ 1111379 h 1149350"/>
                <a:gd name="connsiteX78" fmla="*/ 5817807 w 7479045"/>
                <a:gd name="connsiteY78" fmla="*/ 1122873 h 1149350"/>
                <a:gd name="connsiteX79" fmla="*/ 5677093 w 7479045"/>
                <a:gd name="connsiteY79" fmla="*/ 1099886 h 1149350"/>
                <a:gd name="connsiteX80" fmla="*/ 5588424 w 7479045"/>
                <a:gd name="connsiteY80" fmla="*/ 1036671 h 1149350"/>
                <a:gd name="connsiteX81" fmla="*/ 5540234 w 7479045"/>
                <a:gd name="connsiteY81" fmla="*/ 937061 h 1149350"/>
                <a:gd name="connsiteX82" fmla="*/ 5528668 w 7479045"/>
                <a:gd name="connsiteY82" fmla="*/ 808717 h 1149350"/>
                <a:gd name="connsiteX83" fmla="*/ 5528668 w 7479045"/>
                <a:gd name="connsiteY83" fmla="*/ 193815 h 1149350"/>
                <a:gd name="connsiteX84" fmla="*/ 4686312 w 7479045"/>
                <a:gd name="connsiteY84" fmla="*/ 747418 h 1149350"/>
                <a:gd name="connsiteX85" fmla="*/ 4715225 w 7479045"/>
                <a:gd name="connsiteY85" fmla="*/ 578847 h 1149350"/>
                <a:gd name="connsiteX86" fmla="*/ 4794257 w 7479045"/>
                <a:gd name="connsiteY86" fmla="*/ 456250 h 1149350"/>
                <a:gd name="connsiteX87" fmla="*/ 4906057 w 7479045"/>
                <a:gd name="connsiteY87" fmla="*/ 383457 h 1149350"/>
                <a:gd name="connsiteX88" fmla="*/ 5037133 w 7479045"/>
                <a:gd name="connsiteY88" fmla="*/ 358555 h 1149350"/>
                <a:gd name="connsiteX89" fmla="*/ 5283864 w 7479045"/>
                <a:gd name="connsiteY89" fmla="*/ 454334 h 1149350"/>
                <a:gd name="connsiteX90" fmla="*/ 5374461 w 7479045"/>
                <a:gd name="connsiteY90" fmla="*/ 734009 h 1149350"/>
                <a:gd name="connsiteX91" fmla="*/ 5372533 w 7479045"/>
                <a:gd name="connsiteY91" fmla="*/ 774236 h 1149350"/>
                <a:gd name="connsiteX92" fmla="*/ 5370606 w 7479045"/>
                <a:gd name="connsiteY92" fmla="*/ 812548 h 1149350"/>
                <a:gd name="connsiteX93" fmla="*/ 4898346 w 7479045"/>
                <a:gd name="connsiteY93" fmla="*/ 812548 h 1149350"/>
                <a:gd name="connsiteX94" fmla="*/ 4958102 w 7479045"/>
                <a:gd name="connsiteY94" fmla="*/ 914074 h 1149350"/>
                <a:gd name="connsiteX95" fmla="*/ 5100743 w 7479045"/>
                <a:gd name="connsiteY95" fmla="*/ 952386 h 1149350"/>
                <a:gd name="connsiteX96" fmla="*/ 5212544 w 7479045"/>
                <a:gd name="connsiteY96" fmla="*/ 942808 h 1149350"/>
                <a:gd name="connsiteX97" fmla="*/ 5305068 w 7479045"/>
                <a:gd name="connsiteY97" fmla="*/ 914074 h 1149350"/>
                <a:gd name="connsiteX98" fmla="*/ 5333982 w 7479045"/>
                <a:gd name="connsiteY98" fmla="*/ 1082645 h 1149350"/>
                <a:gd name="connsiteX99" fmla="*/ 5289647 w 7479045"/>
                <a:gd name="connsiteY99" fmla="*/ 1099886 h 1149350"/>
                <a:gd name="connsiteX100" fmla="*/ 5226037 w 7479045"/>
                <a:gd name="connsiteY100" fmla="*/ 1113295 h 1149350"/>
                <a:gd name="connsiteX101" fmla="*/ 5152788 w 7479045"/>
                <a:gd name="connsiteY101" fmla="*/ 1124788 h 1149350"/>
                <a:gd name="connsiteX102" fmla="*/ 5073757 w 7479045"/>
                <a:gd name="connsiteY102" fmla="*/ 1128619 h 1149350"/>
                <a:gd name="connsiteX103" fmla="*/ 4900274 w 7479045"/>
                <a:gd name="connsiteY103" fmla="*/ 1099886 h 1149350"/>
                <a:gd name="connsiteX104" fmla="*/ 4778836 w 7479045"/>
                <a:gd name="connsiteY104" fmla="*/ 1021347 h 1149350"/>
                <a:gd name="connsiteX105" fmla="*/ 4707515 w 7479045"/>
                <a:gd name="connsiteY105" fmla="*/ 900665 h 1149350"/>
                <a:gd name="connsiteX106" fmla="*/ 4686312 w 7479045"/>
                <a:gd name="connsiteY106" fmla="*/ 747418 h 1149350"/>
                <a:gd name="connsiteX107" fmla="*/ 5173992 w 7479045"/>
                <a:gd name="connsiteY107" fmla="*/ 668879 h 1149350"/>
                <a:gd name="connsiteX108" fmla="*/ 5164354 w 7479045"/>
                <a:gd name="connsiteY108" fmla="*/ 617159 h 1149350"/>
                <a:gd name="connsiteX109" fmla="*/ 5141223 w 7479045"/>
                <a:gd name="connsiteY109" fmla="*/ 573100 h 1149350"/>
                <a:gd name="connsiteX110" fmla="*/ 5100743 w 7479045"/>
                <a:gd name="connsiteY110" fmla="*/ 540535 h 1149350"/>
                <a:gd name="connsiteX111" fmla="*/ 5040988 w 7479045"/>
                <a:gd name="connsiteY111" fmla="*/ 527126 h 1149350"/>
                <a:gd name="connsiteX112" fmla="*/ 4981233 w 7479045"/>
                <a:gd name="connsiteY112" fmla="*/ 540535 h 1149350"/>
                <a:gd name="connsiteX113" fmla="*/ 4940754 w 7479045"/>
                <a:gd name="connsiteY113" fmla="*/ 571185 h 1149350"/>
                <a:gd name="connsiteX114" fmla="*/ 4913767 w 7479045"/>
                <a:gd name="connsiteY114" fmla="*/ 617159 h 1149350"/>
                <a:gd name="connsiteX115" fmla="*/ 4902202 w 7479045"/>
                <a:gd name="connsiteY115" fmla="*/ 668879 h 1149350"/>
                <a:gd name="connsiteX116" fmla="*/ 5173992 w 7479045"/>
                <a:gd name="connsiteY116" fmla="*/ 668879 h 1149350"/>
                <a:gd name="connsiteX117" fmla="*/ 3896000 w 7479045"/>
                <a:gd name="connsiteY117" fmla="*/ 400698 h 1149350"/>
                <a:gd name="connsiteX118" fmla="*/ 4032859 w 7479045"/>
                <a:gd name="connsiteY118" fmla="*/ 371964 h 1149350"/>
                <a:gd name="connsiteX119" fmla="*/ 4208270 w 7479045"/>
                <a:gd name="connsiteY119" fmla="*/ 358555 h 1149350"/>
                <a:gd name="connsiteX120" fmla="*/ 4362477 w 7479045"/>
                <a:gd name="connsiteY120" fmla="*/ 383457 h 1149350"/>
                <a:gd name="connsiteX121" fmla="*/ 4460784 w 7479045"/>
                <a:gd name="connsiteY121" fmla="*/ 450503 h 1149350"/>
                <a:gd name="connsiteX122" fmla="*/ 4512829 w 7479045"/>
                <a:gd name="connsiteY122" fmla="*/ 555860 h 1149350"/>
                <a:gd name="connsiteX123" fmla="*/ 4528250 w 7479045"/>
                <a:gd name="connsiteY123" fmla="*/ 691866 h 1149350"/>
                <a:gd name="connsiteX124" fmla="*/ 4528250 w 7479045"/>
                <a:gd name="connsiteY124" fmla="*/ 1103717 h 1149350"/>
                <a:gd name="connsiteX125" fmla="*/ 4321997 w 7479045"/>
                <a:gd name="connsiteY125" fmla="*/ 1103717 h 1149350"/>
                <a:gd name="connsiteX126" fmla="*/ 4321997 w 7479045"/>
                <a:gd name="connsiteY126" fmla="*/ 718684 h 1149350"/>
                <a:gd name="connsiteX127" fmla="*/ 4295011 w 7479045"/>
                <a:gd name="connsiteY127" fmla="*/ 576931 h 1149350"/>
                <a:gd name="connsiteX128" fmla="*/ 4196704 w 7479045"/>
                <a:gd name="connsiteY128" fmla="*/ 534789 h 1149350"/>
                <a:gd name="connsiteX129" fmla="*/ 4148514 w 7479045"/>
                <a:gd name="connsiteY129" fmla="*/ 536704 h 1149350"/>
                <a:gd name="connsiteX130" fmla="*/ 4104180 w 7479045"/>
                <a:gd name="connsiteY130" fmla="*/ 540535 h 1149350"/>
                <a:gd name="connsiteX131" fmla="*/ 4104180 w 7479045"/>
                <a:gd name="connsiteY131" fmla="*/ 1103717 h 1149350"/>
                <a:gd name="connsiteX132" fmla="*/ 3896000 w 7479045"/>
                <a:gd name="connsiteY132" fmla="*/ 1103717 h 1149350"/>
                <a:gd name="connsiteX133" fmla="*/ 3896000 w 7479045"/>
                <a:gd name="connsiteY133" fmla="*/ 400698 h 1149350"/>
                <a:gd name="connsiteX134" fmla="*/ 3749504 w 7479045"/>
                <a:gd name="connsiteY134" fmla="*/ 559691 h 1149350"/>
                <a:gd name="connsiteX135" fmla="*/ 3683965 w 7479045"/>
                <a:gd name="connsiteY135" fmla="*/ 546282 h 1149350"/>
                <a:gd name="connsiteX136" fmla="*/ 3603007 w 7479045"/>
                <a:gd name="connsiteY136" fmla="*/ 538620 h 1149350"/>
                <a:gd name="connsiteX137" fmla="*/ 3554817 w 7479045"/>
                <a:gd name="connsiteY137" fmla="*/ 542451 h 1149350"/>
                <a:gd name="connsiteX138" fmla="*/ 3514338 w 7479045"/>
                <a:gd name="connsiteY138" fmla="*/ 550113 h 1149350"/>
                <a:gd name="connsiteX139" fmla="*/ 3514338 w 7479045"/>
                <a:gd name="connsiteY139" fmla="*/ 1107548 h 1149350"/>
                <a:gd name="connsiteX140" fmla="*/ 3306158 w 7479045"/>
                <a:gd name="connsiteY140" fmla="*/ 1107548 h 1149350"/>
                <a:gd name="connsiteX141" fmla="*/ 3306158 w 7479045"/>
                <a:gd name="connsiteY141" fmla="*/ 414107 h 1149350"/>
                <a:gd name="connsiteX142" fmla="*/ 3437234 w 7479045"/>
                <a:gd name="connsiteY142" fmla="*/ 377711 h 1149350"/>
                <a:gd name="connsiteX143" fmla="*/ 3606862 w 7479045"/>
                <a:gd name="connsiteY143" fmla="*/ 360470 h 1149350"/>
                <a:gd name="connsiteX144" fmla="*/ 3647341 w 7479045"/>
                <a:gd name="connsiteY144" fmla="*/ 362386 h 1149350"/>
                <a:gd name="connsiteX145" fmla="*/ 3695531 w 7479045"/>
                <a:gd name="connsiteY145" fmla="*/ 368133 h 1149350"/>
                <a:gd name="connsiteX146" fmla="*/ 3743721 w 7479045"/>
                <a:gd name="connsiteY146" fmla="*/ 375795 h 1149350"/>
                <a:gd name="connsiteX147" fmla="*/ 3784200 w 7479045"/>
                <a:gd name="connsiteY147" fmla="*/ 387289 h 1149350"/>
                <a:gd name="connsiteX148" fmla="*/ 3749504 w 7479045"/>
                <a:gd name="connsiteY148" fmla="*/ 559691 h 1149350"/>
                <a:gd name="connsiteX149" fmla="*/ 2456091 w 7479045"/>
                <a:gd name="connsiteY149" fmla="*/ 747418 h 1149350"/>
                <a:gd name="connsiteX150" fmla="*/ 2485005 w 7479045"/>
                <a:gd name="connsiteY150" fmla="*/ 578847 h 1149350"/>
                <a:gd name="connsiteX151" fmla="*/ 2564036 w 7479045"/>
                <a:gd name="connsiteY151" fmla="*/ 456250 h 1149350"/>
                <a:gd name="connsiteX152" fmla="*/ 2675836 w 7479045"/>
                <a:gd name="connsiteY152" fmla="*/ 383457 h 1149350"/>
                <a:gd name="connsiteX153" fmla="*/ 2806912 w 7479045"/>
                <a:gd name="connsiteY153" fmla="*/ 358555 h 1149350"/>
                <a:gd name="connsiteX154" fmla="*/ 3053644 w 7479045"/>
                <a:gd name="connsiteY154" fmla="*/ 454334 h 1149350"/>
                <a:gd name="connsiteX155" fmla="*/ 3144240 w 7479045"/>
                <a:gd name="connsiteY155" fmla="*/ 732094 h 1149350"/>
                <a:gd name="connsiteX156" fmla="*/ 3142313 w 7479045"/>
                <a:gd name="connsiteY156" fmla="*/ 772321 h 1149350"/>
                <a:gd name="connsiteX157" fmla="*/ 3140386 w 7479045"/>
                <a:gd name="connsiteY157" fmla="*/ 810632 h 1149350"/>
                <a:gd name="connsiteX158" fmla="*/ 2668126 w 7479045"/>
                <a:gd name="connsiteY158" fmla="*/ 810632 h 1149350"/>
                <a:gd name="connsiteX159" fmla="*/ 2727881 w 7479045"/>
                <a:gd name="connsiteY159" fmla="*/ 912158 h 1149350"/>
                <a:gd name="connsiteX160" fmla="*/ 2870523 w 7479045"/>
                <a:gd name="connsiteY160" fmla="*/ 950470 h 1149350"/>
                <a:gd name="connsiteX161" fmla="*/ 2982323 w 7479045"/>
                <a:gd name="connsiteY161" fmla="*/ 940892 h 1149350"/>
                <a:gd name="connsiteX162" fmla="*/ 3072920 w 7479045"/>
                <a:gd name="connsiteY162" fmla="*/ 914074 h 1149350"/>
                <a:gd name="connsiteX163" fmla="*/ 3101834 w 7479045"/>
                <a:gd name="connsiteY163" fmla="*/ 1082645 h 1149350"/>
                <a:gd name="connsiteX164" fmla="*/ 3057499 w 7479045"/>
                <a:gd name="connsiteY164" fmla="*/ 1099886 h 1149350"/>
                <a:gd name="connsiteX165" fmla="*/ 2993889 w 7479045"/>
                <a:gd name="connsiteY165" fmla="*/ 1113295 h 1149350"/>
                <a:gd name="connsiteX166" fmla="*/ 2920641 w 7479045"/>
                <a:gd name="connsiteY166" fmla="*/ 1124788 h 1149350"/>
                <a:gd name="connsiteX167" fmla="*/ 2841609 w 7479045"/>
                <a:gd name="connsiteY167" fmla="*/ 1128619 h 1149350"/>
                <a:gd name="connsiteX168" fmla="*/ 2668126 w 7479045"/>
                <a:gd name="connsiteY168" fmla="*/ 1099886 h 1149350"/>
                <a:gd name="connsiteX169" fmla="*/ 2546688 w 7479045"/>
                <a:gd name="connsiteY169" fmla="*/ 1021347 h 1149350"/>
                <a:gd name="connsiteX170" fmla="*/ 2475367 w 7479045"/>
                <a:gd name="connsiteY170" fmla="*/ 900665 h 1149350"/>
                <a:gd name="connsiteX171" fmla="*/ 2456091 w 7479045"/>
                <a:gd name="connsiteY171" fmla="*/ 747418 h 1149350"/>
                <a:gd name="connsiteX172" fmla="*/ 2945699 w 7479045"/>
                <a:gd name="connsiteY172" fmla="*/ 668879 h 1149350"/>
                <a:gd name="connsiteX173" fmla="*/ 2936061 w 7479045"/>
                <a:gd name="connsiteY173" fmla="*/ 617159 h 1149350"/>
                <a:gd name="connsiteX174" fmla="*/ 2912930 w 7479045"/>
                <a:gd name="connsiteY174" fmla="*/ 573100 h 1149350"/>
                <a:gd name="connsiteX175" fmla="*/ 2872451 w 7479045"/>
                <a:gd name="connsiteY175" fmla="*/ 540535 h 1149350"/>
                <a:gd name="connsiteX176" fmla="*/ 2812695 w 7479045"/>
                <a:gd name="connsiteY176" fmla="*/ 527126 h 1149350"/>
                <a:gd name="connsiteX177" fmla="*/ 2752940 w 7479045"/>
                <a:gd name="connsiteY177" fmla="*/ 540535 h 1149350"/>
                <a:gd name="connsiteX178" fmla="*/ 2710533 w 7479045"/>
                <a:gd name="connsiteY178" fmla="*/ 571185 h 1149350"/>
                <a:gd name="connsiteX179" fmla="*/ 2683547 w 7479045"/>
                <a:gd name="connsiteY179" fmla="*/ 617159 h 1149350"/>
                <a:gd name="connsiteX180" fmla="*/ 2671981 w 7479045"/>
                <a:gd name="connsiteY180" fmla="*/ 668879 h 1149350"/>
                <a:gd name="connsiteX181" fmla="*/ 2945699 w 7479045"/>
                <a:gd name="connsiteY181" fmla="*/ 668879 h 1149350"/>
                <a:gd name="connsiteX182" fmla="*/ 2118763 w 7479045"/>
                <a:gd name="connsiteY182" fmla="*/ 735925 h 1149350"/>
                <a:gd name="connsiteX183" fmla="*/ 1970339 w 7479045"/>
                <a:gd name="connsiteY183" fmla="*/ 536704 h 1149350"/>
                <a:gd name="connsiteX184" fmla="*/ 1906728 w 7479045"/>
                <a:gd name="connsiteY184" fmla="*/ 544366 h 1149350"/>
                <a:gd name="connsiteX185" fmla="*/ 1856611 w 7479045"/>
                <a:gd name="connsiteY185" fmla="*/ 565438 h 1149350"/>
                <a:gd name="connsiteX186" fmla="*/ 1856611 w 7479045"/>
                <a:gd name="connsiteY186" fmla="*/ 940892 h 1149350"/>
                <a:gd name="connsiteX187" fmla="*/ 1895163 w 7479045"/>
                <a:gd name="connsiteY187" fmla="*/ 946639 h 1149350"/>
                <a:gd name="connsiteX188" fmla="*/ 1947208 w 7479045"/>
                <a:gd name="connsiteY188" fmla="*/ 948554 h 1149350"/>
                <a:gd name="connsiteX189" fmla="*/ 2076356 w 7479045"/>
                <a:gd name="connsiteY189" fmla="*/ 891087 h 1149350"/>
                <a:gd name="connsiteX190" fmla="*/ 2118763 w 7479045"/>
                <a:gd name="connsiteY190" fmla="*/ 735925 h 1149350"/>
                <a:gd name="connsiteX191" fmla="*/ 2330798 w 7479045"/>
                <a:gd name="connsiteY191" fmla="*/ 743587 h 1149350"/>
                <a:gd name="connsiteX192" fmla="*/ 2303812 w 7479045"/>
                <a:gd name="connsiteY192" fmla="*/ 902580 h 1149350"/>
                <a:gd name="connsiteX193" fmla="*/ 2230563 w 7479045"/>
                <a:gd name="connsiteY193" fmla="*/ 1023262 h 1149350"/>
                <a:gd name="connsiteX194" fmla="*/ 2111053 w 7479045"/>
                <a:gd name="connsiteY194" fmla="*/ 1101801 h 1149350"/>
                <a:gd name="connsiteX195" fmla="*/ 1949135 w 7479045"/>
                <a:gd name="connsiteY195" fmla="*/ 1128619 h 1149350"/>
                <a:gd name="connsiteX196" fmla="*/ 1870104 w 7479045"/>
                <a:gd name="connsiteY196" fmla="*/ 1124788 h 1149350"/>
                <a:gd name="connsiteX197" fmla="*/ 1789146 w 7479045"/>
                <a:gd name="connsiteY197" fmla="*/ 1117126 h 1149350"/>
                <a:gd name="connsiteX198" fmla="*/ 1713969 w 7479045"/>
                <a:gd name="connsiteY198" fmla="*/ 1103717 h 1149350"/>
                <a:gd name="connsiteX199" fmla="*/ 1650359 w 7479045"/>
                <a:gd name="connsiteY199" fmla="*/ 1086476 h 1149350"/>
                <a:gd name="connsiteX200" fmla="*/ 1650359 w 7479045"/>
                <a:gd name="connsiteY200" fmla="*/ 61639 h 1149350"/>
                <a:gd name="connsiteX201" fmla="*/ 1858539 w 7479045"/>
                <a:gd name="connsiteY201" fmla="*/ 29074 h 1149350"/>
                <a:gd name="connsiteX202" fmla="*/ 1858539 w 7479045"/>
                <a:gd name="connsiteY202" fmla="*/ 393035 h 1149350"/>
                <a:gd name="connsiteX203" fmla="*/ 1931787 w 7479045"/>
                <a:gd name="connsiteY203" fmla="*/ 370048 h 1149350"/>
                <a:gd name="connsiteX204" fmla="*/ 2012746 w 7479045"/>
                <a:gd name="connsiteY204" fmla="*/ 362386 h 1149350"/>
                <a:gd name="connsiteX205" fmla="*/ 2151532 w 7479045"/>
                <a:gd name="connsiteY205" fmla="*/ 391120 h 1149350"/>
                <a:gd name="connsiteX206" fmla="*/ 2251767 w 7479045"/>
                <a:gd name="connsiteY206" fmla="*/ 467743 h 1149350"/>
                <a:gd name="connsiteX207" fmla="*/ 2313450 w 7479045"/>
                <a:gd name="connsiteY207" fmla="*/ 588425 h 1149350"/>
                <a:gd name="connsiteX208" fmla="*/ 2330798 w 7479045"/>
                <a:gd name="connsiteY208" fmla="*/ 743587 h 1149350"/>
                <a:gd name="connsiteX209" fmla="*/ 1451817 w 7479045"/>
                <a:gd name="connsiteY209" fmla="*/ 1080730 h 1149350"/>
                <a:gd name="connsiteX210" fmla="*/ 1314959 w 7479045"/>
                <a:gd name="connsiteY210" fmla="*/ 1107548 h 1149350"/>
                <a:gd name="connsiteX211" fmla="*/ 1139548 w 7479045"/>
                <a:gd name="connsiteY211" fmla="*/ 1120957 h 1149350"/>
                <a:gd name="connsiteX212" fmla="*/ 983413 w 7479045"/>
                <a:gd name="connsiteY212" fmla="*/ 1096054 h 1149350"/>
                <a:gd name="connsiteX213" fmla="*/ 885106 w 7479045"/>
                <a:gd name="connsiteY213" fmla="*/ 1027093 h 1149350"/>
                <a:gd name="connsiteX214" fmla="*/ 833061 w 7479045"/>
                <a:gd name="connsiteY214" fmla="*/ 917905 h 1149350"/>
                <a:gd name="connsiteX215" fmla="*/ 817640 w 7479045"/>
                <a:gd name="connsiteY215" fmla="*/ 779983 h 1149350"/>
                <a:gd name="connsiteX216" fmla="*/ 817640 w 7479045"/>
                <a:gd name="connsiteY216" fmla="*/ 375795 h 1149350"/>
                <a:gd name="connsiteX217" fmla="*/ 1025820 w 7479045"/>
                <a:gd name="connsiteY217" fmla="*/ 375795 h 1149350"/>
                <a:gd name="connsiteX218" fmla="*/ 1025820 w 7479045"/>
                <a:gd name="connsiteY218" fmla="*/ 756996 h 1149350"/>
                <a:gd name="connsiteX219" fmla="*/ 1052807 w 7479045"/>
                <a:gd name="connsiteY219" fmla="*/ 900665 h 1149350"/>
                <a:gd name="connsiteX220" fmla="*/ 1151113 w 7479045"/>
                <a:gd name="connsiteY220" fmla="*/ 944723 h 1149350"/>
                <a:gd name="connsiteX221" fmla="*/ 1199303 w 7479045"/>
                <a:gd name="connsiteY221" fmla="*/ 942808 h 1149350"/>
                <a:gd name="connsiteX222" fmla="*/ 1243638 w 7479045"/>
                <a:gd name="connsiteY222" fmla="*/ 937061 h 1149350"/>
                <a:gd name="connsiteX223" fmla="*/ 1243638 w 7479045"/>
                <a:gd name="connsiteY223" fmla="*/ 375795 h 1149350"/>
                <a:gd name="connsiteX224" fmla="*/ 1451817 w 7479045"/>
                <a:gd name="connsiteY224" fmla="*/ 375795 h 1149350"/>
                <a:gd name="connsiteX225" fmla="*/ 1451817 w 7479045"/>
                <a:gd name="connsiteY225" fmla="*/ 1080730 h 1149350"/>
                <a:gd name="connsiteX226" fmla="*/ 237436 w 7479045"/>
                <a:gd name="connsiteY226" fmla="*/ 640146 h 1149350"/>
                <a:gd name="connsiteX227" fmla="*/ 301047 w 7479045"/>
                <a:gd name="connsiteY227" fmla="*/ 571185 h 1149350"/>
                <a:gd name="connsiteX228" fmla="*/ 364657 w 7479045"/>
                <a:gd name="connsiteY228" fmla="*/ 500308 h 1149350"/>
                <a:gd name="connsiteX229" fmla="*/ 422485 w 7479045"/>
                <a:gd name="connsiteY229" fmla="*/ 433263 h 1149350"/>
                <a:gd name="connsiteX230" fmla="*/ 470674 w 7479045"/>
                <a:gd name="connsiteY230" fmla="*/ 377711 h 1149350"/>
                <a:gd name="connsiteX231" fmla="*/ 717406 w 7479045"/>
                <a:gd name="connsiteY231" fmla="*/ 377711 h 1149350"/>
                <a:gd name="connsiteX232" fmla="*/ 572837 w 7479045"/>
                <a:gd name="connsiteY232" fmla="*/ 540535 h 1149350"/>
                <a:gd name="connsiteX233" fmla="*/ 418630 w 7479045"/>
                <a:gd name="connsiteY233" fmla="*/ 699529 h 1149350"/>
                <a:gd name="connsiteX234" fmla="*/ 505371 w 7479045"/>
                <a:gd name="connsiteY234" fmla="*/ 789561 h 1149350"/>
                <a:gd name="connsiteX235" fmla="*/ 592113 w 7479045"/>
                <a:gd name="connsiteY235" fmla="*/ 896834 h 1149350"/>
                <a:gd name="connsiteX236" fmla="*/ 669216 w 7479045"/>
                <a:gd name="connsiteY236" fmla="*/ 1007938 h 1149350"/>
                <a:gd name="connsiteX237" fmla="*/ 727044 w 7479045"/>
                <a:gd name="connsiteY237" fmla="*/ 1109464 h 1149350"/>
                <a:gd name="connsiteX238" fmla="*/ 488023 w 7479045"/>
                <a:gd name="connsiteY238" fmla="*/ 1109464 h 1149350"/>
                <a:gd name="connsiteX239" fmla="*/ 435978 w 7479045"/>
                <a:gd name="connsiteY239" fmla="*/ 1030925 h 1149350"/>
                <a:gd name="connsiteX240" fmla="*/ 376223 w 7479045"/>
                <a:gd name="connsiteY240" fmla="*/ 942808 h 1149350"/>
                <a:gd name="connsiteX241" fmla="*/ 306829 w 7479045"/>
                <a:gd name="connsiteY241" fmla="*/ 858522 h 1149350"/>
                <a:gd name="connsiteX242" fmla="*/ 237436 w 7479045"/>
                <a:gd name="connsiteY242" fmla="*/ 791477 h 1149350"/>
                <a:gd name="connsiteX243" fmla="*/ 237436 w 7479045"/>
                <a:gd name="connsiteY243" fmla="*/ 1111379 h 1149350"/>
                <a:gd name="connsiteX244" fmla="*/ 29257 w 7479045"/>
                <a:gd name="connsiteY244" fmla="*/ 1111379 h 1149350"/>
                <a:gd name="connsiteX245" fmla="*/ 29257 w 7479045"/>
                <a:gd name="connsiteY245" fmla="*/ 61639 h 1149350"/>
                <a:gd name="connsiteX246" fmla="*/ 237436 w 7479045"/>
                <a:gd name="connsiteY246" fmla="*/ 29074 h 1149350"/>
                <a:gd name="connsiteX247" fmla="*/ 237436 w 7479045"/>
                <a:gd name="connsiteY247" fmla="*/ 640146 h 1149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Lst>
              <a:rect l="l" t="t" r="r" b="b"/>
              <a:pathLst>
                <a:path w="7479045" h="1149350">
                  <a:moveTo>
                    <a:pt x="7155553" y="958132"/>
                  </a:moveTo>
                  <a:cubicBezTo>
                    <a:pt x="7182539" y="960048"/>
                    <a:pt x="7211453" y="956217"/>
                    <a:pt x="7236512" y="946639"/>
                  </a:cubicBezTo>
                  <a:cubicBezTo>
                    <a:pt x="7251933" y="938977"/>
                    <a:pt x="7261571" y="921736"/>
                    <a:pt x="7259643" y="904496"/>
                  </a:cubicBezTo>
                  <a:cubicBezTo>
                    <a:pt x="7257716" y="885340"/>
                    <a:pt x="7246150" y="868100"/>
                    <a:pt x="7228802" y="862353"/>
                  </a:cubicBezTo>
                  <a:cubicBezTo>
                    <a:pt x="7199888" y="845113"/>
                    <a:pt x="7167119" y="829788"/>
                    <a:pt x="7134350" y="820210"/>
                  </a:cubicBezTo>
                  <a:cubicBezTo>
                    <a:pt x="7101581" y="808717"/>
                    <a:pt x="7072667" y="795308"/>
                    <a:pt x="7045681" y="781899"/>
                  </a:cubicBezTo>
                  <a:cubicBezTo>
                    <a:pt x="7020622" y="770405"/>
                    <a:pt x="6999418" y="755081"/>
                    <a:pt x="6978215" y="735925"/>
                  </a:cubicBezTo>
                  <a:cubicBezTo>
                    <a:pt x="6958939" y="716769"/>
                    <a:pt x="6945446" y="695697"/>
                    <a:pt x="6935808" y="670795"/>
                  </a:cubicBezTo>
                  <a:cubicBezTo>
                    <a:pt x="6924242" y="642061"/>
                    <a:pt x="6920388" y="611412"/>
                    <a:pt x="6920388" y="580762"/>
                  </a:cubicBezTo>
                  <a:cubicBezTo>
                    <a:pt x="6918460" y="517548"/>
                    <a:pt x="6947374" y="456250"/>
                    <a:pt x="6997491" y="417938"/>
                  </a:cubicBezTo>
                  <a:cubicBezTo>
                    <a:pt x="7049536" y="377711"/>
                    <a:pt x="7118929" y="358555"/>
                    <a:pt x="7207598" y="358555"/>
                  </a:cubicBezTo>
                  <a:cubicBezTo>
                    <a:pt x="7250005" y="358555"/>
                    <a:pt x="7294340" y="362386"/>
                    <a:pt x="7336746" y="371964"/>
                  </a:cubicBezTo>
                  <a:cubicBezTo>
                    <a:pt x="7369516" y="377711"/>
                    <a:pt x="7402285" y="385373"/>
                    <a:pt x="7435054" y="396866"/>
                  </a:cubicBezTo>
                  <a:lnTo>
                    <a:pt x="7398429" y="559691"/>
                  </a:lnTo>
                  <a:cubicBezTo>
                    <a:pt x="7371443" y="550113"/>
                    <a:pt x="7346384" y="544366"/>
                    <a:pt x="7319398" y="536704"/>
                  </a:cubicBezTo>
                  <a:cubicBezTo>
                    <a:pt x="7288557" y="529042"/>
                    <a:pt x="7255788" y="527126"/>
                    <a:pt x="7224946" y="527126"/>
                  </a:cubicBezTo>
                  <a:cubicBezTo>
                    <a:pt x="7159409" y="527126"/>
                    <a:pt x="7126639" y="544366"/>
                    <a:pt x="7126639" y="580762"/>
                  </a:cubicBezTo>
                  <a:cubicBezTo>
                    <a:pt x="7126639" y="588425"/>
                    <a:pt x="7128567" y="596087"/>
                    <a:pt x="7130495" y="603749"/>
                  </a:cubicBezTo>
                  <a:cubicBezTo>
                    <a:pt x="7134350" y="611412"/>
                    <a:pt x="7140133" y="617159"/>
                    <a:pt x="7147843" y="622905"/>
                  </a:cubicBezTo>
                  <a:cubicBezTo>
                    <a:pt x="7155553" y="628652"/>
                    <a:pt x="7167119" y="634399"/>
                    <a:pt x="7180612" y="642061"/>
                  </a:cubicBezTo>
                  <a:cubicBezTo>
                    <a:pt x="7194105" y="649724"/>
                    <a:pt x="7213381" y="657386"/>
                    <a:pt x="7236512" y="665048"/>
                  </a:cubicBezTo>
                  <a:cubicBezTo>
                    <a:pt x="7275064" y="678457"/>
                    <a:pt x="7313616" y="695697"/>
                    <a:pt x="7348312" y="714853"/>
                  </a:cubicBezTo>
                  <a:cubicBezTo>
                    <a:pt x="7375298" y="728262"/>
                    <a:pt x="7398429" y="745503"/>
                    <a:pt x="7417705" y="768490"/>
                  </a:cubicBezTo>
                  <a:cubicBezTo>
                    <a:pt x="7435054" y="785730"/>
                    <a:pt x="7446619" y="806801"/>
                    <a:pt x="7454329" y="831704"/>
                  </a:cubicBezTo>
                  <a:cubicBezTo>
                    <a:pt x="7462040" y="858522"/>
                    <a:pt x="7465895" y="885340"/>
                    <a:pt x="7465895" y="912158"/>
                  </a:cubicBezTo>
                  <a:cubicBezTo>
                    <a:pt x="7469751" y="977288"/>
                    <a:pt x="7438909" y="1040503"/>
                    <a:pt x="7383009" y="1076899"/>
                  </a:cubicBezTo>
                  <a:cubicBezTo>
                    <a:pt x="7329036" y="1113295"/>
                    <a:pt x="7251933" y="1132451"/>
                    <a:pt x="7151698" y="1132451"/>
                  </a:cubicBezTo>
                  <a:cubicBezTo>
                    <a:pt x="7095798" y="1134366"/>
                    <a:pt x="7041826" y="1128619"/>
                    <a:pt x="6987853" y="1115210"/>
                  </a:cubicBezTo>
                  <a:cubicBezTo>
                    <a:pt x="6957012" y="1107548"/>
                    <a:pt x="6928098" y="1097970"/>
                    <a:pt x="6899184" y="1088392"/>
                  </a:cubicBezTo>
                  <a:lnTo>
                    <a:pt x="6933880" y="919821"/>
                  </a:lnTo>
                  <a:cubicBezTo>
                    <a:pt x="6968577" y="933230"/>
                    <a:pt x="7005201" y="944723"/>
                    <a:pt x="7041826" y="952386"/>
                  </a:cubicBezTo>
                  <a:cubicBezTo>
                    <a:pt x="7080377" y="954301"/>
                    <a:pt x="7117001" y="958132"/>
                    <a:pt x="7155553" y="958132"/>
                  </a:cubicBezTo>
                  <a:moveTo>
                    <a:pt x="6093452" y="747418"/>
                  </a:moveTo>
                  <a:cubicBezTo>
                    <a:pt x="6091524" y="689951"/>
                    <a:pt x="6103089" y="632483"/>
                    <a:pt x="6122365" y="578847"/>
                  </a:cubicBezTo>
                  <a:cubicBezTo>
                    <a:pt x="6139714" y="532873"/>
                    <a:pt x="6166700" y="492646"/>
                    <a:pt x="6201397" y="456250"/>
                  </a:cubicBezTo>
                  <a:cubicBezTo>
                    <a:pt x="6234166" y="423685"/>
                    <a:pt x="6270790" y="398782"/>
                    <a:pt x="6313197" y="383457"/>
                  </a:cubicBezTo>
                  <a:cubicBezTo>
                    <a:pt x="6355604" y="366217"/>
                    <a:pt x="6399939" y="358555"/>
                    <a:pt x="6444273" y="358555"/>
                  </a:cubicBezTo>
                  <a:cubicBezTo>
                    <a:pt x="6548363" y="358555"/>
                    <a:pt x="6631249" y="391120"/>
                    <a:pt x="6691004" y="454334"/>
                  </a:cubicBezTo>
                  <a:cubicBezTo>
                    <a:pt x="6750759" y="517548"/>
                    <a:pt x="6781601" y="611412"/>
                    <a:pt x="6781601" y="734009"/>
                  </a:cubicBezTo>
                  <a:cubicBezTo>
                    <a:pt x="6781601" y="745503"/>
                    <a:pt x="6781601" y="758912"/>
                    <a:pt x="6779673" y="774236"/>
                  </a:cubicBezTo>
                  <a:cubicBezTo>
                    <a:pt x="6779673" y="789561"/>
                    <a:pt x="6777746" y="801055"/>
                    <a:pt x="6777746" y="812548"/>
                  </a:cubicBezTo>
                  <a:lnTo>
                    <a:pt x="6307414" y="812548"/>
                  </a:lnTo>
                  <a:cubicBezTo>
                    <a:pt x="6311269" y="852775"/>
                    <a:pt x="6332473" y="891087"/>
                    <a:pt x="6367169" y="914074"/>
                  </a:cubicBezTo>
                  <a:cubicBezTo>
                    <a:pt x="6409577" y="940892"/>
                    <a:pt x="6459693" y="954301"/>
                    <a:pt x="6509811" y="952386"/>
                  </a:cubicBezTo>
                  <a:cubicBezTo>
                    <a:pt x="6546435" y="952386"/>
                    <a:pt x="6584987" y="948554"/>
                    <a:pt x="6621611" y="942808"/>
                  </a:cubicBezTo>
                  <a:cubicBezTo>
                    <a:pt x="6652452" y="937061"/>
                    <a:pt x="6683294" y="927483"/>
                    <a:pt x="6712208" y="914074"/>
                  </a:cubicBezTo>
                  <a:lnTo>
                    <a:pt x="6741122" y="1082645"/>
                  </a:lnTo>
                  <a:cubicBezTo>
                    <a:pt x="6727629" y="1090308"/>
                    <a:pt x="6712208" y="1094139"/>
                    <a:pt x="6696787" y="1099886"/>
                  </a:cubicBezTo>
                  <a:cubicBezTo>
                    <a:pt x="6675584" y="1105632"/>
                    <a:pt x="6654380" y="1111379"/>
                    <a:pt x="6633176" y="1113295"/>
                  </a:cubicBezTo>
                  <a:cubicBezTo>
                    <a:pt x="6610046" y="1117126"/>
                    <a:pt x="6586914" y="1120957"/>
                    <a:pt x="6559928" y="1124788"/>
                  </a:cubicBezTo>
                  <a:cubicBezTo>
                    <a:pt x="6534870" y="1126704"/>
                    <a:pt x="6507883" y="1128619"/>
                    <a:pt x="6480897" y="1128619"/>
                  </a:cubicBezTo>
                  <a:cubicBezTo>
                    <a:pt x="6421142" y="1130535"/>
                    <a:pt x="6363314" y="1120957"/>
                    <a:pt x="6307414" y="1099886"/>
                  </a:cubicBezTo>
                  <a:cubicBezTo>
                    <a:pt x="6261152" y="1082645"/>
                    <a:pt x="6220673" y="1055827"/>
                    <a:pt x="6185976" y="1021347"/>
                  </a:cubicBezTo>
                  <a:cubicBezTo>
                    <a:pt x="6153207" y="986866"/>
                    <a:pt x="6130076" y="944723"/>
                    <a:pt x="6114655" y="900665"/>
                  </a:cubicBezTo>
                  <a:cubicBezTo>
                    <a:pt x="6101162" y="848944"/>
                    <a:pt x="6093452" y="797223"/>
                    <a:pt x="6093452" y="747418"/>
                  </a:cubicBezTo>
                  <a:moveTo>
                    <a:pt x="6581132" y="668879"/>
                  </a:moveTo>
                  <a:cubicBezTo>
                    <a:pt x="6581132" y="651639"/>
                    <a:pt x="6577276" y="634399"/>
                    <a:pt x="6571494" y="617159"/>
                  </a:cubicBezTo>
                  <a:cubicBezTo>
                    <a:pt x="6567639" y="599918"/>
                    <a:pt x="6558001" y="586509"/>
                    <a:pt x="6548363" y="573100"/>
                  </a:cubicBezTo>
                  <a:cubicBezTo>
                    <a:pt x="6536797" y="559691"/>
                    <a:pt x="6523304" y="548198"/>
                    <a:pt x="6507883" y="540535"/>
                  </a:cubicBezTo>
                  <a:cubicBezTo>
                    <a:pt x="6488607" y="530957"/>
                    <a:pt x="6469331" y="527126"/>
                    <a:pt x="6448128" y="527126"/>
                  </a:cubicBezTo>
                  <a:cubicBezTo>
                    <a:pt x="6426925" y="527126"/>
                    <a:pt x="6407649" y="530957"/>
                    <a:pt x="6388373" y="540535"/>
                  </a:cubicBezTo>
                  <a:cubicBezTo>
                    <a:pt x="6372952" y="548198"/>
                    <a:pt x="6357531" y="557775"/>
                    <a:pt x="6345966" y="571185"/>
                  </a:cubicBezTo>
                  <a:cubicBezTo>
                    <a:pt x="6334400" y="584594"/>
                    <a:pt x="6324762" y="599918"/>
                    <a:pt x="6318980" y="617159"/>
                  </a:cubicBezTo>
                  <a:cubicBezTo>
                    <a:pt x="6313197" y="634399"/>
                    <a:pt x="6309342" y="651639"/>
                    <a:pt x="6307414" y="668879"/>
                  </a:cubicBezTo>
                  <a:lnTo>
                    <a:pt x="6581132" y="668879"/>
                  </a:lnTo>
                  <a:moveTo>
                    <a:pt x="5528668" y="193815"/>
                  </a:moveTo>
                  <a:lnTo>
                    <a:pt x="5736848" y="161250"/>
                  </a:lnTo>
                  <a:lnTo>
                    <a:pt x="5736848" y="375795"/>
                  </a:lnTo>
                  <a:lnTo>
                    <a:pt x="5987434" y="375795"/>
                  </a:lnTo>
                  <a:lnTo>
                    <a:pt x="5987434" y="548198"/>
                  </a:lnTo>
                  <a:lnTo>
                    <a:pt x="5736848" y="548198"/>
                  </a:lnTo>
                  <a:lnTo>
                    <a:pt x="5736848" y="804886"/>
                  </a:lnTo>
                  <a:cubicBezTo>
                    <a:pt x="5734920" y="841282"/>
                    <a:pt x="5742631" y="877678"/>
                    <a:pt x="5759979" y="908327"/>
                  </a:cubicBezTo>
                  <a:cubicBezTo>
                    <a:pt x="5775399" y="933230"/>
                    <a:pt x="5806241" y="946639"/>
                    <a:pt x="5854431" y="946639"/>
                  </a:cubicBezTo>
                  <a:cubicBezTo>
                    <a:pt x="5877562" y="946639"/>
                    <a:pt x="5900693" y="944723"/>
                    <a:pt x="5921896" y="940892"/>
                  </a:cubicBezTo>
                  <a:cubicBezTo>
                    <a:pt x="5945028" y="937061"/>
                    <a:pt x="5966231" y="931314"/>
                    <a:pt x="5987434" y="923652"/>
                  </a:cubicBezTo>
                  <a:lnTo>
                    <a:pt x="6016348" y="1084561"/>
                  </a:lnTo>
                  <a:cubicBezTo>
                    <a:pt x="5989362" y="1096054"/>
                    <a:pt x="5960448" y="1103717"/>
                    <a:pt x="5931534" y="1111379"/>
                  </a:cubicBezTo>
                  <a:cubicBezTo>
                    <a:pt x="5894910" y="1119041"/>
                    <a:pt x="5856358" y="1122873"/>
                    <a:pt x="5817807" y="1122873"/>
                  </a:cubicBezTo>
                  <a:cubicBezTo>
                    <a:pt x="5769617" y="1124788"/>
                    <a:pt x="5721427" y="1117126"/>
                    <a:pt x="5677093" y="1099886"/>
                  </a:cubicBezTo>
                  <a:cubicBezTo>
                    <a:pt x="5642396" y="1086476"/>
                    <a:pt x="5611554" y="1063490"/>
                    <a:pt x="5588424" y="1036671"/>
                  </a:cubicBezTo>
                  <a:cubicBezTo>
                    <a:pt x="5565292" y="1007938"/>
                    <a:pt x="5549872" y="973457"/>
                    <a:pt x="5540234" y="937061"/>
                  </a:cubicBezTo>
                  <a:cubicBezTo>
                    <a:pt x="5530596" y="894918"/>
                    <a:pt x="5526741" y="850860"/>
                    <a:pt x="5528668" y="808717"/>
                  </a:cubicBezTo>
                  <a:lnTo>
                    <a:pt x="5528668" y="193815"/>
                  </a:lnTo>
                  <a:moveTo>
                    <a:pt x="4686312" y="747418"/>
                  </a:moveTo>
                  <a:cubicBezTo>
                    <a:pt x="4684385" y="689951"/>
                    <a:pt x="4695950" y="632483"/>
                    <a:pt x="4715225" y="578847"/>
                  </a:cubicBezTo>
                  <a:cubicBezTo>
                    <a:pt x="4732574" y="532873"/>
                    <a:pt x="4759560" y="492646"/>
                    <a:pt x="4794257" y="456250"/>
                  </a:cubicBezTo>
                  <a:cubicBezTo>
                    <a:pt x="4827026" y="423685"/>
                    <a:pt x="4863650" y="398782"/>
                    <a:pt x="4906057" y="383457"/>
                  </a:cubicBezTo>
                  <a:cubicBezTo>
                    <a:pt x="4948464" y="366217"/>
                    <a:pt x="4992799" y="358555"/>
                    <a:pt x="5037133" y="358555"/>
                  </a:cubicBezTo>
                  <a:cubicBezTo>
                    <a:pt x="5141223" y="358555"/>
                    <a:pt x="5224109" y="391120"/>
                    <a:pt x="5283864" y="454334"/>
                  </a:cubicBezTo>
                  <a:cubicBezTo>
                    <a:pt x="5343620" y="517548"/>
                    <a:pt x="5374461" y="611412"/>
                    <a:pt x="5374461" y="734009"/>
                  </a:cubicBezTo>
                  <a:cubicBezTo>
                    <a:pt x="5374461" y="745503"/>
                    <a:pt x="5374461" y="758912"/>
                    <a:pt x="5372533" y="774236"/>
                  </a:cubicBezTo>
                  <a:cubicBezTo>
                    <a:pt x="5370606" y="789561"/>
                    <a:pt x="5370606" y="801055"/>
                    <a:pt x="5370606" y="812548"/>
                  </a:cubicBezTo>
                  <a:lnTo>
                    <a:pt x="4898346" y="812548"/>
                  </a:lnTo>
                  <a:cubicBezTo>
                    <a:pt x="4902202" y="852775"/>
                    <a:pt x="4923405" y="891087"/>
                    <a:pt x="4958102" y="914074"/>
                  </a:cubicBezTo>
                  <a:cubicBezTo>
                    <a:pt x="5000509" y="940892"/>
                    <a:pt x="5050626" y="954301"/>
                    <a:pt x="5100743" y="952386"/>
                  </a:cubicBezTo>
                  <a:cubicBezTo>
                    <a:pt x="5137368" y="952386"/>
                    <a:pt x="5175920" y="948554"/>
                    <a:pt x="5212544" y="942808"/>
                  </a:cubicBezTo>
                  <a:cubicBezTo>
                    <a:pt x="5243385" y="937061"/>
                    <a:pt x="5274226" y="927483"/>
                    <a:pt x="5305068" y="914074"/>
                  </a:cubicBezTo>
                  <a:lnTo>
                    <a:pt x="5333982" y="1082645"/>
                  </a:lnTo>
                  <a:cubicBezTo>
                    <a:pt x="5320489" y="1090308"/>
                    <a:pt x="5305068" y="1094139"/>
                    <a:pt x="5289647" y="1099886"/>
                  </a:cubicBezTo>
                  <a:cubicBezTo>
                    <a:pt x="5268444" y="1105632"/>
                    <a:pt x="5247240" y="1111379"/>
                    <a:pt x="5226037" y="1113295"/>
                  </a:cubicBezTo>
                  <a:cubicBezTo>
                    <a:pt x="5202906" y="1117126"/>
                    <a:pt x="5179775" y="1120957"/>
                    <a:pt x="5152788" y="1124788"/>
                  </a:cubicBezTo>
                  <a:cubicBezTo>
                    <a:pt x="5127730" y="1126704"/>
                    <a:pt x="5100743" y="1128619"/>
                    <a:pt x="5073757" y="1128619"/>
                  </a:cubicBezTo>
                  <a:cubicBezTo>
                    <a:pt x="5014002" y="1130535"/>
                    <a:pt x="4956174" y="1120957"/>
                    <a:pt x="4900274" y="1099886"/>
                  </a:cubicBezTo>
                  <a:cubicBezTo>
                    <a:pt x="4854012" y="1082645"/>
                    <a:pt x="4813533" y="1055827"/>
                    <a:pt x="4778836" y="1021347"/>
                  </a:cubicBezTo>
                  <a:cubicBezTo>
                    <a:pt x="4746067" y="986866"/>
                    <a:pt x="4722936" y="944723"/>
                    <a:pt x="4707515" y="900665"/>
                  </a:cubicBezTo>
                  <a:cubicBezTo>
                    <a:pt x="4692095" y="848944"/>
                    <a:pt x="4684385" y="797223"/>
                    <a:pt x="4686312" y="747418"/>
                  </a:cubicBezTo>
                  <a:moveTo>
                    <a:pt x="5173992" y="668879"/>
                  </a:moveTo>
                  <a:cubicBezTo>
                    <a:pt x="5173992" y="651639"/>
                    <a:pt x="5170137" y="634399"/>
                    <a:pt x="5164354" y="617159"/>
                  </a:cubicBezTo>
                  <a:cubicBezTo>
                    <a:pt x="5160499" y="599918"/>
                    <a:pt x="5150861" y="586509"/>
                    <a:pt x="5141223" y="573100"/>
                  </a:cubicBezTo>
                  <a:cubicBezTo>
                    <a:pt x="5129657" y="559691"/>
                    <a:pt x="5116164" y="548198"/>
                    <a:pt x="5100743" y="540535"/>
                  </a:cubicBezTo>
                  <a:cubicBezTo>
                    <a:pt x="5081467" y="530957"/>
                    <a:pt x="5062191" y="527126"/>
                    <a:pt x="5040988" y="527126"/>
                  </a:cubicBezTo>
                  <a:cubicBezTo>
                    <a:pt x="5019785" y="527126"/>
                    <a:pt x="5000509" y="530957"/>
                    <a:pt x="4981233" y="540535"/>
                  </a:cubicBezTo>
                  <a:cubicBezTo>
                    <a:pt x="4965812" y="548198"/>
                    <a:pt x="4952319" y="557775"/>
                    <a:pt x="4940754" y="571185"/>
                  </a:cubicBezTo>
                  <a:cubicBezTo>
                    <a:pt x="4929188" y="584594"/>
                    <a:pt x="4919550" y="599918"/>
                    <a:pt x="4913767" y="617159"/>
                  </a:cubicBezTo>
                  <a:cubicBezTo>
                    <a:pt x="4907984" y="634399"/>
                    <a:pt x="4904130" y="651639"/>
                    <a:pt x="4902202" y="668879"/>
                  </a:cubicBezTo>
                  <a:lnTo>
                    <a:pt x="5173992" y="668879"/>
                  </a:lnTo>
                  <a:moveTo>
                    <a:pt x="3896000" y="400698"/>
                  </a:moveTo>
                  <a:cubicBezTo>
                    <a:pt x="3940335" y="389204"/>
                    <a:pt x="3986597" y="379626"/>
                    <a:pt x="4032859" y="371964"/>
                  </a:cubicBezTo>
                  <a:cubicBezTo>
                    <a:pt x="4090687" y="362386"/>
                    <a:pt x="4150442" y="358555"/>
                    <a:pt x="4208270" y="358555"/>
                  </a:cubicBezTo>
                  <a:cubicBezTo>
                    <a:pt x="4260315" y="356639"/>
                    <a:pt x="4312359" y="366217"/>
                    <a:pt x="4362477" y="383457"/>
                  </a:cubicBezTo>
                  <a:cubicBezTo>
                    <a:pt x="4401029" y="396866"/>
                    <a:pt x="4435725" y="419854"/>
                    <a:pt x="4460784" y="450503"/>
                  </a:cubicBezTo>
                  <a:cubicBezTo>
                    <a:pt x="4485842" y="481152"/>
                    <a:pt x="4503191" y="517548"/>
                    <a:pt x="4512829" y="555860"/>
                  </a:cubicBezTo>
                  <a:cubicBezTo>
                    <a:pt x="4524394" y="599918"/>
                    <a:pt x="4528250" y="645892"/>
                    <a:pt x="4528250" y="691866"/>
                  </a:cubicBezTo>
                  <a:lnTo>
                    <a:pt x="4528250" y="1103717"/>
                  </a:lnTo>
                  <a:lnTo>
                    <a:pt x="4321997" y="1103717"/>
                  </a:lnTo>
                  <a:lnTo>
                    <a:pt x="4321997" y="718684"/>
                  </a:lnTo>
                  <a:cubicBezTo>
                    <a:pt x="4321997" y="651639"/>
                    <a:pt x="4312359" y="605665"/>
                    <a:pt x="4295011" y="576931"/>
                  </a:cubicBezTo>
                  <a:cubicBezTo>
                    <a:pt x="4277663" y="550113"/>
                    <a:pt x="4244894" y="534789"/>
                    <a:pt x="4196704" y="534789"/>
                  </a:cubicBezTo>
                  <a:cubicBezTo>
                    <a:pt x="4181284" y="534789"/>
                    <a:pt x="4165862" y="534789"/>
                    <a:pt x="4148514" y="536704"/>
                  </a:cubicBezTo>
                  <a:cubicBezTo>
                    <a:pt x="4131166" y="536704"/>
                    <a:pt x="4117673" y="538620"/>
                    <a:pt x="4104180" y="540535"/>
                  </a:cubicBezTo>
                  <a:lnTo>
                    <a:pt x="4104180" y="1103717"/>
                  </a:lnTo>
                  <a:lnTo>
                    <a:pt x="3896000" y="1103717"/>
                  </a:lnTo>
                  <a:lnTo>
                    <a:pt x="3896000" y="400698"/>
                  </a:lnTo>
                  <a:moveTo>
                    <a:pt x="3749504" y="559691"/>
                  </a:moveTo>
                  <a:cubicBezTo>
                    <a:pt x="3730228" y="555860"/>
                    <a:pt x="3709024" y="550113"/>
                    <a:pt x="3683965" y="546282"/>
                  </a:cubicBezTo>
                  <a:cubicBezTo>
                    <a:pt x="3656979" y="540535"/>
                    <a:pt x="3629993" y="538620"/>
                    <a:pt x="3603007" y="538620"/>
                  </a:cubicBezTo>
                  <a:cubicBezTo>
                    <a:pt x="3587586" y="538620"/>
                    <a:pt x="3572165" y="540535"/>
                    <a:pt x="3554817" y="542451"/>
                  </a:cubicBezTo>
                  <a:cubicBezTo>
                    <a:pt x="3541324" y="544366"/>
                    <a:pt x="3527831" y="546282"/>
                    <a:pt x="3514338" y="550113"/>
                  </a:cubicBezTo>
                  <a:lnTo>
                    <a:pt x="3514338" y="1107548"/>
                  </a:lnTo>
                  <a:lnTo>
                    <a:pt x="3306158" y="1107548"/>
                  </a:lnTo>
                  <a:lnTo>
                    <a:pt x="3306158" y="414107"/>
                  </a:lnTo>
                  <a:cubicBezTo>
                    <a:pt x="3348565" y="398782"/>
                    <a:pt x="3392900" y="387289"/>
                    <a:pt x="3437234" y="377711"/>
                  </a:cubicBezTo>
                  <a:cubicBezTo>
                    <a:pt x="3493134" y="364302"/>
                    <a:pt x="3550962" y="358555"/>
                    <a:pt x="3606862" y="360470"/>
                  </a:cubicBezTo>
                  <a:cubicBezTo>
                    <a:pt x="3620355" y="360470"/>
                    <a:pt x="3633848" y="362386"/>
                    <a:pt x="3647341" y="362386"/>
                  </a:cubicBezTo>
                  <a:cubicBezTo>
                    <a:pt x="3662762" y="362386"/>
                    <a:pt x="3678183" y="364302"/>
                    <a:pt x="3695531" y="368133"/>
                  </a:cubicBezTo>
                  <a:cubicBezTo>
                    <a:pt x="3710952" y="370048"/>
                    <a:pt x="3726372" y="371964"/>
                    <a:pt x="3743721" y="375795"/>
                  </a:cubicBezTo>
                  <a:cubicBezTo>
                    <a:pt x="3757214" y="377711"/>
                    <a:pt x="3770707" y="381542"/>
                    <a:pt x="3784200" y="387289"/>
                  </a:cubicBezTo>
                  <a:lnTo>
                    <a:pt x="3749504" y="559691"/>
                  </a:lnTo>
                  <a:moveTo>
                    <a:pt x="2456091" y="747418"/>
                  </a:moveTo>
                  <a:cubicBezTo>
                    <a:pt x="2454164" y="689951"/>
                    <a:pt x="2465729" y="632483"/>
                    <a:pt x="2485005" y="578847"/>
                  </a:cubicBezTo>
                  <a:cubicBezTo>
                    <a:pt x="2502353" y="532873"/>
                    <a:pt x="2529340" y="492646"/>
                    <a:pt x="2564036" y="456250"/>
                  </a:cubicBezTo>
                  <a:cubicBezTo>
                    <a:pt x="2596805" y="423685"/>
                    <a:pt x="2633430" y="398782"/>
                    <a:pt x="2675836" y="383457"/>
                  </a:cubicBezTo>
                  <a:cubicBezTo>
                    <a:pt x="2718243" y="366217"/>
                    <a:pt x="2762578" y="358555"/>
                    <a:pt x="2806912" y="358555"/>
                  </a:cubicBezTo>
                  <a:cubicBezTo>
                    <a:pt x="2911003" y="358555"/>
                    <a:pt x="2993889" y="391120"/>
                    <a:pt x="3053644" y="454334"/>
                  </a:cubicBezTo>
                  <a:cubicBezTo>
                    <a:pt x="3113399" y="517548"/>
                    <a:pt x="3144240" y="611412"/>
                    <a:pt x="3144240" y="732094"/>
                  </a:cubicBezTo>
                  <a:cubicBezTo>
                    <a:pt x="3144240" y="743587"/>
                    <a:pt x="3144240" y="756996"/>
                    <a:pt x="3142313" y="772321"/>
                  </a:cubicBezTo>
                  <a:cubicBezTo>
                    <a:pt x="3140386" y="787645"/>
                    <a:pt x="3140386" y="799139"/>
                    <a:pt x="3140386" y="810632"/>
                  </a:cubicBezTo>
                  <a:lnTo>
                    <a:pt x="2668126" y="810632"/>
                  </a:lnTo>
                  <a:cubicBezTo>
                    <a:pt x="2671981" y="850860"/>
                    <a:pt x="2693185" y="889171"/>
                    <a:pt x="2727881" y="912158"/>
                  </a:cubicBezTo>
                  <a:cubicBezTo>
                    <a:pt x="2770288" y="938977"/>
                    <a:pt x="2820406" y="952386"/>
                    <a:pt x="2870523" y="950470"/>
                  </a:cubicBezTo>
                  <a:cubicBezTo>
                    <a:pt x="2907147" y="950470"/>
                    <a:pt x="2945699" y="946639"/>
                    <a:pt x="2982323" y="940892"/>
                  </a:cubicBezTo>
                  <a:cubicBezTo>
                    <a:pt x="3013165" y="935145"/>
                    <a:pt x="3044006" y="925567"/>
                    <a:pt x="3072920" y="914074"/>
                  </a:cubicBezTo>
                  <a:lnTo>
                    <a:pt x="3101834" y="1082645"/>
                  </a:lnTo>
                  <a:cubicBezTo>
                    <a:pt x="3088340" y="1090308"/>
                    <a:pt x="3072920" y="1094139"/>
                    <a:pt x="3057499" y="1099886"/>
                  </a:cubicBezTo>
                  <a:cubicBezTo>
                    <a:pt x="3036296" y="1105632"/>
                    <a:pt x="3015092" y="1111379"/>
                    <a:pt x="2993889" y="1113295"/>
                  </a:cubicBezTo>
                  <a:cubicBezTo>
                    <a:pt x="2970757" y="1117126"/>
                    <a:pt x="2947627" y="1120957"/>
                    <a:pt x="2920641" y="1124788"/>
                  </a:cubicBezTo>
                  <a:cubicBezTo>
                    <a:pt x="2895581" y="1126704"/>
                    <a:pt x="2868595" y="1128619"/>
                    <a:pt x="2841609" y="1128619"/>
                  </a:cubicBezTo>
                  <a:cubicBezTo>
                    <a:pt x="2781854" y="1130535"/>
                    <a:pt x="2724026" y="1120957"/>
                    <a:pt x="2668126" y="1099886"/>
                  </a:cubicBezTo>
                  <a:cubicBezTo>
                    <a:pt x="2621864" y="1082645"/>
                    <a:pt x="2581384" y="1055827"/>
                    <a:pt x="2546688" y="1021347"/>
                  </a:cubicBezTo>
                  <a:cubicBezTo>
                    <a:pt x="2513919" y="986866"/>
                    <a:pt x="2490788" y="944723"/>
                    <a:pt x="2475367" y="900665"/>
                  </a:cubicBezTo>
                  <a:cubicBezTo>
                    <a:pt x="2463802" y="848944"/>
                    <a:pt x="2456091" y="799139"/>
                    <a:pt x="2456091" y="747418"/>
                  </a:cubicBezTo>
                  <a:moveTo>
                    <a:pt x="2945699" y="668879"/>
                  </a:moveTo>
                  <a:cubicBezTo>
                    <a:pt x="2945699" y="651639"/>
                    <a:pt x="2941844" y="634399"/>
                    <a:pt x="2936061" y="617159"/>
                  </a:cubicBezTo>
                  <a:cubicBezTo>
                    <a:pt x="2932206" y="599918"/>
                    <a:pt x="2922568" y="586509"/>
                    <a:pt x="2912930" y="573100"/>
                  </a:cubicBezTo>
                  <a:cubicBezTo>
                    <a:pt x="2901365" y="559691"/>
                    <a:pt x="2887871" y="548198"/>
                    <a:pt x="2872451" y="540535"/>
                  </a:cubicBezTo>
                  <a:cubicBezTo>
                    <a:pt x="2853175" y="530957"/>
                    <a:pt x="2833899" y="527126"/>
                    <a:pt x="2812695" y="527126"/>
                  </a:cubicBezTo>
                  <a:cubicBezTo>
                    <a:pt x="2791492" y="527126"/>
                    <a:pt x="2772216" y="530957"/>
                    <a:pt x="2752940" y="540535"/>
                  </a:cubicBezTo>
                  <a:cubicBezTo>
                    <a:pt x="2737519" y="548198"/>
                    <a:pt x="2722098" y="557775"/>
                    <a:pt x="2710533" y="571185"/>
                  </a:cubicBezTo>
                  <a:cubicBezTo>
                    <a:pt x="2698967" y="584594"/>
                    <a:pt x="2689330" y="599918"/>
                    <a:pt x="2683547" y="617159"/>
                  </a:cubicBezTo>
                  <a:cubicBezTo>
                    <a:pt x="2677764" y="634399"/>
                    <a:pt x="2673909" y="651639"/>
                    <a:pt x="2671981" y="668879"/>
                  </a:cubicBezTo>
                  <a:lnTo>
                    <a:pt x="2945699" y="668879"/>
                  </a:lnTo>
                  <a:moveTo>
                    <a:pt x="2118763" y="735925"/>
                  </a:moveTo>
                  <a:cubicBezTo>
                    <a:pt x="2118763" y="601834"/>
                    <a:pt x="2068646" y="536704"/>
                    <a:pt x="1970339" y="536704"/>
                  </a:cubicBezTo>
                  <a:cubicBezTo>
                    <a:pt x="1949135" y="536704"/>
                    <a:pt x="1927932" y="538620"/>
                    <a:pt x="1906728" y="544366"/>
                  </a:cubicBezTo>
                  <a:cubicBezTo>
                    <a:pt x="1889380" y="548198"/>
                    <a:pt x="1872032" y="555860"/>
                    <a:pt x="1856611" y="565438"/>
                  </a:cubicBezTo>
                  <a:lnTo>
                    <a:pt x="1856611" y="940892"/>
                  </a:lnTo>
                  <a:cubicBezTo>
                    <a:pt x="1866249" y="942808"/>
                    <a:pt x="1879742" y="944723"/>
                    <a:pt x="1895163" y="946639"/>
                  </a:cubicBezTo>
                  <a:cubicBezTo>
                    <a:pt x="1910584" y="948554"/>
                    <a:pt x="1927932" y="948554"/>
                    <a:pt x="1947208" y="948554"/>
                  </a:cubicBezTo>
                  <a:cubicBezTo>
                    <a:pt x="1997325" y="952386"/>
                    <a:pt x="2045515" y="931314"/>
                    <a:pt x="2076356" y="891087"/>
                  </a:cubicBezTo>
                  <a:cubicBezTo>
                    <a:pt x="2105270" y="845113"/>
                    <a:pt x="2120691" y="791477"/>
                    <a:pt x="2118763" y="735925"/>
                  </a:cubicBezTo>
                  <a:moveTo>
                    <a:pt x="2330798" y="743587"/>
                  </a:moveTo>
                  <a:cubicBezTo>
                    <a:pt x="2330798" y="797223"/>
                    <a:pt x="2323088" y="850860"/>
                    <a:pt x="2303812" y="902580"/>
                  </a:cubicBezTo>
                  <a:cubicBezTo>
                    <a:pt x="2288391" y="948554"/>
                    <a:pt x="2263332" y="988782"/>
                    <a:pt x="2230563" y="1023262"/>
                  </a:cubicBezTo>
                  <a:cubicBezTo>
                    <a:pt x="2195867" y="1057743"/>
                    <a:pt x="2155387" y="1084561"/>
                    <a:pt x="2111053" y="1101801"/>
                  </a:cubicBezTo>
                  <a:cubicBezTo>
                    <a:pt x="2059008" y="1120957"/>
                    <a:pt x="2005035" y="1128619"/>
                    <a:pt x="1949135" y="1128619"/>
                  </a:cubicBezTo>
                  <a:cubicBezTo>
                    <a:pt x="1924077" y="1128619"/>
                    <a:pt x="1897090" y="1126704"/>
                    <a:pt x="1870104" y="1124788"/>
                  </a:cubicBezTo>
                  <a:cubicBezTo>
                    <a:pt x="1843118" y="1122873"/>
                    <a:pt x="1816132" y="1119041"/>
                    <a:pt x="1789146" y="1117126"/>
                  </a:cubicBezTo>
                  <a:cubicBezTo>
                    <a:pt x="1764087" y="1113295"/>
                    <a:pt x="1739028" y="1109464"/>
                    <a:pt x="1713969" y="1103717"/>
                  </a:cubicBezTo>
                  <a:cubicBezTo>
                    <a:pt x="1688911" y="1099886"/>
                    <a:pt x="1667707" y="1094139"/>
                    <a:pt x="1650359" y="1086476"/>
                  </a:cubicBezTo>
                  <a:lnTo>
                    <a:pt x="1650359" y="61639"/>
                  </a:lnTo>
                  <a:lnTo>
                    <a:pt x="1858539" y="29074"/>
                  </a:lnTo>
                  <a:lnTo>
                    <a:pt x="1858539" y="393035"/>
                  </a:lnTo>
                  <a:cubicBezTo>
                    <a:pt x="1881670" y="383457"/>
                    <a:pt x="1906728" y="375795"/>
                    <a:pt x="1931787" y="370048"/>
                  </a:cubicBezTo>
                  <a:cubicBezTo>
                    <a:pt x="1958773" y="364302"/>
                    <a:pt x="1985760" y="362386"/>
                    <a:pt x="2012746" y="362386"/>
                  </a:cubicBezTo>
                  <a:cubicBezTo>
                    <a:pt x="2060935" y="362386"/>
                    <a:pt x="2107198" y="370048"/>
                    <a:pt x="2151532" y="391120"/>
                  </a:cubicBezTo>
                  <a:cubicBezTo>
                    <a:pt x="2190084" y="408360"/>
                    <a:pt x="2224780" y="435178"/>
                    <a:pt x="2251767" y="467743"/>
                  </a:cubicBezTo>
                  <a:cubicBezTo>
                    <a:pt x="2280681" y="504139"/>
                    <a:pt x="2301884" y="544366"/>
                    <a:pt x="2313450" y="588425"/>
                  </a:cubicBezTo>
                  <a:cubicBezTo>
                    <a:pt x="2325015" y="636314"/>
                    <a:pt x="2330798" y="689951"/>
                    <a:pt x="2330798" y="743587"/>
                  </a:cubicBezTo>
                  <a:moveTo>
                    <a:pt x="1451817" y="1080730"/>
                  </a:moveTo>
                  <a:cubicBezTo>
                    <a:pt x="1407483" y="1092223"/>
                    <a:pt x="1361221" y="1101801"/>
                    <a:pt x="1314959" y="1107548"/>
                  </a:cubicBezTo>
                  <a:cubicBezTo>
                    <a:pt x="1257131" y="1117126"/>
                    <a:pt x="1197376" y="1120957"/>
                    <a:pt x="1139548" y="1120957"/>
                  </a:cubicBezTo>
                  <a:cubicBezTo>
                    <a:pt x="1085576" y="1122873"/>
                    <a:pt x="1033531" y="1113295"/>
                    <a:pt x="983413" y="1096054"/>
                  </a:cubicBezTo>
                  <a:cubicBezTo>
                    <a:pt x="944861" y="1080730"/>
                    <a:pt x="912093" y="1057743"/>
                    <a:pt x="885106" y="1027093"/>
                  </a:cubicBezTo>
                  <a:cubicBezTo>
                    <a:pt x="860048" y="994529"/>
                    <a:pt x="842699" y="958132"/>
                    <a:pt x="833061" y="917905"/>
                  </a:cubicBezTo>
                  <a:cubicBezTo>
                    <a:pt x="821496" y="873847"/>
                    <a:pt x="817640" y="825957"/>
                    <a:pt x="817640" y="779983"/>
                  </a:cubicBezTo>
                  <a:lnTo>
                    <a:pt x="817640" y="375795"/>
                  </a:lnTo>
                  <a:lnTo>
                    <a:pt x="1025820" y="375795"/>
                  </a:lnTo>
                  <a:lnTo>
                    <a:pt x="1025820" y="756996"/>
                  </a:lnTo>
                  <a:cubicBezTo>
                    <a:pt x="1025820" y="824042"/>
                    <a:pt x="1035458" y="871931"/>
                    <a:pt x="1052807" y="900665"/>
                  </a:cubicBezTo>
                  <a:cubicBezTo>
                    <a:pt x="1070155" y="929399"/>
                    <a:pt x="1102924" y="944723"/>
                    <a:pt x="1151113" y="944723"/>
                  </a:cubicBezTo>
                  <a:cubicBezTo>
                    <a:pt x="1166534" y="944723"/>
                    <a:pt x="1181955" y="944723"/>
                    <a:pt x="1199303" y="942808"/>
                  </a:cubicBezTo>
                  <a:cubicBezTo>
                    <a:pt x="1216652" y="940892"/>
                    <a:pt x="1230145" y="940892"/>
                    <a:pt x="1243638" y="937061"/>
                  </a:cubicBezTo>
                  <a:lnTo>
                    <a:pt x="1243638" y="375795"/>
                  </a:lnTo>
                  <a:lnTo>
                    <a:pt x="1451817" y="375795"/>
                  </a:lnTo>
                  <a:lnTo>
                    <a:pt x="1451817" y="1080730"/>
                  </a:lnTo>
                  <a:moveTo>
                    <a:pt x="237436" y="640146"/>
                  </a:moveTo>
                  <a:cubicBezTo>
                    <a:pt x="258640" y="617159"/>
                    <a:pt x="277916" y="594172"/>
                    <a:pt x="301047" y="571185"/>
                  </a:cubicBezTo>
                  <a:cubicBezTo>
                    <a:pt x="322250" y="546282"/>
                    <a:pt x="343454" y="523295"/>
                    <a:pt x="364657" y="500308"/>
                  </a:cubicBezTo>
                  <a:cubicBezTo>
                    <a:pt x="385861" y="475405"/>
                    <a:pt x="405137" y="454334"/>
                    <a:pt x="422485" y="433263"/>
                  </a:cubicBezTo>
                  <a:cubicBezTo>
                    <a:pt x="439833" y="412191"/>
                    <a:pt x="457181" y="393035"/>
                    <a:pt x="470674" y="377711"/>
                  </a:cubicBezTo>
                  <a:lnTo>
                    <a:pt x="717406" y="377711"/>
                  </a:lnTo>
                  <a:cubicBezTo>
                    <a:pt x="667289" y="433263"/>
                    <a:pt x="619099" y="488814"/>
                    <a:pt x="572837" y="540535"/>
                  </a:cubicBezTo>
                  <a:cubicBezTo>
                    <a:pt x="524647" y="592256"/>
                    <a:pt x="474530" y="645892"/>
                    <a:pt x="418630" y="699529"/>
                  </a:cubicBezTo>
                  <a:cubicBezTo>
                    <a:pt x="449471" y="728262"/>
                    <a:pt x="478385" y="756996"/>
                    <a:pt x="505371" y="789561"/>
                  </a:cubicBezTo>
                  <a:cubicBezTo>
                    <a:pt x="534285" y="824042"/>
                    <a:pt x="563199" y="858522"/>
                    <a:pt x="592113" y="896834"/>
                  </a:cubicBezTo>
                  <a:cubicBezTo>
                    <a:pt x="619099" y="933230"/>
                    <a:pt x="646085" y="971542"/>
                    <a:pt x="669216" y="1007938"/>
                  </a:cubicBezTo>
                  <a:cubicBezTo>
                    <a:pt x="692347" y="1044334"/>
                    <a:pt x="711623" y="1078814"/>
                    <a:pt x="727044" y="1109464"/>
                  </a:cubicBezTo>
                  <a:lnTo>
                    <a:pt x="488023" y="1109464"/>
                  </a:lnTo>
                  <a:cubicBezTo>
                    <a:pt x="472602" y="1084561"/>
                    <a:pt x="455254" y="1059658"/>
                    <a:pt x="435978" y="1030925"/>
                  </a:cubicBezTo>
                  <a:cubicBezTo>
                    <a:pt x="416702" y="1002191"/>
                    <a:pt x="395499" y="973457"/>
                    <a:pt x="376223" y="942808"/>
                  </a:cubicBezTo>
                  <a:cubicBezTo>
                    <a:pt x="355019" y="914074"/>
                    <a:pt x="331888" y="885340"/>
                    <a:pt x="306829" y="858522"/>
                  </a:cubicBezTo>
                  <a:cubicBezTo>
                    <a:pt x="285626" y="833619"/>
                    <a:pt x="262495" y="810632"/>
                    <a:pt x="237436" y="791477"/>
                  </a:cubicBezTo>
                  <a:lnTo>
                    <a:pt x="237436" y="1111379"/>
                  </a:lnTo>
                  <a:lnTo>
                    <a:pt x="29257" y="1111379"/>
                  </a:lnTo>
                  <a:lnTo>
                    <a:pt x="29257" y="61639"/>
                  </a:lnTo>
                  <a:lnTo>
                    <a:pt x="237436" y="29074"/>
                  </a:lnTo>
                  <a:lnTo>
                    <a:pt x="237436" y="640146"/>
                  </a:lnTo>
                </a:path>
              </a:pathLst>
            </a:custGeom>
            <a:grpFill/>
            <a:ln w="19276" cap="flat">
              <a:noFill/>
              <a:prstDash val="solid"/>
              <a:miter/>
            </a:ln>
          </p:spPr>
          <p:txBody>
            <a:bodyPr rtlCol="0" anchor="ctr"/>
            <a:lstStyle/>
            <a:p>
              <a:endParaRPr lang="en-US" dirty="0"/>
            </a:p>
          </p:txBody>
        </p:sp>
      </p:grpSp>
      <p:sp>
        <p:nvSpPr>
          <p:cNvPr id="4" name="Rectangle 3">
            <a:extLst>
              <a:ext uri="{FF2B5EF4-FFF2-40B4-BE49-F238E27FC236}">
                <a16:creationId xmlns:a16="http://schemas.microsoft.com/office/drawing/2014/main" id="{4613E2BA-4F72-4B3F-81AE-0756A4510822}"/>
              </a:ext>
            </a:extLst>
          </p:cNvPr>
          <p:cNvSpPr/>
          <p:nvPr/>
        </p:nvSpPr>
        <p:spPr bwMode="auto">
          <a:xfrm>
            <a:off x="3938975" y="2404336"/>
            <a:ext cx="1571084" cy="984885"/>
          </a:xfrm>
          <a:prstGeom prst="rect">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Vin and Bob use </a:t>
            </a:r>
            <a:r>
              <a:rPr lang="en-US" sz="1600" dirty="0">
                <a:gradFill>
                  <a:gsLst>
                    <a:gs pos="40075">
                      <a:srgbClr val="FFFFFF"/>
                    </a:gs>
                    <a:gs pos="30000">
                      <a:srgbClr val="FFFFFF"/>
                    </a:gs>
                  </a:gsLst>
                  <a:lin ang="5400000" scaled="0"/>
                </a:gradFill>
                <a:hlinkClick r:id="rId3"/>
              </a:rPr>
              <a:t>containers</a:t>
            </a:r>
            <a:endParaRPr lang="en-US" sz="1600" dirty="0">
              <a:gradFill>
                <a:gsLst>
                  <a:gs pos="40075">
                    <a:srgbClr val="FFFFFF"/>
                  </a:gs>
                  <a:gs pos="30000">
                    <a:srgbClr val="FFFFFF"/>
                  </a:gs>
                </a:gsLst>
                <a:lin ang="5400000" scaled="0"/>
              </a:gradFill>
            </a:endParaRPr>
          </a:p>
        </p:txBody>
      </p:sp>
      <p:cxnSp>
        <p:nvCxnSpPr>
          <p:cNvPr id="6" name="Straight Arrow Connector 5">
            <a:extLst>
              <a:ext uri="{FF2B5EF4-FFF2-40B4-BE49-F238E27FC236}">
                <a16:creationId xmlns:a16="http://schemas.microsoft.com/office/drawing/2014/main" id="{EC173312-FA6C-4DF1-AE2E-7F6FEA0E0E1E}"/>
              </a:ext>
            </a:extLst>
          </p:cNvPr>
          <p:cNvCxnSpPr>
            <a:cxnSpLocks/>
            <a:endCxn id="4" idx="1"/>
          </p:cNvCxnSpPr>
          <p:nvPr/>
        </p:nvCxnSpPr>
        <p:spPr>
          <a:xfrm>
            <a:off x="2594292" y="2647784"/>
            <a:ext cx="1344683" cy="248995"/>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26" name="Straight Arrow Connector 125">
            <a:extLst>
              <a:ext uri="{FF2B5EF4-FFF2-40B4-BE49-F238E27FC236}">
                <a16:creationId xmlns:a16="http://schemas.microsoft.com/office/drawing/2014/main" id="{8D3FC682-B195-4BA2-8E74-B5396AE20857}"/>
              </a:ext>
            </a:extLst>
          </p:cNvPr>
          <p:cNvCxnSpPr>
            <a:cxnSpLocks/>
            <a:endCxn id="4" idx="1"/>
          </p:cNvCxnSpPr>
          <p:nvPr/>
        </p:nvCxnSpPr>
        <p:spPr>
          <a:xfrm flipV="1">
            <a:off x="3553130" y="2896779"/>
            <a:ext cx="385845" cy="20988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60690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2AE171-AD94-4FF5-B0ED-99921A4D69DF}"/>
              </a:ext>
            </a:extLst>
          </p:cNvPr>
          <p:cNvSpPr>
            <a:spLocks noGrp="1"/>
          </p:cNvSpPr>
          <p:nvPr>
            <p:ph type="title"/>
          </p:nvPr>
        </p:nvSpPr>
        <p:spPr>
          <a:xfrm>
            <a:off x="466811" y="197562"/>
            <a:ext cx="11018520" cy="553998"/>
          </a:xfrm>
        </p:spPr>
        <p:txBody>
          <a:bodyPr/>
          <a:lstStyle/>
          <a:p>
            <a:r>
              <a:rPr lang="en-US" dirty="0"/>
              <a:t>Azure Data Modernization Choices</a:t>
            </a:r>
          </a:p>
        </p:txBody>
      </p:sp>
      <p:grpSp>
        <p:nvGrpSpPr>
          <p:cNvPr id="6" name="Group 5">
            <a:extLst>
              <a:ext uri="{FF2B5EF4-FFF2-40B4-BE49-F238E27FC236}">
                <a16:creationId xmlns:a16="http://schemas.microsoft.com/office/drawing/2014/main" id="{A178F7F2-8023-494D-885E-C50430B4C846}"/>
              </a:ext>
            </a:extLst>
          </p:cNvPr>
          <p:cNvGrpSpPr/>
          <p:nvPr/>
        </p:nvGrpSpPr>
        <p:grpSpPr>
          <a:xfrm>
            <a:off x="2795184" y="1264674"/>
            <a:ext cx="914643" cy="1001598"/>
            <a:chOff x="5638675" y="2887316"/>
            <a:chExt cx="914643" cy="1001598"/>
          </a:xfrm>
        </p:grpSpPr>
        <p:sp>
          <p:nvSpPr>
            <p:cNvPr id="7" name="Freeform: Shape 829">
              <a:extLst>
                <a:ext uri="{FF2B5EF4-FFF2-40B4-BE49-F238E27FC236}">
                  <a16:creationId xmlns:a16="http://schemas.microsoft.com/office/drawing/2014/main" id="{43693AC7-E06D-4291-9043-AA1626234C11}"/>
                </a:ext>
              </a:extLst>
            </p:cNvPr>
            <p:cNvSpPr/>
            <p:nvPr/>
          </p:nvSpPr>
          <p:spPr bwMode="auto">
            <a:xfrm>
              <a:off x="5638675" y="2887316"/>
              <a:ext cx="914643" cy="1001598"/>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solidFill>
              <a:srgbClr val="2F78D0"/>
            </a:solidFill>
            <a:ln w="12700">
              <a:solidFill>
                <a:srgbClr val="02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5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WWI</a:t>
              </a:r>
            </a:p>
          </p:txBody>
        </p:sp>
        <p:sp>
          <p:nvSpPr>
            <p:cNvPr id="8" name="Rectangle 7">
              <a:extLst>
                <a:ext uri="{FF2B5EF4-FFF2-40B4-BE49-F238E27FC236}">
                  <a16:creationId xmlns:a16="http://schemas.microsoft.com/office/drawing/2014/main" id="{304E3E02-3A9B-42ED-B6CA-53291EAB4C11}"/>
                </a:ext>
              </a:extLst>
            </p:cNvPr>
            <p:cNvSpPr/>
            <p:nvPr/>
          </p:nvSpPr>
          <p:spPr>
            <a:xfrm>
              <a:off x="5792072" y="3279118"/>
              <a:ext cx="607859" cy="341632"/>
            </a:xfrm>
            <a:prstGeom prst="rect">
              <a:avLst/>
            </a:prstGeom>
          </p:spPr>
          <p:txBody>
            <a:bodyPr wrap="square">
              <a:spAutoFit/>
            </a:bodyPr>
            <a:lstStyle/>
            <a:p>
              <a:pPr algn="ctr">
                <a:lnSpc>
                  <a:spcPct val="90000"/>
                </a:lnSpc>
                <a:spcAft>
                  <a:spcPts val="600"/>
                </a:spcAft>
              </a:pPr>
              <a:r>
                <a:rPr lang="en-US" sz="1800" b="1" dirty="0">
                  <a:solidFill>
                    <a:srgbClr val="50E6FF"/>
                  </a:solidFill>
                  <a:latin typeface="Segoe UI" panose="020B0502040204020203" pitchFamily="34" charset="0"/>
                  <a:cs typeface="Segoe UI" panose="020B0502040204020203" pitchFamily="34" charset="0"/>
                </a:rPr>
                <a:t>SQL</a:t>
              </a:r>
            </a:p>
          </p:txBody>
        </p:sp>
      </p:grpSp>
      <p:pic>
        <p:nvPicPr>
          <p:cNvPr id="9" name="Picture 2" descr="http://www.bojanglesmuseum.com/wp-content/uploads/2017/07/Cool-Microsoft-Sql-Server-Logo-98-On-Create-A-Free-Logo-with-Microsoft-Sql-Server-Logo.jpg">
            <a:extLst>
              <a:ext uri="{FF2B5EF4-FFF2-40B4-BE49-F238E27FC236}">
                <a16:creationId xmlns:a16="http://schemas.microsoft.com/office/drawing/2014/main" id="{E1D1930B-C020-4A76-B80B-3B2F3DDD26B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1912" y="3008473"/>
            <a:ext cx="1004304" cy="507252"/>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A close up of a sign&#10;&#10;Description automatically generated">
            <a:extLst>
              <a:ext uri="{FF2B5EF4-FFF2-40B4-BE49-F238E27FC236}">
                <a16:creationId xmlns:a16="http://schemas.microsoft.com/office/drawing/2014/main" id="{6F5585C5-3A18-462B-855A-E57B29DB4EDE}"/>
              </a:ext>
            </a:extLst>
          </p:cNvPr>
          <p:cNvPicPr>
            <a:picLocks noChangeAspect="1"/>
          </p:cNvPicPr>
          <p:nvPr/>
        </p:nvPicPr>
        <p:blipFill>
          <a:blip r:embed="rId3"/>
          <a:stretch>
            <a:fillRect/>
          </a:stretch>
        </p:blipFill>
        <p:spPr>
          <a:xfrm>
            <a:off x="6254711" y="3914983"/>
            <a:ext cx="1115096" cy="1115096"/>
          </a:xfrm>
          <a:prstGeom prst="rect">
            <a:avLst/>
          </a:prstGeom>
        </p:spPr>
      </p:pic>
      <p:grpSp>
        <p:nvGrpSpPr>
          <p:cNvPr id="3" name="Group 2">
            <a:extLst>
              <a:ext uri="{FF2B5EF4-FFF2-40B4-BE49-F238E27FC236}">
                <a16:creationId xmlns:a16="http://schemas.microsoft.com/office/drawing/2014/main" id="{FEF7A895-B93F-4494-A2F5-A92203252510}"/>
              </a:ext>
            </a:extLst>
          </p:cNvPr>
          <p:cNvGrpSpPr/>
          <p:nvPr/>
        </p:nvGrpSpPr>
        <p:grpSpPr>
          <a:xfrm>
            <a:off x="4300159" y="2653582"/>
            <a:ext cx="1444101" cy="1217034"/>
            <a:chOff x="4300159" y="2653582"/>
            <a:chExt cx="1444101" cy="1217034"/>
          </a:xfrm>
        </p:grpSpPr>
        <p:pic>
          <p:nvPicPr>
            <p:cNvPr id="1032" name="Picture 8" descr="Image result for azure virtual machine logo">
              <a:extLst>
                <a:ext uri="{FF2B5EF4-FFF2-40B4-BE49-F238E27FC236}">
                  <a16:creationId xmlns:a16="http://schemas.microsoft.com/office/drawing/2014/main" id="{611B8EA1-91C3-4EFE-A817-963D75D8841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00159" y="2653582"/>
              <a:ext cx="958360" cy="958360"/>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5ED78680-94EA-47E7-8DC6-282F8CA0C744}"/>
                </a:ext>
              </a:extLst>
            </p:cNvPr>
            <p:cNvGrpSpPr/>
            <p:nvPr/>
          </p:nvGrpSpPr>
          <p:grpSpPr>
            <a:xfrm>
              <a:off x="5017711" y="3126862"/>
              <a:ext cx="726549" cy="743754"/>
              <a:chOff x="5638675" y="2887316"/>
              <a:chExt cx="914643" cy="1100820"/>
            </a:xfrm>
          </p:grpSpPr>
          <p:sp>
            <p:nvSpPr>
              <p:cNvPr id="16" name="Freeform: Shape 829">
                <a:extLst>
                  <a:ext uri="{FF2B5EF4-FFF2-40B4-BE49-F238E27FC236}">
                    <a16:creationId xmlns:a16="http://schemas.microsoft.com/office/drawing/2014/main" id="{D677FF46-7C76-4946-95B8-FDA5112B53C5}"/>
                  </a:ext>
                </a:extLst>
              </p:cNvPr>
              <p:cNvSpPr/>
              <p:nvPr/>
            </p:nvSpPr>
            <p:spPr bwMode="auto">
              <a:xfrm>
                <a:off x="5638675" y="2887316"/>
                <a:ext cx="914643" cy="1001598"/>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solidFill>
                <a:srgbClr val="2F78D0"/>
              </a:solidFill>
              <a:ln w="12700">
                <a:solidFill>
                  <a:srgbClr val="02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5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17" name="Rectangle 16">
                <a:extLst>
                  <a:ext uri="{FF2B5EF4-FFF2-40B4-BE49-F238E27FC236}">
                    <a16:creationId xmlns:a16="http://schemas.microsoft.com/office/drawing/2014/main" id="{95200D0A-E7AD-470C-9649-81B37C4BCE2E}"/>
                  </a:ext>
                </a:extLst>
              </p:cNvPr>
              <p:cNvSpPr/>
              <p:nvPr/>
            </p:nvSpPr>
            <p:spPr>
              <a:xfrm>
                <a:off x="5792073" y="3279118"/>
                <a:ext cx="607860" cy="709018"/>
              </a:xfrm>
              <a:prstGeom prst="rect">
                <a:avLst/>
              </a:prstGeom>
            </p:spPr>
            <p:txBody>
              <a:bodyPr wrap="square">
                <a:spAutoFit/>
              </a:bodyPr>
              <a:lstStyle/>
              <a:p>
                <a:pPr algn="ctr">
                  <a:lnSpc>
                    <a:spcPct val="90000"/>
                  </a:lnSpc>
                  <a:spcAft>
                    <a:spcPts val="600"/>
                  </a:spcAft>
                </a:pPr>
                <a:r>
                  <a:rPr lang="en-US" sz="1200" b="1" dirty="0">
                    <a:solidFill>
                      <a:srgbClr val="50E6FF"/>
                    </a:solidFill>
                    <a:latin typeface="Segoe UI" panose="020B0502040204020203" pitchFamily="34" charset="0"/>
                    <a:cs typeface="Segoe UI" panose="020B0502040204020203" pitchFamily="34" charset="0"/>
                  </a:rPr>
                  <a:t>SQL</a:t>
                </a:r>
              </a:p>
            </p:txBody>
          </p:sp>
        </p:grpSp>
      </p:grpSp>
      <p:pic>
        <p:nvPicPr>
          <p:cNvPr id="1034" name="Picture 10" descr="Image result for azure sql data warehouse">
            <a:extLst>
              <a:ext uri="{FF2B5EF4-FFF2-40B4-BE49-F238E27FC236}">
                <a16:creationId xmlns:a16="http://schemas.microsoft.com/office/drawing/2014/main" id="{7954E7A4-F30B-4139-BEFE-196931AFE92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871736" y="5088996"/>
            <a:ext cx="1483939" cy="1483939"/>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D4301970-8EF5-4AED-8FB7-A51120ECD60F}"/>
              </a:ext>
            </a:extLst>
          </p:cNvPr>
          <p:cNvSpPr txBox="1"/>
          <p:nvPr/>
        </p:nvSpPr>
        <p:spPr>
          <a:xfrm>
            <a:off x="354243" y="3568679"/>
            <a:ext cx="2151999" cy="1231106"/>
          </a:xfrm>
          <a:prstGeom prst="rect">
            <a:avLst/>
          </a:prstGeom>
          <a:solidFill>
            <a:schemeClr val="bg1">
              <a:lumMod val="75000"/>
            </a:schemeClr>
          </a:solidFill>
        </p:spPr>
        <p:txBody>
          <a:bodyPr wrap="none" lIns="0" tIns="0" rIns="0" bIns="0" rtlCol="0">
            <a:spAutoFit/>
          </a:bodyPr>
          <a:lstStyle/>
          <a:p>
            <a:pPr algn="l"/>
            <a:r>
              <a:rPr lang="en-US" sz="2000" dirty="0">
                <a:gradFill>
                  <a:gsLst>
                    <a:gs pos="2917">
                      <a:schemeClr val="tx1"/>
                    </a:gs>
                    <a:gs pos="30000">
                      <a:schemeClr val="tx1"/>
                    </a:gs>
                  </a:gsLst>
                  <a:lin ang="5400000" scaled="0"/>
                </a:gradFill>
              </a:rPr>
              <a:t>SQL Server 2008</a:t>
            </a:r>
          </a:p>
          <a:p>
            <a:pPr algn="l"/>
            <a:r>
              <a:rPr lang="en-US" sz="2000" dirty="0">
                <a:gradFill>
                  <a:gsLst>
                    <a:gs pos="2917">
                      <a:schemeClr val="tx1"/>
                    </a:gs>
                    <a:gs pos="30000">
                      <a:schemeClr val="tx1"/>
                    </a:gs>
                  </a:gsLst>
                  <a:lin ang="5400000" scaled="0"/>
                </a:gradFill>
              </a:rPr>
              <a:t>SQL Server 2008R2</a:t>
            </a:r>
          </a:p>
          <a:p>
            <a:pPr algn="l"/>
            <a:r>
              <a:rPr lang="en-US" sz="2000" dirty="0">
                <a:gradFill>
                  <a:gsLst>
                    <a:gs pos="2917">
                      <a:schemeClr val="tx1"/>
                    </a:gs>
                    <a:gs pos="30000">
                      <a:schemeClr val="tx1"/>
                    </a:gs>
                  </a:gsLst>
                  <a:lin ang="5400000" scaled="0"/>
                </a:gradFill>
              </a:rPr>
              <a:t>SQL Server 2012</a:t>
            </a:r>
          </a:p>
          <a:p>
            <a:pPr algn="l"/>
            <a:r>
              <a:rPr lang="en-US" sz="2000" dirty="0">
                <a:gradFill>
                  <a:gsLst>
                    <a:gs pos="2917">
                      <a:schemeClr val="tx1"/>
                    </a:gs>
                    <a:gs pos="30000">
                      <a:schemeClr val="tx1"/>
                    </a:gs>
                  </a:gsLst>
                  <a:lin ang="5400000" scaled="0"/>
                </a:gradFill>
              </a:rPr>
              <a:t>SQL Server 2014</a:t>
            </a:r>
          </a:p>
        </p:txBody>
      </p:sp>
      <p:sp>
        <p:nvSpPr>
          <p:cNvPr id="18" name="TextBox 17">
            <a:extLst>
              <a:ext uri="{FF2B5EF4-FFF2-40B4-BE49-F238E27FC236}">
                <a16:creationId xmlns:a16="http://schemas.microsoft.com/office/drawing/2014/main" id="{D3B423A7-4BAB-40D3-9FD6-0F038240FEAF}"/>
              </a:ext>
            </a:extLst>
          </p:cNvPr>
          <p:cNvSpPr txBox="1"/>
          <p:nvPr/>
        </p:nvSpPr>
        <p:spPr>
          <a:xfrm>
            <a:off x="4016775" y="1303808"/>
            <a:ext cx="1860253" cy="923330"/>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SQL Server 2016</a:t>
            </a:r>
          </a:p>
          <a:p>
            <a:pPr algn="l"/>
            <a:r>
              <a:rPr lang="en-US" sz="2000" dirty="0">
                <a:gradFill>
                  <a:gsLst>
                    <a:gs pos="2917">
                      <a:schemeClr val="tx1"/>
                    </a:gs>
                    <a:gs pos="30000">
                      <a:schemeClr val="tx1"/>
                    </a:gs>
                  </a:gsLst>
                  <a:lin ang="5400000" scaled="0"/>
                </a:gradFill>
              </a:rPr>
              <a:t>SQL Server 2017</a:t>
            </a:r>
          </a:p>
          <a:p>
            <a:pPr algn="l"/>
            <a:r>
              <a:rPr lang="en-US" sz="2000" dirty="0">
                <a:gradFill>
                  <a:gsLst>
                    <a:gs pos="2917">
                      <a:schemeClr val="tx1"/>
                    </a:gs>
                    <a:gs pos="30000">
                      <a:schemeClr val="tx1"/>
                    </a:gs>
                  </a:gsLst>
                  <a:lin ang="5400000" scaled="0"/>
                </a:gradFill>
              </a:rPr>
              <a:t>SQL Server 2019</a:t>
            </a:r>
          </a:p>
        </p:txBody>
      </p:sp>
      <p:sp>
        <p:nvSpPr>
          <p:cNvPr id="30" name="TextBox 29">
            <a:extLst>
              <a:ext uri="{FF2B5EF4-FFF2-40B4-BE49-F238E27FC236}">
                <a16:creationId xmlns:a16="http://schemas.microsoft.com/office/drawing/2014/main" id="{2FD6E315-25EA-4D82-9B44-27928B1FA5C7}"/>
              </a:ext>
            </a:extLst>
          </p:cNvPr>
          <p:cNvSpPr txBox="1"/>
          <p:nvPr/>
        </p:nvSpPr>
        <p:spPr>
          <a:xfrm>
            <a:off x="5976071" y="2793569"/>
            <a:ext cx="3259675" cy="615553"/>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SQL Server in </a:t>
            </a:r>
          </a:p>
          <a:p>
            <a:pPr algn="l"/>
            <a:r>
              <a:rPr lang="en-US" sz="2000" dirty="0">
                <a:gradFill>
                  <a:gsLst>
                    <a:gs pos="2917">
                      <a:schemeClr val="tx1"/>
                    </a:gs>
                    <a:gs pos="30000">
                      <a:schemeClr val="tx1"/>
                    </a:gs>
                  </a:gsLst>
                  <a:lin ang="5400000" scaled="0"/>
                </a:gradFill>
              </a:rPr>
              <a:t>Azure Virtual Machine (IAAS)</a:t>
            </a:r>
          </a:p>
        </p:txBody>
      </p:sp>
      <p:sp>
        <p:nvSpPr>
          <p:cNvPr id="31" name="TextBox 30">
            <a:extLst>
              <a:ext uri="{FF2B5EF4-FFF2-40B4-BE49-F238E27FC236}">
                <a16:creationId xmlns:a16="http://schemas.microsoft.com/office/drawing/2014/main" id="{7846A372-933D-43B9-9295-24938FD821D9}"/>
              </a:ext>
            </a:extLst>
          </p:cNvPr>
          <p:cNvSpPr txBox="1"/>
          <p:nvPr/>
        </p:nvSpPr>
        <p:spPr>
          <a:xfrm>
            <a:off x="7369807" y="3936956"/>
            <a:ext cx="4438331" cy="615553"/>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Azure SQL Database</a:t>
            </a:r>
          </a:p>
          <a:p>
            <a:pPr algn="l"/>
            <a:r>
              <a:rPr lang="en-US" sz="2000" dirty="0">
                <a:gradFill>
                  <a:gsLst>
                    <a:gs pos="2917">
                      <a:schemeClr val="tx1"/>
                    </a:gs>
                    <a:gs pos="30000">
                      <a:schemeClr val="tx1"/>
                    </a:gs>
                  </a:gsLst>
                  <a:lin ang="5400000" scaled="0"/>
                </a:gradFill>
              </a:rPr>
              <a:t>Azure SQL Database Managed Instance</a:t>
            </a:r>
          </a:p>
        </p:txBody>
      </p:sp>
      <p:sp>
        <p:nvSpPr>
          <p:cNvPr id="32" name="TextBox 31">
            <a:extLst>
              <a:ext uri="{FF2B5EF4-FFF2-40B4-BE49-F238E27FC236}">
                <a16:creationId xmlns:a16="http://schemas.microsoft.com/office/drawing/2014/main" id="{573B6922-C7FD-40F5-BCC4-3C14DAB2DA3D}"/>
              </a:ext>
            </a:extLst>
          </p:cNvPr>
          <p:cNvSpPr txBox="1"/>
          <p:nvPr/>
        </p:nvSpPr>
        <p:spPr>
          <a:xfrm>
            <a:off x="9355675" y="5464271"/>
            <a:ext cx="1835246" cy="615553"/>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Azure SQL Data </a:t>
            </a:r>
          </a:p>
          <a:p>
            <a:pPr algn="l"/>
            <a:r>
              <a:rPr lang="en-US" sz="2000" dirty="0">
                <a:gradFill>
                  <a:gsLst>
                    <a:gs pos="2917">
                      <a:schemeClr val="tx1"/>
                    </a:gs>
                    <a:gs pos="30000">
                      <a:schemeClr val="tx1"/>
                    </a:gs>
                  </a:gsLst>
                  <a:lin ang="5400000" scaled="0"/>
                </a:gradFill>
              </a:rPr>
              <a:t>Warehouse</a:t>
            </a:r>
          </a:p>
        </p:txBody>
      </p:sp>
      <p:sp>
        <p:nvSpPr>
          <p:cNvPr id="19" name="TextBox 18">
            <a:extLst>
              <a:ext uri="{FF2B5EF4-FFF2-40B4-BE49-F238E27FC236}">
                <a16:creationId xmlns:a16="http://schemas.microsoft.com/office/drawing/2014/main" id="{99C21293-60A9-45E5-9AB7-65627526FC21}"/>
              </a:ext>
            </a:extLst>
          </p:cNvPr>
          <p:cNvSpPr txBox="1"/>
          <p:nvPr/>
        </p:nvSpPr>
        <p:spPr>
          <a:xfrm>
            <a:off x="7402316" y="4644808"/>
            <a:ext cx="744819"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PAAS)</a:t>
            </a:r>
          </a:p>
        </p:txBody>
      </p:sp>
      <p:cxnSp>
        <p:nvCxnSpPr>
          <p:cNvPr id="21" name="Straight Arrow Connector 20">
            <a:extLst>
              <a:ext uri="{FF2B5EF4-FFF2-40B4-BE49-F238E27FC236}">
                <a16:creationId xmlns:a16="http://schemas.microsoft.com/office/drawing/2014/main" id="{61FA6561-EA1F-4B40-AFEC-5E7A0384C2DB}"/>
              </a:ext>
            </a:extLst>
          </p:cNvPr>
          <p:cNvCxnSpPr>
            <a:cxnSpLocks/>
            <a:stCxn id="14" idx="3"/>
            <a:endCxn id="7" idx="8"/>
          </p:cNvCxnSpPr>
          <p:nvPr/>
        </p:nvCxnSpPr>
        <p:spPr>
          <a:xfrm flipV="1">
            <a:off x="2506242" y="2266272"/>
            <a:ext cx="746263" cy="1917960"/>
          </a:xfrm>
          <a:prstGeom prst="straightConnector1">
            <a:avLst/>
          </a:prstGeom>
          <a:ln w="28575">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2878C043-297E-4E46-8EE4-6123B540474F}"/>
              </a:ext>
            </a:extLst>
          </p:cNvPr>
          <p:cNvCxnSpPr>
            <a:cxnSpLocks/>
            <a:stCxn id="14" idx="3"/>
          </p:cNvCxnSpPr>
          <p:nvPr/>
        </p:nvCxnSpPr>
        <p:spPr>
          <a:xfrm flipV="1">
            <a:off x="2506242" y="3158004"/>
            <a:ext cx="1793917" cy="1026228"/>
          </a:xfrm>
          <a:prstGeom prst="straightConnector1">
            <a:avLst/>
          </a:prstGeom>
          <a:ln w="28575">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2DA199D8-3AB2-4504-B9C6-26E47F0D785E}"/>
              </a:ext>
            </a:extLst>
          </p:cNvPr>
          <p:cNvCxnSpPr>
            <a:cxnSpLocks/>
            <a:stCxn id="14" idx="3"/>
            <a:endCxn id="10" idx="1"/>
          </p:cNvCxnSpPr>
          <p:nvPr/>
        </p:nvCxnSpPr>
        <p:spPr>
          <a:xfrm>
            <a:off x="2506242" y="4184232"/>
            <a:ext cx="3748469" cy="288299"/>
          </a:xfrm>
          <a:prstGeom prst="straightConnector1">
            <a:avLst/>
          </a:prstGeom>
          <a:ln w="28575">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35FCABA1-FA39-47C6-B00E-A7F189C7F98C}"/>
              </a:ext>
            </a:extLst>
          </p:cNvPr>
          <p:cNvCxnSpPr>
            <a:cxnSpLocks/>
            <a:stCxn id="14" idx="3"/>
            <a:endCxn id="1034" idx="1"/>
          </p:cNvCxnSpPr>
          <p:nvPr/>
        </p:nvCxnSpPr>
        <p:spPr>
          <a:xfrm>
            <a:off x="2506242" y="4184232"/>
            <a:ext cx="5365494" cy="1646734"/>
          </a:xfrm>
          <a:prstGeom prst="straightConnector1">
            <a:avLst/>
          </a:prstGeom>
          <a:ln w="28575">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2517A6A0-F210-4B66-897A-D239B79CD65B}"/>
              </a:ext>
            </a:extLst>
          </p:cNvPr>
          <p:cNvGrpSpPr/>
          <p:nvPr/>
        </p:nvGrpSpPr>
        <p:grpSpPr>
          <a:xfrm>
            <a:off x="6254711" y="1757783"/>
            <a:ext cx="2186917" cy="424535"/>
            <a:chOff x="5953153" y="1730774"/>
            <a:chExt cx="2186917" cy="424535"/>
          </a:xfrm>
        </p:grpSpPr>
        <p:grpSp>
          <p:nvGrpSpPr>
            <p:cNvPr id="22" name="Group 21">
              <a:extLst>
                <a:ext uri="{FF2B5EF4-FFF2-40B4-BE49-F238E27FC236}">
                  <a16:creationId xmlns:a16="http://schemas.microsoft.com/office/drawing/2014/main" id="{AA32D583-4349-4D4D-A1B6-AA6EA3E042A8}"/>
                </a:ext>
              </a:extLst>
            </p:cNvPr>
            <p:cNvGrpSpPr/>
            <p:nvPr/>
          </p:nvGrpSpPr>
          <p:grpSpPr>
            <a:xfrm>
              <a:off x="5953153" y="1765473"/>
              <a:ext cx="1530672" cy="355140"/>
              <a:chOff x="6576577" y="3318208"/>
              <a:chExt cx="2213304" cy="504999"/>
            </a:xfrm>
          </p:grpSpPr>
          <p:sp>
            <p:nvSpPr>
              <p:cNvPr id="23" name="Freeform 130">
                <a:extLst>
                  <a:ext uri="{FF2B5EF4-FFF2-40B4-BE49-F238E27FC236}">
                    <a16:creationId xmlns:a16="http://schemas.microsoft.com/office/drawing/2014/main" id="{CEDD5523-29E3-46F6-B032-811106C19696}"/>
                  </a:ext>
                </a:extLst>
              </p:cNvPr>
              <p:cNvSpPr>
                <a:spLocks noChangeAspect="1" noEditPoints="1"/>
              </p:cNvSpPr>
              <p:nvPr/>
            </p:nvSpPr>
            <p:spPr bwMode="black">
              <a:xfrm>
                <a:off x="7320545" y="3331545"/>
                <a:ext cx="480274" cy="478324"/>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178D7"/>
              </a:solidFill>
              <a:ln>
                <a:noFill/>
              </a:ln>
              <a:extLst/>
            </p:spPr>
            <p:txBody>
              <a:bodyPr vert="horz" wrap="square" lIns="91414" tIns="45706" rIns="91414" bIns="45706" numCol="1" anchor="t" anchorCtr="0" compatLnSpc="1">
                <a:prstTxWarp prst="textNoShape">
                  <a:avLst/>
                </a:prstTxWarp>
              </a:bodyPr>
              <a:lstStyle/>
              <a:p>
                <a:pPr defTabSz="932384">
                  <a:defRPr/>
                </a:pPr>
                <a:endParaRPr lang="en-US" sz="1800" kern="0" dirty="0">
                  <a:solidFill>
                    <a:prstClr val="white"/>
                  </a:solidFill>
                  <a:latin typeface="Segoe UI"/>
                </a:endParaRPr>
              </a:p>
            </p:txBody>
          </p:sp>
          <p:sp>
            <p:nvSpPr>
              <p:cNvPr id="24" name="Freeform: Shape 390">
                <a:extLst>
                  <a:ext uri="{FF2B5EF4-FFF2-40B4-BE49-F238E27FC236}">
                    <a16:creationId xmlns:a16="http://schemas.microsoft.com/office/drawing/2014/main" id="{AB00A115-0C08-48F7-A68D-14ED4154B188}"/>
                  </a:ext>
                </a:extLst>
              </p:cNvPr>
              <p:cNvSpPr/>
              <p:nvPr/>
            </p:nvSpPr>
            <p:spPr>
              <a:xfrm>
                <a:off x="8113431" y="3356687"/>
                <a:ext cx="676450" cy="428040"/>
              </a:xfrm>
              <a:custGeom>
                <a:avLst/>
                <a:gdLst>
                  <a:gd name="connsiteX0" fmla="*/ 1849531 w 7529578"/>
                  <a:gd name="connsiteY0" fmla="*/ 3903502 h 4764516"/>
                  <a:gd name="connsiteX1" fmla="*/ 1273554 w 7529578"/>
                  <a:gd name="connsiteY1" fmla="*/ 3987984 h 4764516"/>
                  <a:gd name="connsiteX2" fmla="*/ 1013662 w 7529578"/>
                  <a:gd name="connsiteY2" fmla="*/ 3995024 h 4764516"/>
                  <a:gd name="connsiteX3" fmla="*/ 676505 w 7529578"/>
                  <a:gd name="connsiteY3" fmla="*/ 3987984 h 4764516"/>
                  <a:gd name="connsiteX4" fmla="*/ 2439556 w 7529578"/>
                  <a:gd name="connsiteY4" fmla="*/ 4677914 h 4764516"/>
                  <a:gd name="connsiteX5" fmla="*/ 2636231 w 7529578"/>
                  <a:gd name="connsiteY5" fmla="*/ 4677914 h 4764516"/>
                  <a:gd name="connsiteX6" fmla="*/ 1849531 w 7529578"/>
                  <a:gd name="connsiteY6" fmla="*/ 3903502 h 4764516"/>
                  <a:gd name="connsiteX7" fmla="*/ 2161836 w 7529578"/>
                  <a:gd name="connsiteY7" fmla="*/ 3452194 h 4764516"/>
                  <a:gd name="connsiteX8" fmla="*/ 2209829 w 7529578"/>
                  <a:gd name="connsiteY8" fmla="*/ 3459914 h 4764516"/>
                  <a:gd name="connsiteX9" fmla="*/ 2185833 w 7529578"/>
                  <a:gd name="connsiteY9" fmla="*/ 3506232 h 4764516"/>
                  <a:gd name="connsiteX10" fmla="*/ 2241825 w 7529578"/>
                  <a:gd name="connsiteY10" fmla="*/ 3560270 h 4764516"/>
                  <a:gd name="connsiteX11" fmla="*/ 2289818 w 7529578"/>
                  <a:gd name="connsiteY11" fmla="*/ 3529391 h 4764516"/>
                  <a:gd name="connsiteX12" fmla="*/ 2297817 w 7529578"/>
                  <a:gd name="connsiteY12" fmla="*/ 3583429 h 4764516"/>
                  <a:gd name="connsiteX13" fmla="*/ 2161836 w 7529578"/>
                  <a:gd name="connsiteY13" fmla="*/ 3714663 h 4764516"/>
                  <a:gd name="connsiteX14" fmla="*/ 2017856 w 7529578"/>
                  <a:gd name="connsiteY14" fmla="*/ 3583429 h 4764516"/>
                  <a:gd name="connsiteX15" fmla="*/ 2161836 w 7529578"/>
                  <a:gd name="connsiteY15" fmla="*/ 3452194 h 4764516"/>
                  <a:gd name="connsiteX16" fmla="*/ 2157831 w 7529578"/>
                  <a:gd name="connsiteY16" fmla="*/ 3399707 h 4764516"/>
                  <a:gd name="connsiteX17" fmla="*/ 1965358 w 7529578"/>
                  <a:gd name="connsiteY17" fmla="*/ 3583434 h 4764516"/>
                  <a:gd name="connsiteX18" fmla="*/ 2157831 w 7529578"/>
                  <a:gd name="connsiteY18" fmla="*/ 3767161 h 4764516"/>
                  <a:gd name="connsiteX19" fmla="*/ 2350304 w 7529578"/>
                  <a:gd name="connsiteY19" fmla="*/ 3583434 h 4764516"/>
                  <a:gd name="connsiteX20" fmla="*/ 2157831 w 7529578"/>
                  <a:gd name="connsiteY20" fmla="*/ 3399707 h 4764516"/>
                  <a:gd name="connsiteX21" fmla="*/ 3907591 w 7529578"/>
                  <a:gd name="connsiteY21" fmla="*/ 1579947 h 4764516"/>
                  <a:gd name="connsiteX22" fmla="*/ 4607493 w 7529578"/>
                  <a:gd name="connsiteY22" fmla="*/ 1579947 h 4764516"/>
                  <a:gd name="connsiteX23" fmla="*/ 4607493 w 7529578"/>
                  <a:gd name="connsiteY23" fmla="*/ 2279850 h 4764516"/>
                  <a:gd name="connsiteX24" fmla="*/ 3907591 w 7529578"/>
                  <a:gd name="connsiteY24" fmla="*/ 2279850 h 4764516"/>
                  <a:gd name="connsiteX25" fmla="*/ 3102704 w 7529578"/>
                  <a:gd name="connsiteY25" fmla="*/ 1579947 h 4764516"/>
                  <a:gd name="connsiteX26" fmla="*/ 3802606 w 7529578"/>
                  <a:gd name="connsiteY26" fmla="*/ 1579947 h 4764516"/>
                  <a:gd name="connsiteX27" fmla="*/ 3802606 w 7529578"/>
                  <a:gd name="connsiteY27" fmla="*/ 2279850 h 4764516"/>
                  <a:gd name="connsiteX28" fmla="*/ 3102704 w 7529578"/>
                  <a:gd name="connsiteY28" fmla="*/ 2279850 h 4764516"/>
                  <a:gd name="connsiteX29" fmla="*/ 2315309 w 7529578"/>
                  <a:gd name="connsiteY29" fmla="*/ 1579947 h 4764516"/>
                  <a:gd name="connsiteX30" fmla="*/ 3015211 w 7529578"/>
                  <a:gd name="connsiteY30" fmla="*/ 1579947 h 4764516"/>
                  <a:gd name="connsiteX31" fmla="*/ 3015211 w 7529578"/>
                  <a:gd name="connsiteY31" fmla="*/ 2279850 h 4764516"/>
                  <a:gd name="connsiteX32" fmla="*/ 2315309 w 7529578"/>
                  <a:gd name="connsiteY32" fmla="*/ 2279850 h 4764516"/>
                  <a:gd name="connsiteX33" fmla="*/ 1510422 w 7529578"/>
                  <a:gd name="connsiteY33" fmla="*/ 1579947 h 4764516"/>
                  <a:gd name="connsiteX34" fmla="*/ 2210324 w 7529578"/>
                  <a:gd name="connsiteY34" fmla="*/ 1579947 h 4764516"/>
                  <a:gd name="connsiteX35" fmla="*/ 2210324 w 7529578"/>
                  <a:gd name="connsiteY35" fmla="*/ 2279850 h 4764516"/>
                  <a:gd name="connsiteX36" fmla="*/ 1510422 w 7529578"/>
                  <a:gd name="connsiteY36" fmla="*/ 2279850 h 4764516"/>
                  <a:gd name="connsiteX37" fmla="*/ 705534 w 7529578"/>
                  <a:gd name="connsiteY37" fmla="*/ 1579947 h 4764516"/>
                  <a:gd name="connsiteX38" fmla="*/ 1405436 w 7529578"/>
                  <a:gd name="connsiteY38" fmla="*/ 1579947 h 4764516"/>
                  <a:gd name="connsiteX39" fmla="*/ 1405436 w 7529578"/>
                  <a:gd name="connsiteY39" fmla="*/ 2279850 h 4764516"/>
                  <a:gd name="connsiteX40" fmla="*/ 705534 w 7529578"/>
                  <a:gd name="connsiteY40" fmla="*/ 2279850 h 4764516"/>
                  <a:gd name="connsiteX41" fmla="*/ 6082271 w 7529578"/>
                  <a:gd name="connsiteY41" fmla="*/ 862558 h 4764516"/>
                  <a:gd name="connsiteX42" fmla="*/ 6535589 w 7529578"/>
                  <a:gd name="connsiteY42" fmla="*/ 1754155 h 4764516"/>
                  <a:gd name="connsiteX43" fmla="*/ 7529578 w 7529578"/>
                  <a:gd name="connsiteY43" fmla="*/ 1761959 h 4764516"/>
                  <a:gd name="connsiteX44" fmla="*/ 6394775 w 7529578"/>
                  <a:gd name="connsiteY44" fmla="*/ 2238778 h 4764516"/>
                  <a:gd name="connsiteX45" fmla="*/ 2451200 w 7529578"/>
                  <a:gd name="connsiteY45" fmla="*/ 4764516 h 4764516"/>
                  <a:gd name="connsiteX46" fmla="*/ 518946 w 7529578"/>
                  <a:gd name="connsiteY46" fmla="*/ 4005975 h 4764516"/>
                  <a:gd name="connsiteX47" fmla="*/ 518946 w 7529578"/>
                  <a:gd name="connsiteY47" fmla="*/ 3998172 h 4764516"/>
                  <a:gd name="connsiteX48" fmla="*/ 400721 w 7529578"/>
                  <a:gd name="connsiteY48" fmla="*/ 3872918 h 4764516"/>
                  <a:gd name="connsiteX49" fmla="*/ 283250 w 7529578"/>
                  <a:gd name="connsiteY49" fmla="*/ 3693428 h 4764516"/>
                  <a:gd name="connsiteX50" fmla="*/ 220749 w 7529578"/>
                  <a:gd name="connsiteY50" fmla="*/ 3583783 h 4764516"/>
                  <a:gd name="connsiteX51" fmla="*/ 9903 w 7529578"/>
                  <a:gd name="connsiteY51" fmla="*/ 2403051 h 4764516"/>
                  <a:gd name="connsiteX52" fmla="*/ 5143252 w 7529578"/>
                  <a:gd name="connsiteY52" fmla="*/ 2403051 h 4764516"/>
                  <a:gd name="connsiteX53" fmla="*/ 6175645 w 7529578"/>
                  <a:gd name="connsiteY53" fmla="*/ 2074506 h 4764516"/>
                  <a:gd name="connsiteX54" fmla="*/ 6082271 w 7529578"/>
                  <a:gd name="connsiteY54" fmla="*/ 862558 h 4764516"/>
                  <a:gd name="connsiteX55" fmla="*/ 3102704 w 7529578"/>
                  <a:gd name="connsiteY55" fmla="*/ 792564 h 4764516"/>
                  <a:gd name="connsiteX56" fmla="*/ 3802606 w 7529578"/>
                  <a:gd name="connsiteY56" fmla="*/ 792564 h 4764516"/>
                  <a:gd name="connsiteX57" fmla="*/ 3802606 w 7529578"/>
                  <a:gd name="connsiteY57" fmla="*/ 1492467 h 4764516"/>
                  <a:gd name="connsiteX58" fmla="*/ 3102704 w 7529578"/>
                  <a:gd name="connsiteY58" fmla="*/ 1492467 h 4764516"/>
                  <a:gd name="connsiteX59" fmla="*/ 2315309 w 7529578"/>
                  <a:gd name="connsiteY59" fmla="*/ 792564 h 4764516"/>
                  <a:gd name="connsiteX60" fmla="*/ 3015211 w 7529578"/>
                  <a:gd name="connsiteY60" fmla="*/ 792564 h 4764516"/>
                  <a:gd name="connsiteX61" fmla="*/ 3015211 w 7529578"/>
                  <a:gd name="connsiteY61" fmla="*/ 1492467 h 4764516"/>
                  <a:gd name="connsiteX62" fmla="*/ 2315309 w 7529578"/>
                  <a:gd name="connsiteY62" fmla="*/ 1492467 h 4764516"/>
                  <a:gd name="connsiteX63" fmla="*/ 1510422 w 7529578"/>
                  <a:gd name="connsiteY63" fmla="*/ 792564 h 4764516"/>
                  <a:gd name="connsiteX64" fmla="*/ 2210324 w 7529578"/>
                  <a:gd name="connsiteY64" fmla="*/ 792564 h 4764516"/>
                  <a:gd name="connsiteX65" fmla="*/ 2210324 w 7529578"/>
                  <a:gd name="connsiteY65" fmla="*/ 1492467 h 4764516"/>
                  <a:gd name="connsiteX66" fmla="*/ 1510422 w 7529578"/>
                  <a:gd name="connsiteY66" fmla="*/ 1492467 h 4764516"/>
                  <a:gd name="connsiteX67" fmla="*/ 3102704 w 7529578"/>
                  <a:gd name="connsiteY67" fmla="*/ 0 h 4764516"/>
                  <a:gd name="connsiteX68" fmla="*/ 3802606 w 7529578"/>
                  <a:gd name="connsiteY68" fmla="*/ 0 h 4764516"/>
                  <a:gd name="connsiteX69" fmla="*/ 3802606 w 7529578"/>
                  <a:gd name="connsiteY69" fmla="*/ 699903 h 4764516"/>
                  <a:gd name="connsiteX70" fmla="*/ 3102704 w 7529578"/>
                  <a:gd name="connsiteY70" fmla="*/ 699903 h 4764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7529578" h="4764516">
                    <a:moveTo>
                      <a:pt x="1849531" y="3903502"/>
                    </a:moveTo>
                    <a:cubicBezTo>
                      <a:pt x="1687977" y="3945743"/>
                      <a:pt x="1498326" y="3973903"/>
                      <a:pt x="1273554" y="3987984"/>
                    </a:cubicBezTo>
                    <a:cubicBezTo>
                      <a:pt x="1196289" y="3995024"/>
                      <a:pt x="1104976" y="3995024"/>
                      <a:pt x="1013662" y="3995024"/>
                    </a:cubicBezTo>
                    <a:cubicBezTo>
                      <a:pt x="908301" y="3995024"/>
                      <a:pt x="795915" y="3995024"/>
                      <a:pt x="676505" y="3987984"/>
                    </a:cubicBezTo>
                    <a:cubicBezTo>
                      <a:pt x="1069855" y="4375190"/>
                      <a:pt x="1547495" y="4670874"/>
                      <a:pt x="2439556" y="4677914"/>
                    </a:cubicBezTo>
                    <a:cubicBezTo>
                      <a:pt x="2502773" y="4677914"/>
                      <a:pt x="2573014" y="4677914"/>
                      <a:pt x="2636231" y="4677914"/>
                    </a:cubicBezTo>
                    <a:cubicBezTo>
                      <a:pt x="2207761" y="4473751"/>
                      <a:pt x="1975965" y="4199187"/>
                      <a:pt x="1849531" y="3903502"/>
                    </a:cubicBezTo>
                    <a:close/>
                    <a:moveTo>
                      <a:pt x="2161836" y="3452194"/>
                    </a:moveTo>
                    <a:cubicBezTo>
                      <a:pt x="2177834" y="3452194"/>
                      <a:pt x="2193832" y="3452194"/>
                      <a:pt x="2209829" y="3459914"/>
                    </a:cubicBezTo>
                    <a:cubicBezTo>
                      <a:pt x="2193832" y="3467633"/>
                      <a:pt x="2185833" y="3483073"/>
                      <a:pt x="2185833" y="3506232"/>
                    </a:cubicBezTo>
                    <a:cubicBezTo>
                      <a:pt x="2185833" y="3537111"/>
                      <a:pt x="2209829" y="3560270"/>
                      <a:pt x="2241825" y="3560270"/>
                    </a:cubicBezTo>
                    <a:cubicBezTo>
                      <a:pt x="2257823" y="3560270"/>
                      <a:pt x="2281819" y="3552550"/>
                      <a:pt x="2289818" y="3529391"/>
                    </a:cubicBezTo>
                    <a:cubicBezTo>
                      <a:pt x="2297817" y="3544830"/>
                      <a:pt x="2297817" y="3567989"/>
                      <a:pt x="2297817" y="3583429"/>
                    </a:cubicBezTo>
                    <a:cubicBezTo>
                      <a:pt x="2297817" y="3660626"/>
                      <a:pt x="2241825" y="3714663"/>
                      <a:pt x="2161836" y="3714663"/>
                    </a:cubicBezTo>
                    <a:cubicBezTo>
                      <a:pt x="2081847" y="3714663"/>
                      <a:pt x="2017856" y="3660626"/>
                      <a:pt x="2017856" y="3583429"/>
                    </a:cubicBezTo>
                    <a:cubicBezTo>
                      <a:pt x="2017856" y="3506232"/>
                      <a:pt x="2081847" y="3452194"/>
                      <a:pt x="2161836" y="3452194"/>
                    </a:cubicBezTo>
                    <a:close/>
                    <a:moveTo>
                      <a:pt x="2157831" y="3399707"/>
                    </a:moveTo>
                    <a:cubicBezTo>
                      <a:pt x="2051531" y="3399707"/>
                      <a:pt x="1965358" y="3481964"/>
                      <a:pt x="1965358" y="3583434"/>
                    </a:cubicBezTo>
                    <a:cubicBezTo>
                      <a:pt x="1965358" y="3684904"/>
                      <a:pt x="2051531" y="3767161"/>
                      <a:pt x="2157831" y="3767161"/>
                    </a:cubicBezTo>
                    <a:cubicBezTo>
                      <a:pt x="2264131" y="3767161"/>
                      <a:pt x="2350304" y="3684904"/>
                      <a:pt x="2350304" y="3583434"/>
                    </a:cubicBezTo>
                    <a:cubicBezTo>
                      <a:pt x="2350304" y="3481964"/>
                      <a:pt x="2264131" y="3399707"/>
                      <a:pt x="2157831" y="3399707"/>
                    </a:cubicBezTo>
                    <a:close/>
                    <a:moveTo>
                      <a:pt x="3907591" y="1579947"/>
                    </a:moveTo>
                    <a:lnTo>
                      <a:pt x="4607493" y="1579947"/>
                    </a:lnTo>
                    <a:lnTo>
                      <a:pt x="4607493" y="2279850"/>
                    </a:lnTo>
                    <a:lnTo>
                      <a:pt x="3907591" y="2279850"/>
                    </a:lnTo>
                    <a:close/>
                    <a:moveTo>
                      <a:pt x="3102704" y="1579947"/>
                    </a:moveTo>
                    <a:lnTo>
                      <a:pt x="3802606" y="1579947"/>
                    </a:lnTo>
                    <a:lnTo>
                      <a:pt x="3802606" y="2279850"/>
                    </a:lnTo>
                    <a:lnTo>
                      <a:pt x="3102704" y="2279850"/>
                    </a:lnTo>
                    <a:close/>
                    <a:moveTo>
                      <a:pt x="2315309" y="1579947"/>
                    </a:moveTo>
                    <a:lnTo>
                      <a:pt x="3015211" y="1579947"/>
                    </a:lnTo>
                    <a:lnTo>
                      <a:pt x="3015211" y="2279850"/>
                    </a:lnTo>
                    <a:lnTo>
                      <a:pt x="2315309" y="2279850"/>
                    </a:lnTo>
                    <a:close/>
                    <a:moveTo>
                      <a:pt x="1510422" y="1579947"/>
                    </a:moveTo>
                    <a:lnTo>
                      <a:pt x="2210324" y="1579947"/>
                    </a:lnTo>
                    <a:lnTo>
                      <a:pt x="2210324" y="2279850"/>
                    </a:lnTo>
                    <a:lnTo>
                      <a:pt x="1510422" y="2279850"/>
                    </a:lnTo>
                    <a:close/>
                    <a:moveTo>
                      <a:pt x="705534" y="1579947"/>
                    </a:moveTo>
                    <a:lnTo>
                      <a:pt x="1405436" y="1579947"/>
                    </a:lnTo>
                    <a:lnTo>
                      <a:pt x="1405436" y="2279850"/>
                    </a:lnTo>
                    <a:lnTo>
                      <a:pt x="705534" y="2279850"/>
                    </a:lnTo>
                    <a:close/>
                    <a:moveTo>
                      <a:pt x="6082271" y="862558"/>
                    </a:moveTo>
                    <a:cubicBezTo>
                      <a:pt x="6278056" y="1019026"/>
                      <a:pt x="6590560" y="1347181"/>
                      <a:pt x="6535589" y="1754155"/>
                    </a:cubicBezTo>
                    <a:cubicBezTo>
                      <a:pt x="6778063" y="1636706"/>
                      <a:pt x="7200507" y="1574275"/>
                      <a:pt x="7529578" y="1761959"/>
                    </a:cubicBezTo>
                    <a:cubicBezTo>
                      <a:pt x="7326262" y="2168543"/>
                      <a:pt x="6872190" y="2285602"/>
                      <a:pt x="6394775" y="2238778"/>
                    </a:cubicBezTo>
                    <a:cubicBezTo>
                      <a:pt x="5729856" y="3982564"/>
                      <a:pt x="4226825" y="4764516"/>
                      <a:pt x="2451200" y="4764516"/>
                    </a:cubicBezTo>
                    <a:cubicBezTo>
                      <a:pt x="1613840" y="4764516"/>
                      <a:pt x="941391" y="4483185"/>
                      <a:pt x="518946" y="4005975"/>
                    </a:cubicBezTo>
                    <a:lnTo>
                      <a:pt x="518946" y="3998172"/>
                    </a:lnTo>
                    <a:cubicBezTo>
                      <a:pt x="499367" y="3975930"/>
                      <a:pt x="420300" y="3893989"/>
                      <a:pt x="400721" y="3872918"/>
                    </a:cubicBezTo>
                    <a:cubicBezTo>
                      <a:pt x="362318" y="3810487"/>
                      <a:pt x="323160" y="3748056"/>
                      <a:pt x="283250" y="3693428"/>
                    </a:cubicBezTo>
                    <a:cubicBezTo>
                      <a:pt x="262165" y="3656750"/>
                      <a:pt x="241834" y="3620462"/>
                      <a:pt x="220749" y="3583783"/>
                    </a:cubicBezTo>
                    <a:cubicBezTo>
                      <a:pt x="49061" y="3239631"/>
                      <a:pt x="-29254" y="2840851"/>
                      <a:pt x="9903" y="2403051"/>
                    </a:cubicBezTo>
                    <a:lnTo>
                      <a:pt x="5143252" y="2403051"/>
                    </a:lnTo>
                    <a:cubicBezTo>
                      <a:pt x="5565697" y="2403051"/>
                      <a:pt x="5979859" y="2246582"/>
                      <a:pt x="6175645" y="2074506"/>
                    </a:cubicBezTo>
                    <a:cubicBezTo>
                      <a:pt x="5823231" y="1793175"/>
                      <a:pt x="5863141" y="1120477"/>
                      <a:pt x="6082271" y="862558"/>
                    </a:cubicBezTo>
                    <a:close/>
                    <a:moveTo>
                      <a:pt x="3102704" y="792564"/>
                    </a:moveTo>
                    <a:lnTo>
                      <a:pt x="3802606" y="792564"/>
                    </a:lnTo>
                    <a:lnTo>
                      <a:pt x="3802606" y="1492467"/>
                    </a:lnTo>
                    <a:lnTo>
                      <a:pt x="3102704" y="1492467"/>
                    </a:lnTo>
                    <a:close/>
                    <a:moveTo>
                      <a:pt x="2315309" y="792564"/>
                    </a:moveTo>
                    <a:lnTo>
                      <a:pt x="3015211" y="792564"/>
                    </a:lnTo>
                    <a:lnTo>
                      <a:pt x="3015211" y="1492467"/>
                    </a:lnTo>
                    <a:lnTo>
                      <a:pt x="2315309" y="1492467"/>
                    </a:lnTo>
                    <a:close/>
                    <a:moveTo>
                      <a:pt x="1510422" y="792564"/>
                    </a:moveTo>
                    <a:lnTo>
                      <a:pt x="2210324" y="792564"/>
                    </a:lnTo>
                    <a:lnTo>
                      <a:pt x="2210324" y="1492467"/>
                    </a:lnTo>
                    <a:lnTo>
                      <a:pt x="1510422" y="1492467"/>
                    </a:lnTo>
                    <a:close/>
                    <a:moveTo>
                      <a:pt x="3102704" y="0"/>
                    </a:moveTo>
                    <a:lnTo>
                      <a:pt x="3802606" y="0"/>
                    </a:lnTo>
                    <a:lnTo>
                      <a:pt x="3802606" y="699903"/>
                    </a:lnTo>
                    <a:lnTo>
                      <a:pt x="3102704" y="699903"/>
                    </a:lnTo>
                    <a:close/>
                  </a:path>
                </a:pathLst>
              </a:custGeom>
              <a:solidFill>
                <a:srgbClr val="0178D7"/>
              </a:solidFill>
              <a:ln w="10795" cap="flat" cmpd="sng" algn="ctr">
                <a:noFill/>
                <a:prstDash val="solid"/>
              </a:ln>
              <a:effectLst/>
            </p:spPr>
            <p:txBody>
              <a:bodyPr rtlCol="0" anchor="ctr"/>
              <a:lstStyle/>
              <a:p>
                <a:pPr algn="ctr" defTabSz="932418">
                  <a:defRPr/>
                </a:pPr>
                <a:endParaRPr lang="en-US" sz="1836" kern="0" dirty="0">
                  <a:solidFill>
                    <a:prstClr val="white"/>
                  </a:solidFill>
                  <a:latin typeface="Segoe UI"/>
                </a:endParaRPr>
              </a:p>
            </p:txBody>
          </p:sp>
          <p:pic>
            <p:nvPicPr>
              <p:cNvPr id="25" name="Picture 24">
                <a:extLst>
                  <a:ext uri="{FF2B5EF4-FFF2-40B4-BE49-F238E27FC236}">
                    <a16:creationId xmlns:a16="http://schemas.microsoft.com/office/drawing/2014/main" id="{A366C0BA-6170-44C9-8FF4-4322374C0FF0}"/>
                  </a:ext>
                </a:extLst>
              </p:cNvPr>
              <p:cNvPicPr>
                <a:picLocks noChangeAspect="1"/>
              </p:cNvPicPr>
              <p:nvPr/>
            </p:nvPicPr>
            <p:blipFill>
              <a:blip r:embed="rId6" cstate="print">
                <a:duotone>
                  <a:srgbClr val="0078D7">
                    <a:shade val="45000"/>
                    <a:satMod val="135000"/>
                  </a:srgbClr>
                  <a:prstClr val="white"/>
                </a:duotone>
                <a:lum bright="14000" contrast="20000"/>
                <a:extLst>
                  <a:ext uri="{28A0092B-C50C-407E-A947-70E740481C1C}">
                    <a14:useLocalDpi xmlns:a14="http://schemas.microsoft.com/office/drawing/2010/main" val="0"/>
                  </a:ext>
                </a:extLst>
              </a:blip>
              <a:stretch>
                <a:fillRect/>
              </a:stretch>
            </p:blipFill>
            <p:spPr>
              <a:xfrm>
                <a:off x="6576577" y="3318208"/>
                <a:ext cx="431356" cy="504999"/>
              </a:xfrm>
              <a:prstGeom prst="rect">
                <a:avLst/>
              </a:prstGeom>
            </p:spPr>
          </p:pic>
        </p:grpSp>
        <p:pic>
          <p:nvPicPr>
            <p:cNvPr id="29" name="Picture 28">
              <a:extLst>
                <a:ext uri="{FF2B5EF4-FFF2-40B4-BE49-F238E27FC236}">
                  <a16:creationId xmlns:a16="http://schemas.microsoft.com/office/drawing/2014/main" id="{B6C0260D-054A-478F-8995-0D4A5835DB1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568195" y="1730774"/>
              <a:ext cx="571875" cy="424535"/>
            </a:xfrm>
            <a:prstGeom prst="rect">
              <a:avLst/>
            </a:prstGeom>
          </p:spPr>
        </p:pic>
      </p:grpSp>
      <p:sp>
        <p:nvSpPr>
          <p:cNvPr id="5" name="Right Brace 4">
            <a:extLst>
              <a:ext uri="{FF2B5EF4-FFF2-40B4-BE49-F238E27FC236}">
                <a16:creationId xmlns:a16="http://schemas.microsoft.com/office/drawing/2014/main" id="{8FC618D1-0564-4058-BC54-557B11D15E73}"/>
              </a:ext>
            </a:extLst>
          </p:cNvPr>
          <p:cNvSpPr/>
          <p:nvPr/>
        </p:nvSpPr>
        <p:spPr>
          <a:xfrm>
            <a:off x="5913350" y="1705601"/>
            <a:ext cx="207905" cy="466814"/>
          </a:xfrm>
          <a:prstGeom prst="rightBrac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Tree>
    <p:extLst>
      <p:ext uri="{BB962C8B-B14F-4D97-AF65-F5344CB8AC3E}">
        <p14:creationId xmlns:p14="http://schemas.microsoft.com/office/powerpoint/2010/main" val="31735250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1"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childTnLst>
                                </p:cTn>
                              </p:par>
                              <p:par>
                                <p:cTn id="10" presetID="1" presetClass="entr" presetSubtype="0" fill="hold" nodeType="withEffect">
                                  <p:stCondLst>
                                    <p:cond delay="0"/>
                                  </p:stCondLst>
                                  <p:childTnLst>
                                    <p:set>
                                      <p:cBhvr>
                                        <p:cTn id="11" dur="1" fill="hold">
                                          <p:stCondLst>
                                            <p:cond delay="0"/>
                                          </p:stCondLst>
                                        </p:cTn>
                                        <p:tgtEl>
                                          <p:spTgt spid="4"/>
                                        </p:tgtEl>
                                        <p:attrNameLst>
                                          <p:attrName>style.visibility</p:attrName>
                                        </p:attrNameLst>
                                      </p:cBhvr>
                                      <p:to>
                                        <p:strVal val="visible"/>
                                      </p:to>
                                    </p:set>
                                  </p:childTnLst>
                                </p:cTn>
                              </p:par>
                              <p:par>
                                <p:cTn id="12" presetID="10" presetClass="entr" presetSubtype="0" fill="hold" nodeType="with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500"/>
                                        <p:tgtEl>
                                          <p:spTgt spid="6"/>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0"/>
                                  </p:stCondLst>
                                  <p:childTnLst>
                                    <p:set>
                                      <p:cBhvr>
                                        <p:cTn id="21" dur="1" fill="hold">
                                          <p:stCondLst>
                                            <p:cond delay="0"/>
                                          </p:stCondLst>
                                        </p:cTn>
                                        <p:tgtEl>
                                          <p:spTgt spid="3"/>
                                        </p:tgtEl>
                                        <p:attrNameLst>
                                          <p:attrName>style.visibility</p:attrName>
                                        </p:attrNameLst>
                                      </p:cBhvr>
                                      <p:to>
                                        <p:strVal val="visible"/>
                                      </p:to>
                                    </p:set>
                                  </p:childTnLst>
                                </p:cTn>
                              </p:par>
                              <p:par>
                                <p:cTn id="22" presetID="10" presetClass="entr" presetSubtype="0" fill="hold" nodeType="withEffect">
                                  <p:stCondLst>
                                    <p:cond delay="0"/>
                                  </p:stCondLst>
                                  <p:childTnLst>
                                    <p:set>
                                      <p:cBhvr>
                                        <p:cTn id="23" dur="1" fill="hold">
                                          <p:stCondLst>
                                            <p:cond delay="0"/>
                                          </p:stCondLst>
                                        </p:cTn>
                                        <p:tgtEl>
                                          <p:spTgt spid="36"/>
                                        </p:tgtEl>
                                        <p:attrNameLst>
                                          <p:attrName>style.visibility</p:attrName>
                                        </p:attrNameLst>
                                      </p:cBhvr>
                                      <p:to>
                                        <p:strVal val="visible"/>
                                      </p:to>
                                    </p:set>
                                    <p:animEffect transition="in" filter="fade">
                                      <p:cBhvr>
                                        <p:cTn id="24" dur="500"/>
                                        <p:tgtEl>
                                          <p:spTgt spid="36"/>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0"/>
                                        </p:tgtEl>
                                        <p:attrNameLst>
                                          <p:attrName>style.visibility</p:attrName>
                                        </p:attrNameLst>
                                      </p:cBhvr>
                                      <p:to>
                                        <p:strVal val="visible"/>
                                      </p:to>
                                    </p:set>
                                    <p:animEffect transition="in" filter="fade">
                                      <p:cBhvr>
                                        <p:cTn id="27" dur="500"/>
                                        <p:tgtEl>
                                          <p:spTgt spid="30"/>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8"/>
                                        </p:tgtEl>
                                        <p:attrNameLst>
                                          <p:attrName>style.visibility</p:attrName>
                                        </p:attrNameLst>
                                      </p:cBhvr>
                                      <p:to>
                                        <p:strVal val="visible"/>
                                      </p:to>
                                    </p:set>
                                    <p:animEffect transition="in" filter="fade">
                                      <p:cBhvr>
                                        <p:cTn id="32" dur="500"/>
                                        <p:tgtEl>
                                          <p:spTgt spid="38"/>
                                        </p:tgtEl>
                                      </p:cBhvr>
                                    </p:animEffect>
                                  </p:childTnLst>
                                </p:cTn>
                              </p:par>
                              <p:par>
                                <p:cTn id="33" presetID="10" presetClass="entr" presetSubtype="0" fill="hold" nodeType="withEffect">
                                  <p:stCondLst>
                                    <p:cond delay="0"/>
                                  </p:stCondLst>
                                  <p:childTnLst>
                                    <p:set>
                                      <p:cBhvr>
                                        <p:cTn id="34" dur="1" fill="hold">
                                          <p:stCondLst>
                                            <p:cond delay="0"/>
                                          </p:stCondLst>
                                        </p:cTn>
                                        <p:tgtEl>
                                          <p:spTgt spid="10"/>
                                        </p:tgtEl>
                                        <p:attrNameLst>
                                          <p:attrName>style.visibility</p:attrName>
                                        </p:attrNameLst>
                                      </p:cBhvr>
                                      <p:to>
                                        <p:strVal val="visible"/>
                                      </p:to>
                                    </p:set>
                                    <p:animEffect transition="in" filter="fade">
                                      <p:cBhvr>
                                        <p:cTn id="35" dur="500"/>
                                        <p:tgtEl>
                                          <p:spTgt spid="10"/>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31"/>
                                        </p:tgtEl>
                                        <p:attrNameLst>
                                          <p:attrName>style.visibility</p:attrName>
                                        </p:attrNameLst>
                                      </p:cBhvr>
                                      <p:to>
                                        <p:strVal val="visible"/>
                                      </p:to>
                                    </p:set>
                                    <p:animEffect transition="in" filter="fade">
                                      <p:cBhvr>
                                        <p:cTn id="38" dur="500"/>
                                        <p:tgtEl>
                                          <p:spTgt spid="31"/>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500"/>
                                        <p:tgtEl>
                                          <p:spTgt spid="19"/>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40"/>
                                        </p:tgtEl>
                                        <p:attrNameLst>
                                          <p:attrName>style.visibility</p:attrName>
                                        </p:attrNameLst>
                                      </p:cBhvr>
                                      <p:to>
                                        <p:strVal val="visible"/>
                                      </p:to>
                                    </p:set>
                                    <p:animEffect transition="in" filter="fade">
                                      <p:cBhvr>
                                        <p:cTn id="46" dur="500"/>
                                        <p:tgtEl>
                                          <p:spTgt spid="40"/>
                                        </p:tgtEl>
                                      </p:cBhvr>
                                    </p:animEffect>
                                  </p:childTnLst>
                                </p:cTn>
                              </p:par>
                              <p:par>
                                <p:cTn id="47" presetID="10" presetClass="entr" presetSubtype="0" fill="hold" nodeType="withEffect">
                                  <p:stCondLst>
                                    <p:cond delay="0"/>
                                  </p:stCondLst>
                                  <p:childTnLst>
                                    <p:set>
                                      <p:cBhvr>
                                        <p:cTn id="48" dur="1" fill="hold">
                                          <p:stCondLst>
                                            <p:cond delay="0"/>
                                          </p:stCondLst>
                                        </p:cTn>
                                        <p:tgtEl>
                                          <p:spTgt spid="1034"/>
                                        </p:tgtEl>
                                        <p:attrNameLst>
                                          <p:attrName>style.visibility</p:attrName>
                                        </p:attrNameLst>
                                      </p:cBhvr>
                                      <p:to>
                                        <p:strVal val="visible"/>
                                      </p:to>
                                    </p:set>
                                    <p:animEffect transition="in" filter="fade">
                                      <p:cBhvr>
                                        <p:cTn id="49" dur="500"/>
                                        <p:tgtEl>
                                          <p:spTgt spid="1034"/>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32"/>
                                        </p:tgtEl>
                                        <p:attrNameLst>
                                          <p:attrName>style.visibility</p:attrName>
                                        </p:attrNameLst>
                                      </p:cBhvr>
                                      <p:to>
                                        <p:strVal val="visible"/>
                                      </p:to>
                                    </p:set>
                                    <p:animEffect transition="in" filter="fade">
                                      <p:cBhvr>
                                        <p:cTn id="52"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30" grpId="0"/>
      <p:bldP spid="31" grpId="0"/>
      <p:bldP spid="32" grpId="0"/>
      <p:bldP spid="19" grpId="0"/>
      <p:bldP spid="5"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6" y="2534625"/>
            <a:ext cx="6400800" cy="997196"/>
          </a:xfrm>
        </p:spPr>
        <p:txBody>
          <a:bodyPr/>
          <a:lstStyle/>
          <a:p>
            <a:r>
              <a:rPr lang="en-US" dirty="0"/>
              <a:t>Module 6 Activity: SQL Server Linux</a:t>
            </a:r>
          </a:p>
        </p:txBody>
      </p:sp>
      <p:sp>
        <p:nvSpPr>
          <p:cNvPr id="4" name="Text Placeholder 3"/>
          <p:cNvSpPr>
            <a:spLocks noGrp="1"/>
          </p:cNvSpPr>
          <p:nvPr>
            <p:ph type="body" sz="quarter" idx="12"/>
          </p:nvPr>
        </p:nvSpPr>
        <p:spPr>
          <a:xfrm>
            <a:off x="585216" y="3977319"/>
            <a:ext cx="6400800" cy="307777"/>
          </a:xfrm>
        </p:spPr>
        <p:txBody>
          <a:bodyPr/>
          <a:lstStyle/>
          <a:p>
            <a:r>
              <a:rPr lang="en-US" dirty="0"/>
              <a:t>Deploy and Explore SQL Server on Linux</a:t>
            </a:r>
          </a:p>
        </p:txBody>
      </p:sp>
    </p:spTree>
    <p:extLst>
      <p:ext uri="{BB962C8B-B14F-4D97-AF65-F5344CB8AC3E}">
        <p14:creationId xmlns:p14="http://schemas.microsoft.com/office/powerpoint/2010/main" val="18468947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DE104-D85B-43D4-AC99-58903696A798}"/>
              </a:ext>
            </a:extLst>
          </p:cNvPr>
          <p:cNvSpPr>
            <a:spLocks noGrp="1"/>
          </p:cNvSpPr>
          <p:nvPr>
            <p:ph type="title"/>
          </p:nvPr>
        </p:nvSpPr>
        <p:spPr>
          <a:xfrm>
            <a:off x="585216" y="2038612"/>
            <a:ext cx="6400800" cy="1495794"/>
          </a:xfrm>
        </p:spPr>
        <p:txBody>
          <a:bodyPr/>
          <a:lstStyle/>
          <a:p>
            <a:r>
              <a:rPr lang="en-US" dirty="0"/>
              <a:t>Module 7: SQL Server Containers and Kubernetes (k8s)</a:t>
            </a:r>
          </a:p>
        </p:txBody>
      </p:sp>
    </p:spTree>
    <p:extLst>
      <p:ext uri="{BB962C8B-B14F-4D97-AF65-F5344CB8AC3E}">
        <p14:creationId xmlns:p14="http://schemas.microsoft.com/office/powerpoint/2010/main" val="1195019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21BD2D-C217-4297-BE95-ED0B34225824}"/>
              </a:ext>
            </a:extLst>
          </p:cNvPr>
          <p:cNvSpPr>
            <a:spLocks noGrp="1"/>
          </p:cNvSpPr>
          <p:nvPr>
            <p:ph type="title"/>
          </p:nvPr>
        </p:nvSpPr>
        <p:spPr/>
        <p:txBody>
          <a:bodyPr/>
          <a:lstStyle/>
          <a:p>
            <a:r>
              <a:rPr lang="en-US" dirty="0"/>
              <a:t>Why Containers?</a:t>
            </a:r>
          </a:p>
        </p:txBody>
      </p:sp>
      <p:grpSp>
        <p:nvGrpSpPr>
          <p:cNvPr id="4" name="Group 3">
            <a:extLst>
              <a:ext uri="{FF2B5EF4-FFF2-40B4-BE49-F238E27FC236}">
                <a16:creationId xmlns:a16="http://schemas.microsoft.com/office/drawing/2014/main" id="{4913388A-BFF6-41A1-A434-5E6C87AEE646}"/>
              </a:ext>
            </a:extLst>
          </p:cNvPr>
          <p:cNvGrpSpPr/>
          <p:nvPr/>
        </p:nvGrpSpPr>
        <p:grpSpPr>
          <a:xfrm>
            <a:off x="6999075" y="3799843"/>
            <a:ext cx="1176882" cy="1269632"/>
            <a:chOff x="6999202" y="3799896"/>
            <a:chExt cx="1177049" cy="1269812"/>
          </a:xfrm>
        </p:grpSpPr>
        <p:sp>
          <p:nvSpPr>
            <p:cNvPr id="5" name="Rectangle 4">
              <a:extLst>
                <a:ext uri="{FF2B5EF4-FFF2-40B4-BE49-F238E27FC236}">
                  <a16:creationId xmlns:a16="http://schemas.microsoft.com/office/drawing/2014/main" id="{C25E6AD4-A7B6-425F-B8F3-9CE7DAAC54A6}"/>
                </a:ext>
              </a:extLst>
            </p:cNvPr>
            <p:cNvSpPr/>
            <p:nvPr/>
          </p:nvSpPr>
          <p:spPr bwMode="auto">
            <a:xfrm>
              <a:off x="6999202" y="4688856"/>
              <a:ext cx="1177049" cy="27432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Bins/libs</a:t>
              </a:r>
            </a:p>
          </p:txBody>
        </p:sp>
        <p:sp>
          <p:nvSpPr>
            <p:cNvPr id="6" name="Rectangle 5">
              <a:extLst>
                <a:ext uri="{FF2B5EF4-FFF2-40B4-BE49-F238E27FC236}">
                  <a16:creationId xmlns:a16="http://schemas.microsoft.com/office/drawing/2014/main" id="{6239AFFE-2F6E-481A-9AD4-1EE991C65CFC}"/>
                </a:ext>
              </a:extLst>
            </p:cNvPr>
            <p:cNvSpPr/>
            <p:nvPr/>
          </p:nvSpPr>
          <p:spPr bwMode="auto">
            <a:xfrm>
              <a:off x="6999202" y="4344952"/>
              <a:ext cx="1177049" cy="274320"/>
            </a:xfrm>
            <a:prstGeom prst="rect">
              <a:avLst/>
            </a:prstGeom>
            <a:solidFill>
              <a:srgbClr val="0078D7">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sqlservr</a:t>
              </a:r>
            </a:p>
          </p:txBody>
        </p:sp>
        <p:sp>
          <p:nvSpPr>
            <p:cNvPr id="7" name="Rectangle 6">
              <a:extLst>
                <a:ext uri="{FF2B5EF4-FFF2-40B4-BE49-F238E27FC236}">
                  <a16:creationId xmlns:a16="http://schemas.microsoft.com/office/drawing/2014/main" id="{CF16C8CF-EA6C-43F0-A894-8848F8FDC7DB}"/>
                </a:ext>
              </a:extLst>
            </p:cNvPr>
            <p:cNvSpPr/>
            <p:nvPr/>
          </p:nvSpPr>
          <p:spPr bwMode="auto">
            <a:xfrm>
              <a:off x="6999202" y="3799896"/>
              <a:ext cx="1177049" cy="1269812"/>
            </a:xfrm>
            <a:prstGeom prst="rect">
              <a:avLst/>
            </a:prstGeom>
            <a:noFill/>
            <a:ln w="12700">
              <a:solidFill>
                <a:schemeClr val="tx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8" name="TextBox 7">
              <a:extLst>
                <a:ext uri="{FF2B5EF4-FFF2-40B4-BE49-F238E27FC236}">
                  <a16:creationId xmlns:a16="http://schemas.microsoft.com/office/drawing/2014/main" id="{D4552E0D-1144-4206-BB48-907B982A73AA}"/>
                </a:ext>
              </a:extLst>
            </p:cNvPr>
            <p:cNvSpPr txBox="1"/>
            <p:nvPr/>
          </p:nvSpPr>
          <p:spPr>
            <a:xfrm>
              <a:off x="7202204" y="3959514"/>
              <a:ext cx="771154" cy="215475"/>
            </a:xfrm>
            <a:prstGeom prst="rect">
              <a:avLst/>
            </a:prstGeom>
            <a:noFill/>
          </p:spPr>
          <p:txBody>
            <a:bodyPr wrap="none" lIns="0" tIns="0" rIns="0" bIns="0" rtlCol="0">
              <a:spAutoFit/>
            </a:bodyPr>
            <a:lstStyle/>
            <a:p>
              <a:pPr algn="l"/>
              <a:r>
                <a:rPr lang="en-US" sz="1400" dirty="0">
                  <a:solidFill>
                    <a:schemeClr val="accent1"/>
                  </a:solidFill>
                </a:rPr>
                <a:t>Container</a:t>
              </a:r>
            </a:p>
          </p:txBody>
        </p:sp>
      </p:grpSp>
      <p:grpSp>
        <p:nvGrpSpPr>
          <p:cNvPr id="9" name="Group 8">
            <a:extLst>
              <a:ext uri="{FF2B5EF4-FFF2-40B4-BE49-F238E27FC236}">
                <a16:creationId xmlns:a16="http://schemas.microsoft.com/office/drawing/2014/main" id="{0B44AEFD-AD98-463E-AC7C-8E40AC686777}"/>
              </a:ext>
            </a:extLst>
          </p:cNvPr>
          <p:cNvGrpSpPr/>
          <p:nvPr/>
        </p:nvGrpSpPr>
        <p:grpSpPr>
          <a:xfrm>
            <a:off x="8319534" y="3799843"/>
            <a:ext cx="1176882" cy="1269632"/>
            <a:chOff x="8319848" y="3799896"/>
            <a:chExt cx="1177049" cy="1269812"/>
          </a:xfrm>
        </p:grpSpPr>
        <p:sp>
          <p:nvSpPr>
            <p:cNvPr id="10" name="Rectangle 9">
              <a:extLst>
                <a:ext uri="{FF2B5EF4-FFF2-40B4-BE49-F238E27FC236}">
                  <a16:creationId xmlns:a16="http://schemas.microsoft.com/office/drawing/2014/main" id="{4C183AF7-2147-4879-802C-2BE413D89F1C}"/>
                </a:ext>
              </a:extLst>
            </p:cNvPr>
            <p:cNvSpPr/>
            <p:nvPr/>
          </p:nvSpPr>
          <p:spPr bwMode="auto">
            <a:xfrm>
              <a:off x="8329594" y="4688856"/>
              <a:ext cx="1167303" cy="27432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Bins/libs</a:t>
              </a:r>
            </a:p>
          </p:txBody>
        </p:sp>
        <p:sp>
          <p:nvSpPr>
            <p:cNvPr id="11" name="Rectangle 10">
              <a:extLst>
                <a:ext uri="{FF2B5EF4-FFF2-40B4-BE49-F238E27FC236}">
                  <a16:creationId xmlns:a16="http://schemas.microsoft.com/office/drawing/2014/main" id="{7AFC5CA9-EDBA-4195-AD32-7CB5B2CE3364}"/>
                </a:ext>
              </a:extLst>
            </p:cNvPr>
            <p:cNvSpPr/>
            <p:nvPr/>
          </p:nvSpPr>
          <p:spPr bwMode="auto">
            <a:xfrm>
              <a:off x="8329594" y="4344952"/>
              <a:ext cx="1167303" cy="274320"/>
            </a:xfrm>
            <a:prstGeom prst="rect">
              <a:avLst/>
            </a:prstGeom>
            <a:solidFill>
              <a:srgbClr val="0078D7">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sqlservr</a:t>
              </a:r>
            </a:p>
          </p:txBody>
        </p:sp>
        <p:sp>
          <p:nvSpPr>
            <p:cNvPr id="12" name="Rectangle 11">
              <a:extLst>
                <a:ext uri="{FF2B5EF4-FFF2-40B4-BE49-F238E27FC236}">
                  <a16:creationId xmlns:a16="http://schemas.microsoft.com/office/drawing/2014/main" id="{472C733C-C133-4323-9B39-C42BE6E1EFC2}"/>
                </a:ext>
              </a:extLst>
            </p:cNvPr>
            <p:cNvSpPr/>
            <p:nvPr/>
          </p:nvSpPr>
          <p:spPr bwMode="auto">
            <a:xfrm>
              <a:off x="8319848" y="3799896"/>
              <a:ext cx="1177049" cy="1269812"/>
            </a:xfrm>
            <a:prstGeom prst="rect">
              <a:avLst/>
            </a:prstGeom>
            <a:noFill/>
            <a:ln w="12700">
              <a:solidFill>
                <a:schemeClr val="tx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3" name="TextBox 12">
              <a:extLst>
                <a:ext uri="{FF2B5EF4-FFF2-40B4-BE49-F238E27FC236}">
                  <a16:creationId xmlns:a16="http://schemas.microsoft.com/office/drawing/2014/main" id="{B6DCFF12-2C88-4514-8643-36A61D099E6A}"/>
                </a:ext>
              </a:extLst>
            </p:cNvPr>
            <p:cNvSpPr txBox="1"/>
            <p:nvPr/>
          </p:nvSpPr>
          <p:spPr>
            <a:xfrm>
              <a:off x="8522214" y="3959514"/>
              <a:ext cx="771154" cy="215475"/>
            </a:xfrm>
            <a:prstGeom prst="rect">
              <a:avLst/>
            </a:prstGeom>
            <a:noFill/>
          </p:spPr>
          <p:txBody>
            <a:bodyPr wrap="none" lIns="0" tIns="0" rIns="0" bIns="0" rtlCol="0">
              <a:spAutoFit/>
            </a:bodyPr>
            <a:lstStyle/>
            <a:p>
              <a:pPr algn="l"/>
              <a:r>
                <a:rPr lang="en-US" sz="1400" dirty="0">
                  <a:solidFill>
                    <a:schemeClr val="accent1"/>
                  </a:solidFill>
                </a:rPr>
                <a:t>Container</a:t>
              </a:r>
            </a:p>
          </p:txBody>
        </p:sp>
      </p:grpSp>
      <p:grpSp>
        <p:nvGrpSpPr>
          <p:cNvPr id="14" name="Group 13">
            <a:extLst>
              <a:ext uri="{FF2B5EF4-FFF2-40B4-BE49-F238E27FC236}">
                <a16:creationId xmlns:a16="http://schemas.microsoft.com/office/drawing/2014/main" id="{BB34921C-724A-49AC-9294-22F993987071}"/>
              </a:ext>
            </a:extLst>
          </p:cNvPr>
          <p:cNvGrpSpPr/>
          <p:nvPr/>
        </p:nvGrpSpPr>
        <p:grpSpPr>
          <a:xfrm>
            <a:off x="6854052" y="3672817"/>
            <a:ext cx="4111907" cy="2689148"/>
            <a:chOff x="6854159" y="3672851"/>
            <a:chExt cx="4112490" cy="2689529"/>
          </a:xfrm>
        </p:grpSpPr>
        <p:sp>
          <p:nvSpPr>
            <p:cNvPr id="15" name="Rectangle 14">
              <a:extLst>
                <a:ext uri="{FF2B5EF4-FFF2-40B4-BE49-F238E27FC236}">
                  <a16:creationId xmlns:a16="http://schemas.microsoft.com/office/drawing/2014/main" id="{57CCD697-0230-4E63-A054-A4B2694C0501}"/>
                </a:ext>
              </a:extLst>
            </p:cNvPr>
            <p:cNvSpPr/>
            <p:nvPr/>
          </p:nvSpPr>
          <p:spPr bwMode="auto">
            <a:xfrm>
              <a:off x="6854159" y="3672851"/>
              <a:ext cx="4112490" cy="268952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65DED070-2B0B-4CB3-B930-7A33062BE206}"/>
                </a:ext>
              </a:extLst>
            </p:cNvPr>
            <p:cNvSpPr/>
            <p:nvPr/>
          </p:nvSpPr>
          <p:spPr bwMode="auto">
            <a:xfrm>
              <a:off x="7001234" y="5943732"/>
              <a:ext cx="3818341" cy="27432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Infrastructure</a:t>
              </a:r>
            </a:p>
          </p:txBody>
        </p:sp>
        <p:sp>
          <p:nvSpPr>
            <p:cNvPr id="17" name="Rectangle 16">
              <a:extLst>
                <a:ext uri="{FF2B5EF4-FFF2-40B4-BE49-F238E27FC236}">
                  <a16:creationId xmlns:a16="http://schemas.microsoft.com/office/drawing/2014/main" id="{C8E00A58-D1CF-443B-B24C-2D18125E2CAA}"/>
                </a:ext>
              </a:extLst>
            </p:cNvPr>
            <p:cNvSpPr/>
            <p:nvPr/>
          </p:nvSpPr>
          <p:spPr bwMode="auto">
            <a:xfrm>
              <a:off x="7001233" y="5586691"/>
              <a:ext cx="3818342" cy="27432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Host OS</a:t>
              </a:r>
            </a:p>
          </p:txBody>
        </p:sp>
        <p:sp>
          <p:nvSpPr>
            <p:cNvPr id="18" name="Rectangle 17">
              <a:extLst>
                <a:ext uri="{FF2B5EF4-FFF2-40B4-BE49-F238E27FC236}">
                  <a16:creationId xmlns:a16="http://schemas.microsoft.com/office/drawing/2014/main" id="{9577097F-6B99-42C7-9477-E83E1A63FB62}"/>
                </a:ext>
              </a:extLst>
            </p:cNvPr>
            <p:cNvSpPr/>
            <p:nvPr/>
          </p:nvSpPr>
          <p:spPr bwMode="auto">
            <a:xfrm>
              <a:off x="9640494" y="4688856"/>
              <a:ext cx="1177050" cy="27432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Bins/libs</a:t>
              </a:r>
            </a:p>
          </p:txBody>
        </p:sp>
        <p:sp>
          <p:nvSpPr>
            <p:cNvPr id="19" name="Rectangle 18">
              <a:extLst>
                <a:ext uri="{FF2B5EF4-FFF2-40B4-BE49-F238E27FC236}">
                  <a16:creationId xmlns:a16="http://schemas.microsoft.com/office/drawing/2014/main" id="{61B9F392-07BC-4820-90D9-8AE1397B51B8}"/>
                </a:ext>
              </a:extLst>
            </p:cNvPr>
            <p:cNvSpPr/>
            <p:nvPr/>
          </p:nvSpPr>
          <p:spPr bwMode="auto">
            <a:xfrm>
              <a:off x="9640494" y="4344952"/>
              <a:ext cx="1177050" cy="274320"/>
            </a:xfrm>
            <a:prstGeom prst="rect">
              <a:avLst/>
            </a:prstGeom>
            <a:solidFill>
              <a:srgbClr val="0078D7">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sqlservr</a:t>
              </a:r>
            </a:p>
          </p:txBody>
        </p:sp>
        <p:sp>
          <p:nvSpPr>
            <p:cNvPr id="20" name="Rectangle 19">
              <a:extLst>
                <a:ext uri="{FF2B5EF4-FFF2-40B4-BE49-F238E27FC236}">
                  <a16:creationId xmlns:a16="http://schemas.microsoft.com/office/drawing/2014/main" id="{0878B403-13A7-4EB0-97A8-7F020D644DE7}"/>
                </a:ext>
              </a:extLst>
            </p:cNvPr>
            <p:cNvSpPr/>
            <p:nvPr/>
          </p:nvSpPr>
          <p:spPr bwMode="auto">
            <a:xfrm>
              <a:off x="9640495" y="3799896"/>
              <a:ext cx="1177049" cy="1269812"/>
            </a:xfrm>
            <a:prstGeom prst="rect">
              <a:avLst/>
            </a:prstGeom>
            <a:noFill/>
            <a:ln w="12700">
              <a:solidFill>
                <a:schemeClr val="tx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38282317-3735-45BF-8A89-8A36ED6BED99}"/>
                </a:ext>
              </a:extLst>
            </p:cNvPr>
            <p:cNvSpPr/>
            <p:nvPr/>
          </p:nvSpPr>
          <p:spPr bwMode="auto">
            <a:xfrm>
              <a:off x="7001233" y="5229326"/>
              <a:ext cx="3818342" cy="274320"/>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Docker</a:t>
              </a:r>
            </a:p>
          </p:txBody>
        </p:sp>
        <p:sp>
          <p:nvSpPr>
            <p:cNvPr id="22" name="TextBox 21">
              <a:extLst>
                <a:ext uri="{FF2B5EF4-FFF2-40B4-BE49-F238E27FC236}">
                  <a16:creationId xmlns:a16="http://schemas.microsoft.com/office/drawing/2014/main" id="{B0A39F65-B2F9-4FB9-8A14-FDF4F8066D92}"/>
                </a:ext>
              </a:extLst>
            </p:cNvPr>
            <p:cNvSpPr txBox="1"/>
            <p:nvPr/>
          </p:nvSpPr>
          <p:spPr>
            <a:xfrm>
              <a:off x="9843497" y="3959514"/>
              <a:ext cx="771154" cy="215475"/>
            </a:xfrm>
            <a:prstGeom prst="rect">
              <a:avLst/>
            </a:prstGeom>
            <a:noFill/>
          </p:spPr>
          <p:txBody>
            <a:bodyPr wrap="none" lIns="0" tIns="0" rIns="0" bIns="0" rtlCol="0">
              <a:spAutoFit/>
            </a:bodyPr>
            <a:lstStyle/>
            <a:p>
              <a:pPr algn="l"/>
              <a:r>
                <a:rPr lang="en-US" sz="1400" dirty="0">
                  <a:solidFill>
                    <a:schemeClr val="accent1"/>
                  </a:solidFill>
                </a:rPr>
                <a:t>Container</a:t>
              </a:r>
            </a:p>
          </p:txBody>
        </p:sp>
      </p:grpSp>
      <p:sp>
        <p:nvSpPr>
          <p:cNvPr id="23" name="TextBox 22">
            <a:extLst>
              <a:ext uri="{FF2B5EF4-FFF2-40B4-BE49-F238E27FC236}">
                <a16:creationId xmlns:a16="http://schemas.microsoft.com/office/drawing/2014/main" id="{32169F1A-F17B-42CA-9E8D-91C696DC3BFB}"/>
              </a:ext>
            </a:extLst>
          </p:cNvPr>
          <p:cNvSpPr txBox="1"/>
          <p:nvPr/>
        </p:nvSpPr>
        <p:spPr>
          <a:xfrm>
            <a:off x="1062391" y="1317952"/>
            <a:ext cx="4589074" cy="3200876"/>
          </a:xfrm>
          <a:prstGeom prst="rect">
            <a:avLst/>
          </a:prstGeom>
          <a:noFill/>
        </p:spPr>
        <p:txBody>
          <a:bodyPr wrap="square" lIns="0" tIns="0" rIns="0" bIns="0" rtlCol="0">
            <a:spAutoFit/>
          </a:bodyPr>
          <a:lstStyle/>
          <a:p>
            <a:pPr algn="l"/>
            <a:r>
              <a:rPr lang="en-US" sz="1600" b="1" dirty="0">
                <a:solidFill>
                  <a:schemeClr val="tx2"/>
                </a:solidFill>
                <a:latin typeface="Segoe UI Semibold" panose="020B0502040204020203" pitchFamily="34" charset="0"/>
                <a:cs typeface="Segoe UI Semibold" panose="020B0502040204020203" pitchFamily="34" charset="0"/>
              </a:rPr>
              <a:t>Portable</a:t>
            </a:r>
          </a:p>
          <a:p>
            <a:pPr algn="l"/>
            <a:r>
              <a:rPr lang="en-US" sz="1600" dirty="0">
                <a:solidFill>
                  <a:schemeClr val="accent1"/>
                </a:solidFill>
              </a:rPr>
              <a:t>Run anywhere Docker is supported</a:t>
            </a:r>
          </a:p>
          <a:p>
            <a:pPr algn="l"/>
            <a:endParaRPr lang="en-US" sz="1600" dirty="0">
              <a:solidFill>
                <a:schemeClr val="accent1"/>
              </a:solidFill>
            </a:endParaRPr>
          </a:p>
          <a:p>
            <a:pPr algn="l"/>
            <a:r>
              <a:rPr lang="en-US" sz="1600" b="1" dirty="0">
                <a:solidFill>
                  <a:schemeClr val="tx2"/>
                </a:solidFill>
                <a:latin typeface="Segoe UI Semibold" panose="020B0502040204020203" pitchFamily="34" charset="0"/>
                <a:cs typeface="Segoe UI Semibold" panose="020B0502040204020203" pitchFamily="34" charset="0"/>
              </a:rPr>
              <a:t>Lightweight</a:t>
            </a:r>
          </a:p>
          <a:p>
            <a:pPr algn="l"/>
            <a:r>
              <a:rPr lang="en-US" sz="1600" dirty="0">
                <a:solidFill>
                  <a:schemeClr val="accent1"/>
                </a:solidFill>
              </a:rPr>
              <a:t>Reduced disk, CPU, and memory footprint</a:t>
            </a:r>
          </a:p>
          <a:p>
            <a:pPr algn="l"/>
            <a:endParaRPr lang="en-US" sz="1600" dirty="0">
              <a:solidFill>
                <a:schemeClr val="accent1"/>
              </a:solidFill>
            </a:endParaRPr>
          </a:p>
          <a:p>
            <a:pPr algn="l"/>
            <a:r>
              <a:rPr lang="en-US" sz="1600" b="1" dirty="0">
                <a:solidFill>
                  <a:schemeClr val="tx2"/>
                </a:solidFill>
                <a:latin typeface="Segoe UI Semibold" panose="020B0502040204020203" pitchFamily="34" charset="0"/>
                <a:cs typeface="Segoe UI Semibold" panose="020B0502040204020203" pitchFamily="34" charset="0"/>
              </a:rPr>
              <a:t>Consistent</a:t>
            </a:r>
          </a:p>
          <a:p>
            <a:pPr algn="l"/>
            <a:r>
              <a:rPr lang="en-US" sz="1600" dirty="0">
                <a:solidFill>
                  <a:schemeClr val="accent1"/>
                </a:solidFill>
              </a:rPr>
              <a:t>Consistent image of SQL Server, scripts, and tools</a:t>
            </a:r>
          </a:p>
          <a:p>
            <a:pPr algn="l"/>
            <a:endParaRPr lang="en-US" sz="1600" dirty="0">
              <a:solidFill>
                <a:schemeClr val="accent1"/>
              </a:solidFill>
            </a:endParaRPr>
          </a:p>
          <a:p>
            <a:pPr algn="l"/>
            <a:r>
              <a:rPr lang="en-US" sz="1600" dirty="0">
                <a:solidFill>
                  <a:schemeClr val="tx2"/>
                </a:solidFill>
                <a:latin typeface="Segoe UI Semibold" panose="020B0502040204020203" pitchFamily="34" charset="0"/>
                <a:cs typeface="Segoe UI Semibold" panose="020B0502040204020203" pitchFamily="34" charset="0"/>
              </a:rPr>
              <a:t>Efficient</a:t>
            </a:r>
          </a:p>
          <a:p>
            <a:pPr algn="l"/>
            <a:r>
              <a:rPr lang="en-US" sz="1600" dirty="0">
                <a:solidFill>
                  <a:schemeClr val="accent1"/>
                </a:solidFill>
              </a:rPr>
              <a:t>Faster deployment, reduced patching, and </a:t>
            </a:r>
            <a:br>
              <a:rPr lang="en-US" sz="1600" dirty="0">
                <a:solidFill>
                  <a:schemeClr val="accent1"/>
                </a:solidFill>
              </a:rPr>
            </a:br>
            <a:r>
              <a:rPr lang="en-US" sz="1600" dirty="0">
                <a:solidFill>
                  <a:schemeClr val="accent1"/>
                </a:solidFill>
              </a:rPr>
              <a:t>less downtime</a:t>
            </a:r>
          </a:p>
          <a:p>
            <a:pPr algn="l"/>
            <a:endParaRPr lang="en-US" sz="1600" dirty="0">
              <a:solidFill>
                <a:schemeClr val="accent1"/>
              </a:solidFill>
            </a:endParaRPr>
          </a:p>
        </p:txBody>
      </p:sp>
      <p:sp>
        <p:nvSpPr>
          <p:cNvPr id="24" name="TextBox 23">
            <a:extLst>
              <a:ext uri="{FF2B5EF4-FFF2-40B4-BE49-F238E27FC236}">
                <a16:creationId xmlns:a16="http://schemas.microsoft.com/office/drawing/2014/main" id="{8B73CA59-AD0B-471A-B50B-BB6166E8D0DF}"/>
              </a:ext>
            </a:extLst>
          </p:cNvPr>
          <p:cNvSpPr txBox="1"/>
          <p:nvPr/>
        </p:nvSpPr>
        <p:spPr>
          <a:xfrm>
            <a:off x="7402536" y="1321194"/>
            <a:ext cx="3014936" cy="215444"/>
          </a:xfrm>
          <a:prstGeom prst="rect">
            <a:avLst/>
          </a:prstGeom>
          <a:noFill/>
        </p:spPr>
        <p:txBody>
          <a:bodyPr wrap="square" lIns="0" tIns="0" rIns="0" bIns="0" rtlCol="0">
            <a:spAutoFit/>
          </a:bodyPr>
          <a:lstStyle/>
          <a:p>
            <a:pPr algn="ctr"/>
            <a:r>
              <a:rPr lang="en-US" sz="1400" b="1" dirty="0">
                <a:solidFill>
                  <a:schemeClr val="accent1"/>
                </a:solidFill>
              </a:rPr>
              <a:t>Container configuration</a:t>
            </a:r>
          </a:p>
        </p:txBody>
      </p:sp>
      <p:sp>
        <p:nvSpPr>
          <p:cNvPr id="25" name="Cylinder 812">
            <a:extLst>
              <a:ext uri="{FF2B5EF4-FFF2-40B4-BE49-F238E27FC236}">
                <a16:creationId xmlns:a16="http://schemas.microsoft.com/office/drawing/2014/main" id="{3D424405-E94E-44C6-A676-5B5E90393BEB}"/>
              </a:ext>
            </a:extLst>
          </p:cNvPr>
          <p:cNvSpPr/>
          <p:nvPr/>
        </p:nvSpPr>
        <p:spPr bwMode="auto">
          <a:xfrm>
            <a:off x="8629850" y="2125934"/>
            <a:ext cx="608862" cy="799902"/>
          </a:xfrm>
          <a:prstGeom prst="can">
            <a:avLst>
              <a:gd name="adj" fmla="val 39530"/>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4" rIns="0"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800" dirty="0">
                <a:solidFill>
                  <a:schemeClr val="tx2"/>
                </a:solidFill>
                <a:ea typeface="Segoe UI" pitchFamily="34" charset="0"/>
                <a:cs typeface="Segoe UI Semilight" panose="020B0402040204020203" pitchFamily="34" charset="0"/>
              </a:rPr>
              <a:t>Database</a:t>
            </a:r>
          </a:p>
        </p:txBody>
      </p:sp>
      <p:sp>
        <p:nvSpPr>
          <p:cNvPr id="26" name="Rectangle 25">
            <a:extLst>
              <a:ext uri="{FF2B5EF4-FFF2-40B4-BE49-F238E27FC236}">
                <a16:creationId xmlns:a16="http://schemas.microsoft.com/office/drawing/2014/main" id="{9B229649-EFED-4FC1-9C6E-F0552A6C81CC}"/>
              </a:ext>
            </a:extLst>
          </p:cNvPr>
          <p:cNvSpPr/>
          <p:nvPr/>
        </p:nvSpPr>
        <p:spPr bwMode="auto">
          <a:xfrm>
            <a:off x="6854052" y="1636955"/>
            <a:ext cx="4111907" cy="153063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7" name="TextBox 26">
            <a:extLst>
              <a:ext uri="{FF2B5EF4-FFF2-40B4-BE49-F238E27FC236}">
                <a16:creationId xmlns:a16="http://schemas.microsoft.com/office/drawing/2014/main" id="{CD200F81-F71E-4CE6-8686-A44D5FD5F79D}"/>
              </a:ext>
            </a:extLst>
          </p:cNvPr>
          <p:cNvSpPr txBox="1"/>
          <p:nvPr/>
        </p:nvSpPr>
        <p:spPr>
          <a:xfrm>
            <a:off x="8229492" y="1719247"/>
            <a:ext cx="1355884" cy="215444"/>
          </a:xfrm>
          <a:prstGeom prst="rect">
            <a:avLst/>
          </a:prstGeom>
          <a:noFill/>
        </p:spPr>
        <p:txBody>
          <a:bodyPr wrap="none" lIns="0" tIns="0" rIns="0" bIns="0" rtlCol="0">
            <a:spAutoFit/>
          </a:bodyPr>
          <a:lstStyle/>
          <a:p>
            <a:pPr algn="l"/>
            <a:r>
              <a:rPr lang="en-US" sz="1400" dirty="0">
                <a:solidFill>
                  <a:schemeClr val="accent1"/>
                </a:solidFill>
              </a:rPr>
              <a:t>Persisted storage</a:t>
            </a:r>
          </a:p>
        </p:txBody>
      </p:sp>
      <p:sp>
        <p:nvSpPr>
          <p:cNvPr id="28" name="TextBox 27">
            <a:extLst>
              <a:ext uri="{FF2B5EF4-FFF2-40B4-BE49-F238E27FC236}">
                <a16:creationId xmlns:a16="http://schemas.microsoft.com/office/drawing/2014/main" id="{71814971-CF4F-4C21-871F-762FF8F34E14}"/>
              </a:ext>
            </a:extLst>
          </p:cNvPr>
          <p:cNvSpPr txBox="1"/>
          <p:nvPr/>
        </p:nvSpPr>
        <p:spPr>
          <a:xfrm>
            <a:off x="7641051" y="2556577"/>
            <a:ext cx="588442" cy="484648"/>
          </a:xfrm>
          <a:prstGeom prst="rect">
            <a:avLst/>
          </a:prstGeom>
          <a:noFill/>
        </p:spPr>
        <p:txBody>
          <a:bodyPr wrap="square" lIns="0" tIns="0" rIns="0" bIns="0" rtlCol="0">
            <a:spAutoFit/>
          </a:bodyPr>
          <a:lstStyle/>
          <a:p>
            <a:pPr algn="l"/>
            <a:r>
              <a:rPr lang="en-US" sz="1050" dirty="0">
                <a:solidFill>
                  <a:schemeClr val="accent1"/>
                </a:solidFill>
              </a:rPr>
              <a:t>Switch for </a:t>
            </a:r>
          </a:p>
          <a:p>
            <a:pPr algn="l"/>
            <a:r>
              <a:rPr lang="en-US" sz="1050" dirty="0">
                <a:solidFill>
                  <a:schemeClr val="accent1"/>
                </a:solidFill>
              </a:rPr>
              <a:t>simple upgrades</a:t>
            </a:r>
          </a:p>
        </p:txBody>
      </p:sp>
      <p:cxnSp>
        <p:nvCxnSpPr>
          <p:cNvPr id="29" name="Elbow Connector 5">
            <a:extLst>
              <a:ext uri="{FF2B5EF4-FFF2-40B4-BE49-F238E27FC236}">
                <a16:creationId xmlns:a16="http://schemas.microsoft.com/office/drawing/2014/main" id="{EDCE725E-98A6-45E2-8059-2ACFC7299794}"/>
              </a:ext>
            </a:extLst>
          </p:cNvPr>
          <p:cNvCxnSpPr>
            <a:stCxn id="25" idx="2"/>
            <a:endCxn id="7" idx="0"/>
          </p:cNvCxnSpPr>
          <p:nvPr/>
        </p:nvCxnSpPr>
        <p:spPr>
          <a:xfrm rot="10800000" flipV="1">
            <a:off x="7587516" y="2525885"/>
            <a:ext cx="1042334" cy="1273958"/>
          </a:xfrm>
          <a:prstGeom prst="bentConnector2">
            <a:avLst/>
          </a:prstGeom>
          <a:ln w="12700">
            <a:solidFill>
              <a:schemeClr val="accent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63B9112B-860F-453F-A920-B7FB9C48F444}"/>
              </a:ext>
            </a:extLst>
          </p:cNvPr>
          <p:cNvGrpSpPr/>
          <p:nvPr/>
        </p:nvGrpSpPr>
        <p:grpSpPr>
          <a:xfrm>
            <a:off x="523315" y="2802035"/>
            <a:ext cx="349876" cy="438691"/>
            <a:chOff x="13906501" y="3886200"/>
            <a:chExt cx="619125" cy="776287"/>
          </a:xfrm>
        </p:grpSpPr>
        <p:sp>
          <p:nvSpPr>
            <p:cNvPr id="31" name="Freeform 17">
              <a:extLst>
                <a:ext uri="{FF2B5EF4-FFF2-40B4-BE49-F238E27FC236}">
                  <a16:creationId xmlns:a16="http://schemas.microsoft.com/office/drawing/2014/main" id="{66DC7ABB-1F68-4016-8EB8-CDEA81139D4C}"/>
                </a:ext>
              </a:extLst>
            </p:cNvPr>
            <p:cNvSpPr>
              <a:spLocks/>
            </p:cNvSpPr>
            <p:nvPr/>
          </p:nvSpPr>
          <p:spPr bwMode="auto">
            <a:xfrm>
              <a:off x="14216063" y="3986213"/>
              <a:ext cx="309563" cy="595312"/>
            </a:xfrm>
            <a:custGeom>
              <a:avLst/>
              <a:gdLst>
                <a:gd name="T0" fmla="*/ 29 w 81"/>
                <a:gd name="T1" fmla="*/ 0 h 157"/>
                <a:gd name="T2" fmla="*/ 81 w 81"/>
                <a:gd name="T3" fmla="*/ 76 h 157"/>
                <a:gd name="T4" fmla="*/ 0 w 81"/>
                <a:gd name="T5" fmla="*/ 157 h 157"/>
              </a:gdLst>
              <a:ahLst/>
              <a:cxnLst>
                <a:cxn ang="0">
                  <a:pos x="T0" y="T1"/>
                </a:cxn>
                <a:cxn ang="0">
                  <a:pos x="T2" y="T3"/>
                </a:cxn>
                <a:cxn ang="0">
                  <a:pos x="T4" y="T5"/>
                </a:cxn>
              </a:cxnLst>
              <a:rect l="0" t="0" r="r" b="b"/>
              <a:pathLst>
                <a:path w="81" h="157">
                  <a:moveTo>
                    <a:pt x="29" y="0"/>
                  </a:moveTo>
                  <a:cubicBezTo>
                    <a:pt x="59" y="12"/>
                    <a:pt x="81" y="41"/>
                    <a:pt x="81" y="76"/>
                  </a:cubicBezTo>
                  <a:cubicBezTo>
                    <a:pt x="81" y="121"/>
                    <a:pt x="45" y="157"/>
                    <a:pt x="0" y="157"/>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1506" eaLnBrk="0" fontAlgn="base" hangingPunct="0">
                <a:spcBef>
                  <a:spcPct val="0"/>
                </a:spcBef>
                <a:spcAft>
                  <a:spcPct val="0"/>
                </a:spcAft>
                <a:defRPr/>
              </a:pPr>
              <a:endParaRPr lang="en-US" sz="1800" kern="0" dirty="0">
                <a:solidFill>
                  <a:srgbClr val="FFFFFF"/>
                </a:solidFill>
                <a:latin typeface="Segoe UI" panose="020B0502040204020203" pitchFamily="34" charset="0"/>
                <a:ea typeface="MS PGothic" panose="020B0600070205080204" pitchFamily="34" charset="-128"/>
              </a:endParaRPr>
            </a:p>
          </p:txBody>
        </p:sp>
        <p:sp>
          <p:nvSpPr>
            <p:cNvPr id="32" name="Freeform 18">
              <a:extLst>
                <a:ext uri="{FF2B5EF4-FFF2-40B4-BE49-F238E27FC236}">
                  <a16:creationId xmlns:a16="http://schemas.microsoft.com/office/drawing/2014/main" id="{F0E4F453-76FF-47CD-8F0D-A1EFD8D2F546}"/>
                </a:ext>
              </a:extLst>
            </p:cNvPr>
            <p:cNvSpPr>
              <a:spLocks/>
            </p:cNvSpPr>
            <p:nvPr/>
          </p:nvSpPr>
          <p:spPr bwMode="auto">
            <a:xfrm>
              <a:off x="13906501" y="3967163"/>
              <a:ext cx="309563" cy="596900"/>
            </a:xfrm>
            <a:custGeom>
              <a:avLst/>
              <a:gdLst>
                <a:gd name="T0" fmla="*/ 52 w 81"/>
                <a:gd name="T1" fmla="*/ 157 h 157"/>
                <a:gd name="T2" fmla="*/ 0 w 81"/>
                <a:gd name="T3" fmla="*/ 81 h 157"/>
                <a:gd name="T4" fmla="*/ 81 w 81"/>
                <a:gd name="T5" fmla="*/ 0 h 157"/>
              </a:gdLst>
              <a:ahLst/>
              <a:cxnLst>
                <a:cxn ang="0">
                  <a:pos x="T0" y="T1"/>
                </a:cxn>
                <a:cxn ang="0">
                  <a:pos x="T2" y="T3"/>
                </a:cxn>
                <a:cxn ang="0">
                  <a:pos x="T4" y="T5"/>
                </a:cxn>
              </a:cxnLst>
              <a:rect l="0" t="0" r="r" b="b"/>
              <a:pathLst>
                <a:path w="81" h="157">
                  <a:moveTo>
                    <a:pt x="52" y="157"/>
                  </a:moveTo>
                  <a:cubicBezTo>
                    <a:pt x="21" y="145"/>
                    <a:pt x="0" y="116"/>
                    <a:pt x="0" y="81"/>
                  </a:cubicBezTo>
                  <a:cubicBezTo>
                    <a:pt x="0" y="36"/>
                    <a:pt x="36" y="0"/>
                    <a:pt x="81" y="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1506" eaLnBrk="0" fontAlgn="base" hangingPunct="0">
                <a:spcBef>
                  <a:spcPct val="0"/>
                </a:spcBef>
                <a:spcAft>
                  <a:spcPct val="0"/>
                </a:spcAft>
                <a:defRPr/>
              </a:pPr>
              <a:endParaRPr lang="en-US" sz="1800" kern="0" dirty="0">
                <a:solidFill>
                  <a:srgbClr val="FFFFFF"/>
                </a:solidFill>
                <a:latin typeface="Segoe UI" panose="020B0502040204020203" pitchFamily="34" charset="0"/>
                <a:ea typeface="MS PGothic" panose="020B0600070205080204" pitchFamily="34" charset="-128"/>
              </a:endParaRPr>
            </a:p>
          </p:txBody>
        </p:sp>
        <p:sp>
          <p:nvSpPr>
            <p:cNvPr id="33" name="Line 19">
              <a:extLst>
                <a:ext uri="{FF2B5EF4-FFF2-40B4-BE49-F238E27FC236}">
                  <a16:creationId xmlns:a16="http://schemas.microsoft.com/office/drawing/2014/main" id="{41DC8943-D192-4CAA-9E4C-D0E4B58C27B6}"/>
                </a:ext>
              </a:extLst>
            </p:cNvPr>
            <p:cNvSpPr>
              <a:spLocks noChangeShapeType="1"/>
            </p:cNvSpPr>
            <p:nvPr/>
          </p:nvSpPr>
          <p:spPr bwMode="auto">
            <a:xfrm>
              <a:off x="14216063" y="4221163"/>
              <a:ext cx="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1506" eaLnBrk="0" fontAlgn="base" hangingPunct="0">
                <a:spcBef>
                  <a:spcPct val="0"/>
                </a:spcBef>
                <a:spcAft>
                  <a:spcPct val="0"/>
                </a:spcAft>
                <a:defRPr/>
              </a:pPr>
              <a:endParaRPr lang="en-US" sz="1800" kern="0" dirty="0">
                <a:solidFill>
                  <a:srgbClr val="FFFFFF"/>
                </a:solidFill>
                <a:latin typeface="Segoe UI" panose="020B0502040204020203" pitchFamily="34" charset="0"/>
                <a:ea typeface="MS PGothic" panose="020B0600070205080204" pitchFamily="34" charset="-128"/>
              </a:endParaRPr>
            </a:p>
          </p:txBody>
        </p:sp>
        <p:sp>
          <p:nvSpPr>
            <p:cNvPr id="34" name="Freeform 20">
              <a:extLst>
                <a:ext uri="{FF2B5EF4-FFF2-40B4-BE49-F238E27FC236}">
                  <a16:creationId xmlns:a16="http://schemas.microsoft.com/office/drawing/2014/main" id="{5EAE7BD0-6A8E-434E-A386-700A090E155E}"/>
                </a:ext>
              </a:extLst>
            </p:cNvPr>
            <p:cNvSpPr>
              <a:spLocks/>
            </p:cNvSpPr>
            <p:nvPr/>
          </p:nvSpPr>
          <p:spPr bwMode="auto">
            <a:xfrm>
              <a:off x="14177963" y="3886200"/>
              <a:ext cx="76200" cy="160337"/>
            </a:xfrm>
            <a:custGeom>
              <a:avLst/>
              <a:gdLst>
                <a:gd name="T0" fmla="*/ 0 w 48"/>
                <a:gd name="T1" fmla="*/ 101 h 101"/>
                <a:gd name="T2" fmla="*/ 48 w 48"/>
                <a:gd name="T3" fmla="*/ 51 h 101"/>
                <a:gd name="T4" fmla="*/ 0 w 48"/>
                <a:gd name="T5" fmla="*/ 0 h 101"/>
              </a:gdLst>
              <a:ahLst/>
              <a:cxnLst>
                <a:cxn ang="0">
                  <a:pos x="T0" y="T1"/>
                </a:cxn>
                <a:cxn ang="0">
                  <a:pos x="T2" y="T3"/>
                </a:cxn>
                <a:cxn ang="0">
                  <a:pos x="T4" y="T5"/>
                </a:cxn>
              </a:cxnLst>
              <a:rect l="0" t="0" r="r" b="b"/>
              <a:pathLst>
                <a:path w="48" h="101">
                  <a:moveTo>
                    <a:pt x="0" y="101"/>
                  </a:moveTo>
                  <a:lnTo>
                    <a:pt x="48" y="51"/>
                  </a:lnTo>
                  <a:lnTo>
                    <a:pt x="0"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1506" eaLnBrk="0" fontAlgn="base" hangingPunct="0">
                <a:spcBef>
                  <a:spcPct val="0"/>
                </a:spcBef>
                <a:spcAft>
                  <a:spcPct val="0"/>
                </a:spcAft>
                <a:defRPr/>
              </a:pPr>
              <a:endParaRPr lang="en-US" sz="1800" kern="0" dirty="0">
                <a:solidFill>
                  <a:srgbClr val="FFFFFF"/>
                </a:solidFill>
                <a:latin typeface="Segoe UI" panose="020B0502040204020203" pitchFamily="34" charset="0"/>
                <a:ea typeface="MS PGothic" panose="020B0600070205080204" pitchFamily="34" charset="-128"/>
              </a:endParaRPr>
            </a:p>
          </p:txBody>
        </p:sp>
        <p:sp>
          <p:nvSpPr>
            <p:cNvPr id="35" name="Line 21">
              <a:extLst>
                <a:ext uri="{FF2B5EF4-FFF2-40B4-BE49-F238E27FC236}">
                  <a16:creationId xmlns:a16="http://schemas.microsoft.com/office/drawing/2014/main" id="{657B730D-73EC-4C25-BEA9-75647F96CF13}"/>
                </a:ext>
              </a:extLst>
            </p:cNvPr>
            <p:cNvSpPr>
              <a:spLocks noChangeShapeType="1"/>
            </p:cNvSpPr>
            <p:nvPr/>
          </p:nvSpPr>
          <p:spPr bwMode="auto">
            <a:xfrm>
              <a:off x="14216063" y="3967163"/>
              <a:ext cx="3810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1506" eaLnBrk="0" fontAlgn="base" hangingPunct="0">
                <a:spcBef>
                  <a:spcPct val="0"/>
                </a:spcBef>
                <a:spcAft>
                  <a:spcPct val="0"/>
                </a:spcAft>
                <a:defRPr/>
              </a:pPr>
              <a:endParaRPr lang="en-US" sz="1800" kern="0" dirty="0">
                <a:solidFill>
                  <a:srgbClr val="FFFFFF"/>
                </a:solidFill>
                <a:latin typeface="Segoe UI" panose="020B0502040204020203" pitchFamily="34" charset="0"/>
                <a:ea typeface="MS PGothic" panose="020B0600070205080204" pitchFamily="34" charset="-128"/>
              </a:endParaRPr>
            </a:p>
          </p:txBody>
        </p:sp>
        <p:sp>
          <p:nvSpPr>
            <p:cNvPr id="36" name="Freeform 22">
              <a:extLst>
                <a:ext uri="{FF2B5EF4-FFF2-40B4-BE49-F238E27FC236}">
                  <a16:creationId xmlns:a16="http://schemas.microsoft.com/office/drawing/2014/main" id="{1AE5E43F-FAC4-4828-A6E3-23F32CF52A87}"/>
                </a:ext>
              </a:extLst>
            </p:cNvPr>
            <p:cNvSpPr>
              <a:spLocks/>
            </p:cNvSpPr>
            <p:nvPr/>
          </p:nvSpPr>
          <p:spPr bwMode="auto">
            <a:xfrm>
              <a:off x="14177963" y="4502150"/>
              <a:ext cx="76200" cy="160337"/>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1506" eaLnBrk="0" fontAlgn="base" hangingPunct="0">
                <a:spcBef>
                  <a:spcPct val="0"/>
                </a:spcBef>
                <a:spcAft>
                  <a:spcPct val="0"/>
                </a:spcAft>
                <a:defRPr/>
              </a:pPr>
              <a:endParaRPr lang="en-US" sz="1800" kern="0" dirty="0">
                <a:solidFill>
                  <a:srgbClr val="FFFFFF"/>
                </a:solidFill>
                <a:latin typeface="Segoe UI" panose="020B0502040204020203" pitchFamily="34" charset="0"/>
                <a:ea typeface="MS PGothic" panose="020B0600070205080204" pitchFamily="34" charset="-128"/>
              </a:endParaRPr>
            </a:p>
          </p:txBody>
        </p:sp>
        <p:sp>
          <p:nvSpPr>
            <p:cNvPr id="37" name="Line 23">
              <a:extLst>
                <a:ext uri="{FF2B5EF4-FFF2-40B4-BE49-F238E27FC236}">
                  <a16:creationId xmlns:a16="http://schemas.microsoft.com/office/drawing/2014/main" id="{D4037741-C096-4964-981B-A5C33536181B}"/>
                </a:ext>
              </a:extLst>
            </p:cNvPr>
            <p:cNvSpPr>
              <a:spLocks noChangeShapeType="1"/>
            </p:cNvSpPr>
            <p:nvPr/>
          </p:nvSpPr>
          <p:spPr bwMode="auto">
            <a:xfrm flipH="1">
              <a:off x="14177963" y="4581525"/>
              <a:ext cx="3810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1506" eaLnBrk="0" fontAlgn="base" hangingPunct="0">
                <a:spcBef>
                  <a:spcPct val="0"/>
                </a:spcBef>
                <a:spcAft>
                  <a:spcPct val="0"/>
                </a:spcAft>
                <a:defRPr/>
              </a:pPr>
              <a:endParaRPr lang="en-US" sz="1800" kern="0" dirty="0">
                <a:solidFill>
                  <a:srgbClr val="FFFFFF"/>
                </a:solidFill>
                <a:latin typeface="Segoe UI" panose="020B0502040204020203" pitchFamily="34" charset="0"/>
                <a:ea typeface="MS PGothic" panose="020B0600070205080204" pitchFamily="34" charset="-128"/>
              </a:endParaRPr>
            </a:p>
          </p:txBody>
        </p:sp>
      </p:grpSp>
      <p:grpSp>
        <p:nvGrpSpPr>
          <p:cNvPr id="38" name="Group 37">
            <a:extLst>
              <a:ext uri="{FF2B5EF4-FFF2-40B4-BE49-F238E27FC236}">
                <a16:creationId xmlns:a16="http://schemas.microsoft.com/office/drawing/2014/main" id="{EB8D1E95-73A0-40C0-A7C0-C82FB1116A22}"/>
              </a:ext>
            </a:extLst>
          </p:cNvPr>
          <p:cNvGrpSpPr/>
          <p:nvPr/>
        </p:nvGrpSpPr>
        <p:grpSpPr>
          <a:xfrm>
            <a:off x="509324" y="3581583"/>
            <a:ext cx="377858" cy="377856"/>
            <a:chOff x="2335756" y="3558618"/>
            <a:chExt cx="318744" cy="318742"/>
          </a:xfrm>
        </p:grpSpPr>
        <p:sp>
          <p:nvSpPr>
            <p:cNvPr id="39" name="Freeform 22">
              <a:extLst>
                <a:ext uri="{FF2B5EF4-FFF2-40B4-BE49-F238E27FC236}">
                  <a16:creationId xmlns:a16="http://schemas.microsoft.com/office/drawing/2014/main" id="{B9E605E0-EC13-464E-BE80-85F4D315786F}"/>
                </a:ext>
              </a:extLst>
            </p:cNvPr>
            <p:cNvSpPr>
              <a:spLocks/>
            </p:cNvSpPr>
            <p:nvPr/>
          </p:nvSpPr>
          <p:spPr bwMode="auto">
            <a:xfrm>
              <a:off x="2494292" y="3632444"/>
              <a:ext cx="63671" cy="121673"/>
            </a:xfrm>
            <a:custGeom>
              <a:avLst/>
              <a:gdLst>
                <a:gd name="T0" fmla="*/ 0 w 146"/>
                <a:gd name="T1" fmla="*/ 0 h 279"/>
                <a:gd name="T2" fmla="*/ 0 w 146"/>
                <a:gd name="T3" fmla="*/ 196 h 279"/>
                <a:gd name="T4" fmla="*/ 146 w 146"/>
                <a:gd name="T5" fmla="*/ 279 h 279"/>
              </a:gdLst>
              <a:ahLst/>
              <a:cxnLst>
                <a:cxn ang="0">
                  <a:pos x="T0" y="T1"/>
                </a:cxn>
                <a:cxn ang="0">
                  <a:pos x="T2" y="T3"/>
                </a:cxn>
                <a:cxn ang="0">
                  <a:pos x="T4" y="T5"/>
                </a:cxn>
              </a:cxnLst>
              <a:rect l="0" t="0" r="r" b="b"/>
              <a:pathLst>
                <a:path w="146" h="279">
                  <a:moveTo>
                    <a:pt x="0" y="0"/>
                  </a:moveTo>
                  <a:lnTo>
                    <a:pt x="0" y="196"/>
                  </a:lnTo>
                  <a:lnTo>
                    <a:pt x="146" y="279"/>
                  </a:lnTo>
                </a:path>
              </a:pathLst>
            </a:cu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sp>
          <p:nvSpPr>
            <p:cNvPr id="40" name="Oval 39">
              <a:extLst>
                <a:ext uri="{FF2B5EF4-FFF2-40B4-BE49-F238E27FC236}">
                  <a16:creationId xmlns:a16="http://schemas.microsoft.com/office/drawing/2014/main" id="{8FEF6C1A-AD27-40C3-B203-E8812479EF8D}"/>
                </a:ext>
              </a:extLst>
            </p:cNvPr>
            <p:cNvSpPr/>
            <p:nvPr/>
          </p:nvSpPr>
          <p:spPr bwMode="auto">
            <a:xfrm>
              <a:off x="2335756" y="3558618"/>
              <a:ext cx="318744" cy="318742"/>
            </a:xfrm>
            <a:prstGeom prst="ellips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grpSp>
      <p:sp>
        <p:nvSpPr>
          <p:cNvPr id="41" name="arrow_24">
            <a:extLst>
              <a:ext uri="{FF2B5EF4-FFF2-40B4-BE49-F238E27FC236}">
                <a16:creationId xmlns:a16="http://schemas.microsoft.com/office/drawing/2014/main" id="{4DC6598F-C4DE-4358-B2AF-C5C002575A83}"/>
              </a:ext>
            </a:extLst>
          </p:cNvPr>
          <p:cNvSpPr>
            <a:spLocks noChangeAspect="1" noEditPoints="1"/>
          </p:cNvSpPr>
          <p:nvPr/>
        </p:nvSpPr>
        <p:spPr bwMode="auto">
          <a:xfrm>
            <a:off x="523314" y="1401416"/>
            <a:ext cx="399858" cy="305374"/>
          </a:xfrm>
          <a:custGeom>
            <a:avLst/>
            <a:gdLst>
              <a:gd name="T0" fmla="*/ 55 w 237"/>
              <a:gd name="T1" fmla="*/ 91 h 181"/>
              <a:gd name="T2" fmla="*/ 237 w 237"/>
              <a:gd name="T3" fmla="*/ 91 h 181"/>
              <a:gd name="T4" fmla="*/ 201 w 237"/>
              <a:gd name="T5" fmla="*/ 134 h 181"/>
              <a:gd name="T6" fmla="*/ 237 w 237"/>
              <a:gd name="T7" fmla="*/ 91 h 181"/>
              <a:gd name="T8" fmla="*/ 201 w 237"/>
              <a:gd name="T9" fmla="*/ 47 h 181"/>
              <a:gd name="T10" fmla="*/ 0 w 237"/>
              <a:gd name="T11" fmla="*/ 0 h 181"/>
              <a:gd name="T12" fmla="*/ 0 w 237"/>
              <a:gd name="T13" fmla="*/ 181 h 181"/>
              <a:gd name="T14" fmla="*/ 149 w 237"/>
              <a:gd name="T15" fmla="*/ 181 h 181"/>
              <a:gd name="T16" fmla="*/ 149 w 237"/>
              <a:gd name="T17" fmla="*/ 0 h 181"/>
              <a:gd name="T18" fmla="*/ 0 w 237"/>
              <a:gd name="T19" fmla="*/ 0 h 181"/>
              <a:gd name="T20" fmla="*/ 0 w 237"/>
              <a:gd name="T21"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7" h="181">
                <a:moveTo>
                  <a:pt x="55" y="91"/>
                </a:moveTo>
                <a:lnTo>
                  <a:pt x="237" y="91"/>
                </a:lnTo>
                <a:moveTo>
                  <a:pt x="201" y="134"/>
                </a:moveTo>
                <a:lnTo>
                  <a:pt x="237" y="91"/>
                </a:lnTo>
                <a:lnTo>
                  <a:pt x="201" y="47"/>
                </a:lnTo>
                <a:moveTo>
                  <a:pt x="0" y="0"/>
                </a:moveTo>
                <a:lnTo>
                  <a:pt x="0" y="181"/>
                </a:lnTo>
                <a:lnTo>
                  <a:pt x="149" y="181"/>
                </a:lnTo>
                <a:lnTo>
                  <a:pt x="149" y="0"/>
                </a:lnTo>
                <a:lnTo>
                  <a:pt x="0" y="0"/>
                </a:lnTo>
                <a:lnTo>
                  <a:pt x="0"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1800" dirty="0"/>
          </a:p>
        </p:txBody>
      </p:sp>
      <p:pic>
        <p:nvPicPr>
          <p:cNvPr id="42" name="Picture 41">
            <a:extLst>
              <a:ext uri="{FF2B5EF4-FFF2-40B4-BE49-F238E27FC236}">
                <a16:creationId xmlns:a16="http://schemas.microsoft.com/office/drawing/2014/main" id="{D64FF969-E80C-4D3F-A7A1-06F05CF69A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9546" y="2087893"/>
            <a:ext cx="393645" cy="419040"/>
          </a:xfrm>
          <a:prstGeom prst="rect">
            <a:avLst/>
          </a:prstGeom>
        </p:spPr>
      </p:pic>
      <p:cxnSp>
        <p:nvCxnSpPr>
          <p:cNvPr id="43" name="Straight Arrow Connector 42">
            <a:extLst>
              <a:ext uri="{FF2B5EF4-FFF2-40B4-BE49-F238E27FC236}">
                <a16:creationId xmlns:a16="http://schemas.microsoft.com/office/drawing/2014/main" id="{86857419-694A-4F19-93A6-F7E452E9FEFE}"/>
              </a:ext>
            </a:extLst>
          </p:cNvPr>
          <p:cNvCxnSpPr>
            <a:cxnSpLocks/>
          </p:cNvCxnSpPr>
          <p:nvPr/>
        </p:nvCxnSpPr>
        <p:spPr>
          <a:xfrm flipV="1">
            <a:off x="8910004" y="2945410"/>
            <a:ext cx="0" cy="837505"/>
          </a:xfrm>
          <a:prstGeom prst="straightConnector1">
            <a:avLst/>
          </a:prstGeom>
          <a:ln w="12700">
            <a:solidFill>
              <a:schemeClr val="accent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pic>
        <p:nvPicPr>
          <p:cNvPr id="44" name="Picture 43" descr="A close up of a sign&#10;&#10;Description automatically generated">
            <a:extLst>
              <a:ext uri="{FF2B5EF4-FFF2-40B4-BE49-F238E27FC236}">
                <a16:creationId xmlns:a16="http://schemas.microsoft.com/office/drawing/2014/main" id="{BAE509EB-C892-4046-9EF8-ECFD565117E0}"/>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953444" y="4610765"/>
            <a:ext cx="3445727" cy="1751200"/>
          </a:xfrm>
          <a:prstGeom prst="rect">
            <a:avLst/>
          </a:prstGeom>
        </p:spPr>
      </p:pic>
    </p:spTree>
    <p:extLst>
      <p:ext uri="{BB962C8B-B14F-4D97-AF65-F5344CB8AC3E}">
        <p14:creationId xmlns:p14="http://schemas.microsoft.com/office/powerpoint/2010/main" val="5164929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500"/>
                                  </p:stCondLst>
                                  <p:childTnLst>
                                    <p:set>
                                      <p:cBhvr>
                                        <p:cTn id="6" dur="1" fill="hold">
                                          <p:stCondLst>
                                            <p:cond delay="0"/>
                                          </p:stCondLst>
                                        </p:cTn>
                                        <p:tgtEl>
                                          <p:spTgt spid="43"/>
                                        </p:tgtEl>
                                        <p:attrNameLst>
                                          <p:attrName>style.visibility</p:attrName>
                                        </p:attrNameLst>
                                      </p:cBhvr>
                                      <p:to>
                                        <p:strVal val="visible"/>
                                      </p:to>
                                    </p:set>
                                    <p:animEffect transition="in" filter="wipe(down)">
                                      <p:cBhvr>
                                        <p:cTn id="7" dur="1000"/>
                                        <p:tgtEl>
                                          <p:spTgt spid="43"/>
                                        </p:tgtEl>
                                      </p:cBhvr>
                                    </p:animEffect>
                                  </p:childTnLst>
                                </p:cTn>
                              </p:par>
                            </p:childTnLst>
                          </p:cTn>
                        </p:par>
                        <p:par>
                          <p:cTn id="8" fill="hold">
                            <p:stCondLst>
                              <p:cond delay="1500"/>
                            </p:stCondLst>
                            <p:childTnLst>
                              <p:par>
                                <p:cTn id="9" presetID="1"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8"/>
                                        </p:tgtEl>
                                        <p:attrNameLst>
                                          <p:attrName>style.visibility</p:attrName>
                                        </p:attrNameLst>
                                      </p:cBhvr>
                                      <p:to>
                                        <p:strVal val="visible"/>
                                      </p:to>
                                    </p:set>
                                  </p:childTnLst>
                                </p:cTn>
                              </p:par>
                              <p:par>
                                <p:cTn id="13" presetID="22" presetClass="entr" presetSubtype="1" fill="hold" nodeType="withEffect">
                                  <p:stCondLst>
                                    <p:cond delay="0"/>
                                  </p:stCondLst>
                                  <p:childTnLst>
                                    <p:set>
                                      <p:cBhvr>
                                        <p:cTn id="14" dur="1" fill="hold">
                                          <p:stCondLst>
                                            <p:cond delay="0"/>
                                          </p:stCondLst>
                                        </p:cTn>
                                        <p:tgtEl>
                                          <p:spTgt spid="29"/>
                                        </p:tgtEl>
                                        <p:attrNameLst>
                                          <p:attrName>style.visibility</p:attrName>
                                        </p:attrNameLst>
                                      </p:cBhvr>
                                      <p:to>
                                        <p:strVal val="visible"/>
                                      </p:to>
                                    </p:set>
                                    <p:animEffect transition="in" filter="wipe(up)">
                                      <p:cBhvr>
                                        <p:cTn id="15" dur="500"/>
                                        <p:tgtEl>
                                          <p:spTgt spid="29"/>
                                        </p:tgtEl>
                                      </p:cBhvr>
                                    </p:animEffect>
                                  </p:childTnLst>
                                </p:cTn>
                              </p:par>
                              <p:par>
                                <p:cTn id="16" presetID="9" presetClass="emph" presetSubtype="0" nodeType="withEffect">
                                  <p:stCondLst>
                                    <p:cond delay="0"/>
                                  </p:stCondLst>
                                  <p:childTnLst>
                                    <p:set>
                                      <p:cBhvr>
                                        <p:cTn id="17" dur="indefinite"/>
                                        <p:tgtEl>
                                          <p:spTgt spid="9"/>
                                        </p:tgtEl>
                                        <p:attrNameLst>
                                          <p:attrName>style.opacity</p:attrName>
                                        </p:attrNameLst>
                                      </p:cBhvr>
                                      <p:to>
                                        <p:strVal val="0.25"/>
                                      </p:to>
                                    </p:set>
                                    <p:animEffect filter="image" prLst="opacity: 0.25">
                                      <p:cBhvr rctx="IE">
                                        <p:cTn id="18" dur="indefinite"/>
                                        <p:tgtEl>
                                          <p:spTgt spid="9"/>
                                        </p:tgtEl>
                                      </p:cBhvr>
                                    </p:animEffect>
                                  </p:childTnLst>
                                </p:cTn>
                              </p:par>
                              <p:par>
                                <p:cTn id="19" presetID="22" presetClass="exit" presetSubtype="1" fill="hold" nodeType="withEffect">
                                  <p:stCondLst>
                                    <p:cond delay="0"/>
                                  </p:stCondLst>
                                  <p:childTnLst>
                                    <p:animEffect transition="out" filter="wipe(up)">
                                      <p:cBhvr>
                                        <p:cTn id="20" dur="500"/>
                                        <p:tgtEl>
                                          <p:spTgt spid="43"/>
                                        </p:tgtEl>
                                      </p:cBhvr>
                                    </p:animEffect>
                                    <p:set>
                                      <p:cBhvr>
                                        <p:cTn id="21" dur="1" fill="hold">
                                          <p:stCondLst>
                                            <p:cond delay="499"/>
                                          </p:stCondLst>
                                        </p:cTn>
                                        <p:tgtEl>
                                          <p:spTgt spid="43"/>
                                        </p:tgtEl>
                                        <p:attrNameLst>
                                          <p:attrName>style.visibility</p:attrName>
                                        </p:attrNameLst>
                                      </p:cBhvr>
                                      <p:to>
                                        <p:strVal val="hidden"/>
                                      </p:to>
                                    </p:set>
                                  </p:childTnLst>
                                </p:cTn>
                              </p:par>
                              <p:par>
                                <p:cTn id="22" presetID="1" presetClass="entr" presetSubtype="0" fill="hold" grpId="0" nodeType="withEffect">
                                  <p:stCondLst>
                                    <p:cond delay="0"/>
                                  </p:stCondLst>
                                  <p:childTnLst>
                                    <p:set>
                                      <p:cBhvr>
                                        <p:cTn id="23"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8" grpId="0"/>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19A2FE-8CC5-4777-ACCD-80A364F2B966}"/>
              </a:ext>
            </a:extLst>
          </p:cNvPr>
          <p:cNvSpPr>
            <a:spLocks noGrp="1"/>
          </p:cNvSpPr>
          <p:nvPr>
            <p:ph type="title"/>
          </p:nvPr>
        </p:nvSpPr>
        <p:spPr/>
        <p:txBody>
          <a:bodyPr/>
          <a:lstStyle/>
          <a:p>
            <a:r>
              <a:rPr lang="en-US" dirty="0"/>
              <a:t>Containers Explained</a:t>
            </a:r>
          </a:p>
        </p:txBody>
      </p:sp>
      <p:graphicFrame>
        <p:nvGraphicFramePr>
          <p:cNvPr id="4" name="Diagram 3">
            <a:extLst>
              <a:ext uri="{FF2B5EF4-FFF2-40B4-BE49-F238E27FC236}">
                <a16:creationId xmlns:a16="http://schemas.microsoft.com/office/drawing/2014/main" id="{58232748-CA48-44BD-810D-647BA61293B1}"/>
              </a:ext>
            </a:extLst>
          </p:cNvPr>
          <p:cNvGraphicFramePr/>
          <p:nvPr>
            <p:extLst>
              <p:ext uri="{D42A27DB-BD31-4B8C-83A1-F6EECF244321}">
                <p14:modId xmlns:p14="http://schemas.microsoft.com/office/powerpoint/2010/main" val="3810793505"/>
              </p:ext>
            </p:extLst>
          </p:nvPr>
        </p:nvGraphicFramePr>
        <p:xfrm>
          <a:off x="586740" y="1717288"/>
          <a:ext cx="11136909" cy="46835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5" name="Diagram 4">
            <a:extLst>
              <a:ext uri="{FF2B5EF4-FFF2-40B4-BE49-F238E27FC236}">
                <a16:creationId xmlns:a16="http://schemas.microsoft.com/office/drawing/2014/main" id="{28C5BCF4-F4F2-42AB-AB1D-C1EF4637206A}"/>
              </a:ext>
            </a:extLst>
          </p:cNvPr>
          <p:cNvGraphicFramePr/>
          <p:nvPr>
            <p:extLst>
              <p:ext uri="{D42A27DB-BD31-4B8C-83A1-F6EECF244321}">
                <p14:modId xmlns:p14="http://schemas.microsoft.com/office/powerpoint/2010/main" val="3434343635"/>
              </p:ext>
            </p:extLst>
          </p:nvPr>
        </p:nvGraphicFramePr>
        <p:xfrm>
          <a:off x="7196255" y="104078"/>
          <a:ext cx="4527394" cy="133071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6" name="Rectangle 5">
            <a:extLst>
              <a:ext uri="{FF2B5EF4-FFF2-40B4-BE49-F238E27FC236}">
                <a16:creationId xmlns:a16="http://schemas.microsoft.com/office/drawing/2014/main" id="{FE9401D3-768A-4894-9F4D-48AB264717A6}"/>
              </a:ext>
            </a:extLst>
          </p:cNvPr>
          <p:cNvSpPr/>
          <p:nvPr/>
        </p:nvSpPr>
        <p:spPr bwMode="auto">
          <a:xfrm>
            <a:off x="2862146" y="2416097"/>
            <a:ext cx="1129991" cy="341971"/>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135631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
                                            <p:graphicEl>
                                              <a:dgm id="{58E0E3DC-DE7B-4306-B6DE-99EFD7E06822}"/>
                                            </p:graphic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graphicEl>
                                              <a:dgm id="{CB54E232-A062-433F-8704-9A51A4E20B78}"/>
                                            </p:graphic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graphicEl>
                                              <a:dgm id="{1D8D2521-0363-4DBB-BE31-514C0BE79BBD}"/>
                                            </p:graphic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
                                            <p:graphicEl>
                                              <a:dgm id="{00F54136-19DD-4DE9-949D-37C7111CF126}"/>
                                            </p:graphic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
                                            <p:graphicEl>
                                              <a:dgm id="{EBAF74BD-8F95-4592-97C5-9142AFBD2189}"/>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uiExpand="1">
        <p:bldSub>
          <a:bldDgm bld="one"/>
        </p:bldSub>
      </p:bldGraphic>
      <p:bldGraphic spid="5" grpId="0">
        <p:bldAsOne/>
      </p:bldGraphic>
      <p:bldP spid="6"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586740" y="222716"/>
            <a:ext cx="11018520" cy="553998"/>
          </a:xfrm>
        </p:spPr>
        <p:txBody>
          <a:bodyPr/>
          <a:lstStyle/>
          <a:p>
            <a:r>
              <a:rPr lang="en-US" dirty="0"/>
              <a:t>SQL Server Images</a:t>
            </a:r>
          </a:p>
        </p:txBody>
      </p:sp>
      <p:sp>
        <p:nvSpPr>
          <p:cNvPr id="6" name="Text Placeholder 5"/>
          <p:cNvSpPr>
            <a:spLocks noGrp="1"/>
          </p:cNvSpPr>
          <p:nvPr>
            <p:ph type="body" sz="quarter" idx="10"/>
          </p:nvPr>
        </p:nvSpPr>
        <p:spPr>
          <a:xfrm>
            <a:off x="586740" y="873157"/>
            <a:ext cx="11018520" cy="5453801"/>
          </a:xfrm>
        </p:spPr>
        <p:txBody>
          <a:bodyPr/>
          <a:lstStyle/>
          <a:p>
            <a:r>
              <a:rPr lang="en-US" dirty="0"/>
              <a:t>Public Registries</a:t>
            </a:r>
          </a:p>
          <a:p>
            <a:pPr lvl="1"/>
            <a:r>
              <a:rPr lang="en-US" dirty="0"/>
              <a:t>Docker Hub (</a:t>
            </a:r>
            <a:r>
              <a:rPr lang="en-US" dirty="0">
                <a:hlinkClick r:id="rId3"/>
              </a:rPr>
              <a:t>https://hub.docker.com</a:t>
            </a:r>
            <a:r>
              <a:rPr lang="en-US" dirty="0"/>
              <a:t>)</a:t>
            </a:r>
          </a:p>
          <a:p>
            <a:pPr lvl="1"/>
            <a:r>
              <a:rPr lang="en-US" dirty="0"/>
              <a:t>Red Hat Container Catalog (</a:t>
            </a:r>
            <a:r>
              <a:rPr lang="en-US" dirty="0">
                <a:hlinkClick r:id="rId4"/>
              </a:rPr>
              <a:t>https://access.redhat.com/containers</a:t>
            </a:r>
            <a:r>
              <a:rPr lang="en-US" dirty="0"/>
              <a:t>)</a:t>
            </a:r>
          </a:p>
          <a:p>
            <a:pPr lvl="1"/>
            <a:r>
              <a:rPr lang="en-US" dirty="0"/>
              <a:t>The Microsoft Container Registry (</a:t>
            </a:r>
            <a:r>
              <a:rPr lang="en-US" dirty="0">
                <a:hlinkClick r:id="rId5"/>
              </a:rPr>
              <a:t>mcr.microsoft.com</a:t>
            </a:r>
            <a:r>
              <a:rPr lang="en-US" dirty="0"/>
              <a:t>)</a:t>
            </a:r>
          </a:p>
          <a:p>
            <a:endParaRPr lang="en-US" dirty="0"/>
          </a:p>
          <a:p>
            <a:r>
              <a:rPr lang="en-US" dirty="0"/>
              <a:t>SQL Server 2017</a:t>
            </a:r>
          </a:p>
          <a:p>
            <a:pPr lvl="1"/>
            <a:r>
              <a:rPr lang="en-US" dirty="0"/>
              <a:t>Ubuntu based Images</a:t>
            </a:r>
          </a:p>
          <a:p>
            <a:pPr lvl="1"/>
            <a:r>
              <a:rPr lang="en-US" dirty="0"/>
              <a:t>RTM plus each CU and GDR has separate image</a:t>
            </a:r>
          </a:p>
          <a:p>
            <a:pPr lvl="1"/>
            <a:r>
              <a:rPr lang="en-US" dirty="0"/>
              <a:t>Includes mssql-server and mssql-tools packages</a:t>
            </a:r>
          </a:p>
          <a:p>
            <a:endParaRPr lang="en-US" dirty="0"/>
          </a:p>
          <a:p>
            <a:r>
              <a:rPr lang="en-US" dirty="0"/>
              <a:t>SQL Server 2019 Preview images</a:t>
            </a:r>
          </a:p>
          <a:p>
            <a:pPr lvl="1"/>
            <a:r>
              <a:rPr lang="en-US" dirty="0"/>
              <a:t>Ubuntu and RHEL based images</a:t>
            </a:r>
          </a:p>
          <a:p>
            <a:pPr lvl="1"/>
            <a:r>
              <a:rPr lang="en-US" dirty="0"/>
              <a:t>Includes mssql-server and mssql-tools</a:t>
            </a:r>
          </a:p>
        </p:txBody>
      </p:sp>
      <p:graphicFrame>
        <p:nvGraphicFramePr>
          <p:cNvPr id="3" name="Diagram 2">
            <a:extLst>
              <a:ext uri="{FF2B5EF4-FFF2-40B4-BE49-F238E27FC236}">
                <a16:creationId xmlns:a16="http://schemas.microsoft.com/office/drawing/2014/main" id="{875B29BD-31E4-4F3C-A22B-B83DF6D187FC}"/>
              </a:ext>
            </a:extLst>
          </p:cNvPr>
          <p:cNvGraphicFramePr/>
          <p:nvPr>
            <p:extLst/>
          </p:nvPr>
        </p:nvGraphicFramePr>
        <p:xfrm>
          <a:off x="9186236" y="322865"/>
          <a:ext cx="2887696" cy="621227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2" name="Arrow: Curved Up 1">
            <a:extLst>
              <a:ext uri="{FF2B5EF4-FFF2-40B4-BE49-F238E27FC236}">
                <a16:creationId xmlns:a16="http://schemas.microsoft.com/office/drawing/2014/main" id="{5ED3CBD0-5AA9-467C-8E58-9243A1E7FF9A}"/>
              </a:ext>
            </a:extLst>
          </p:cNvPr>
          <p:cNvSpPr/>
          <p:nvPr/>
        </p:nvSpPr>
        <p:spPr bwMode="auto">
          <a:xfrm rot="5400000">
            <a:off x="-132303" y="1641637"/>
            <a:ext cx="1055914" cy="555172"/>
          </a:xfrm>
          <a:prstGeom prst="curvedUp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7" name="Arrow: Curved Up 6">
            <a:extLst>
              <a:ext uri="{FF2B5EF4-FFF2-40B4-BE49-F238E27FC236}">
                <a16:creationId xmlns:a16="http://schemas.microsoft.com/office/drawing/2014/main" id="{293557B7-E214-4A58-8556-58A7220B1CDD}"/>
              </a:ext>
            </a:extLst>
          </p:cNvPr>
          <p:cNvSpPr/>
          <p:nvPr/>
        </p:nvSpPr>
        <p:spPr bwMode="auto">
          <a:xfrm rot="5400000">
            <a:off x="258311" y="1717150"/>
            <a:ext cx="447685" cy="555173"/>
          </a:xfrm>
          <a:prstGeom prst="curvedUp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Tree>
    <p:extLst>
      <p:ext uri="{BB962C8B-B14F-4D97-AF65-F5344CB8AC3E}">
        <p14:creationId xmlns:p14="http://schemas.microsoft.com/office/powerpoint/2010/main" val="424724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586742" y="207099"/>
            <a:ext cx="11018520" cy="553998"/>
          </a:xfrm>
        </p:spPr>
        <p:txBody>
          <a:bodyPr/>
          <a:lstStyle/>
          <a:p>
            <a:r>
              <a:rPr lang="en-US" dirty="0"/>
              <a:t>Running a SQL Server Container</a:t>
            </a:r>
          </a:p>
        </p:txBody>
      </p:sp>
      <p:sp>
        <p:nvSpPr>
          <p:cNvPr id="6" name="Text Placeholder 5"/>
          <p:cNvSpPr>
            <a:spLocks noGrp="1"/>
          </p:cNvSpPr>
          <p:nvPr>
            <p:ph type="body" sz="quarter" idx="10"/>
          </p:nvPr>
        </p:nvSpPr>
        <p:spPr>
          <a:xfrm>
            <a:off x="586739" y="987945"/>
            <a:ext cx="11018520" cy="5613845"/>
          </a:xfrm>
        </p:spPr>
        <p:txBody>
          <a:bodyPr/>
          <a:lstStyle/>
          <a:p>
            <a:r>
              <a:rPr lang="en-US" sz="2400" b="1" dirty="0"/>
              <a:t>sudo docker run</a:t>
            </a:r>
          </a:p>
          <a:p>
            <a:endParaRPr lang="en-US" sz="2400" b="1" dirty="0"/>
          </a:p>
          <a:p>
            <a:r>
              <a:rPr lang="en-US" sz="2000" b="1" dirty="0"/>
              <a:t> </a:t>
            </a:r>
            <a:r>
              <a:rPr lang="en-US" sz="2000" dirty="0"/>
              <a:t>-e 'ACCEPT_EULA=Y' -e 'MSSQL_SA_PASSWORD=Sql2017isfast’ </a:t>
            </a:r>
          </a:p>
          <a:p>
            <a:endParaRPr lang="en-US" sz="2000" dirty="0"/>
          </a:p>
          <a:p>
            <a:r>
              <a:rPr lang="en-US" sz="2000" dirty="0"/>
              <a:t>-p 1401:1433 </a:t>
            </a:r>
          </a:p>
          <a:p>
            <a:endParaRPr lang="en-US" sz="2000" dirty="0"/>
          </a:p>
          <a:p>
            <a:r>
              <a:rPr lang="en-US" sz="2000" dirty="0"/>
              <a:t>-v sqlvolume:/var/opt/mssql</a:t>
            </a:r>
          </a:p>
          <a:p>
            <a:endParaRPr lang="en-US" sz="2000" dirty="0"/>
          </a:p>
          <a:p>
            <a:r>
              <a:rPr lang="en-US" sz="2000" dirty="0"/>
              <a:t>--hostname sql1 </a:t>
            </a:r>
          </a:p>
          <a:p>
            <a:endParaRPr lang="en-US" sz="2000" dirty="0"/>
          </a:p>
          <a:p>
            <a:r>
              <a:rPr lang="en-US" sz="2000" dirty="0"/>
              <a:t>--name sql1 </a:t>
            </a:r>
          </a:p>
          <a:p>
            <a:endParaRPr lang="en-US" sz="2000" dirty="0"/>
          </a:p>
          <a:p>
            <a:r>
              <a:rPr lang="en-US" sz="2000" dirty="0"/>
              <a:t>-d</a:t>
            </a:r>
          </a:p>
          <a:p>
            <a:endParaRPr lang="en-US" sz="2000" dirty="0"/>
          </a:p>
          <a:p>
            <a:r>
              <a:rPr lang="en-US" sz="2000" dirty="0"/>
              <a:t>mcr.microsoft.com/mssql/server:2017-CU8</a:t>
            </a:r>
          </a:p>
        </p:txBody>
      </p:sp>
      <p:sp>
        <p:nvSpPr>
          <p:cNvPr id="2" name="Thought Bubble: Cloud 1">
            <a:extLst>
              <a:ext uri="{FF2B5EF4-FFF2-40B4-BE49-F238E27FC236}">
                <a16:creationId xmlns:a16="http://schemas.microsoft.com/office/drawing/2014/main" id="{86526EBE-1A04-4E60-A0F0-2644FA6C341F}"/>
              </a:ext>
            </a:extLst>
          </p:cNvPr>
          <p:cNvSpPr/>
          <p:nvPr/>
        </p:nvSpPr>
        <p:spPr bwMode="auto">
          <a:xfrm>
            <a:off x="7943655" y="353411"/>
            <a:ext cx="3195484" cy="1042220"/>
          </a:xfrm>
          <a:prstGeom prst="cloudCallout">
            <a:avLst>
              <a:gd name="adj1" fmla="val -108525"/>
              <a:gd name="adj2" fmla="val 95519"/>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hlinkClick r:id="rId3"/>
              </a:rPr>
              <a:t>environment variables </a:t>
            </a:r>
            <a:r>
              <a:rPr lang="en-US" sz="1600" dirty="0">
                <a:gradFill>
                  <a:gsLst>
                    <a:gs pos="40075">
                      <a:srgbClr val="FFFFFF"/>
                    </a:gs>
                    <a:gs pos="30000">
                      <a:srgbClr val="FFFFFF"/>
                    </a:gs>
                  </a:gsLst>
                  <a:lin ang="5400000" scaled="0"/>
                </a:gradFill>
              </a:rPr>
              <a:t>(Ex. enable SQLAgent)</a:t>
            </a:r>
          </a:p>
        </p:txBody>
      </p:sp>
      <p:sp>
        <p:nvSpPr>
          <p:cNvPr id="5" name="Thought Bubble: Cloud 4">
            <a:extLst>
              <a:ext uri="{FF2B5EF4-FFF2-40B4-BE49-F238E27FC236}">
                <a16:creationId xmlns:a16="http://schemas.microsoft.com/office/drawing/2014/main" id="{784045C8-5FE0-4ED2-B185-F08DC4489F6C}"/>
              </a:ext>
            </a:extLst>
          </p:cNvPr>
          <p:cNvSpPr/>
          <p:nvPr/>
        </p:nvSpPr>
        <p:spPr bwMode="auto">
          <a:xfrm>
            <a:off x="8612764" y="2063773"/>
            <a:ext cx="3195484" cy="1042220"/>
          </a:xfrm>
          <a:prstGeom prst="cloudCallout">
            <a:avLst>
              <a:gd name="adj1" fmla="val -251842"/>
              <a:gd name="adj2" fmla="val 7017"/>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Your app connects to port 1401</a:t>
            </a:r>
          </a:p>
        </p:txBody>
      </p:sp>
      <p:sp>
        <p:nvSpPr>
          <p:cNvPr id="7" name="Thought Bubble: Cloud 6">
            <a:extLst>
              <a:ext uri="{FF2B5EF4-FFF2-40B4-BE49-F238E27FC236}">
                <a16:creationId xmlns:a16="http://schemas.microsoft.com/office/drawing/2014/main" id="{F62A6FBB-4E1F-4775-ABD0-4718243C75E4}"/>
              </a:ext>
            </a:extLst>
          </p:cNvPr>
          <p:cNvSpPr/>
          <p:nvPr/>
        </p:nvSpPr>
        <p:spPr bwMode="auto">
          <a:xfrm>
            <a:off x="8610936" y="3172073"/>
            <a:ext cx="3289441" cy="1159869"/>
          </a:xfrm>
          <a:prstGeom prst="cloudCallout">
            <a:avLst>
              <a:gd name="adj1" fmla="val -192285"/>
              <a:gd name="adj2" fmla="val -25592"/>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Map default directory to host volume for persisted storage</a:t>
            </a:r>
          </a:p>
        </p:txBody>
      </p:sp>
      <p:sp>
        <p:nvSpPr>
          <p:cNvPr id="8" name="Thought Bubble: Cloud 7">
            <a:extLst>
              <a:ext uri="{FF2B5EF4-FFF2-40B4-BE49-F238E27FC236}">
                <a16:creationId xmlns:a16="http://schemas.microsoft.com/office/drawing/2014/main" id="{CB5AB940-7CB7-4A73-B175-CE6C6E9FA1C7}"/>
              </a:ext>
            </a:extLst>
          </p:cNvPr>
          <p:cNvSpPr/>
          <p:nvPr/>
        </p:nvSpPr>
        <p:spPr bwMode="auto">
          <a:xfrm>
            <a:off x="5189920" y="4729380"/>
            <a:ext cx="3195484" cy="422510"/>
          </a:xfrm>
          <a:prstGeom prst="cloudCallout">
            <a:avLst>
              <a:gd name="adj1" fmla="val -164146"/>
              <a:gd name="adj2" fmla="val -32652"/>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Use with docker client</a:t>
            </a:r>
          </a:p>
        </p:txBody>
      </p:sp>
      <p:sp>
        <p:nvSpPr>
          <p:cNvPr id="9" name="Thought Bubble: Cloud 8">
            <a:extLst>
              <a:ext uri="{FF2B5EF4-FFF2-40B4-BE49-F238E27FC236}">
                <a16:creationId xmlns:a16="http://schemas.microsoft.com/office/drawing/2014/main" id="{12E1DD41-01B5-40C4-B576-A6A4A5835EBF}"/>
              </a:ext>
            </a:extLst>
          </p:cNvPr>
          <p:cNvSpPr/>
          <p:nvPr/>
        </p:nvSpPr>
        <p:spPr bwMode="auto">
          <a:xfrm>
            <a:off x="6655332" y="5230640"/>
            <a:ext cx="4726877" cy="637405"/>
          </a:xfrm>
          <a:prstGeom prst="cloudCallout">
            <a:avLst>
              <a:gd name="adj1" fmla="val -170147"/>
              <a:gd name="adj2" fmla="val 19325"/>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Run process in background. Remove this to debug</a:t>
            </a:r>
          </a:p>
        </p:txBody>
      </p:sp>
      <p:sp>
        <p:nvSpPr>
          <p:cNvPr id="10" name="Thought Bubble: Cloud 9">
            <a:extLst>
              <a:ext uri="{FF2B5EF4-FFF2-40B4-BE49-F238E27FC236}">
                <a16:creationId xmlns:a16="http://schemas.microsoft.com/office/drawing/2014/main" id="{B65AEDD7-8A6B-40A8-A064-0E969B92BC9A}"/>
              </a:ext>
            </a:extLst>
          </p:cNvPr>
          <p:cNvSpPr/>
          <p:nvPr/>
        </p:nvSpPr>
        <p:spPr bwMode="auto">
          <a:xfrm>
            <a:off x="9235382" y="5946796"/>
            <a:ext cx="2517436" cy="637405"/>
          </a:xfrm>
          <a:prstGeom prst="cloudCallout">
            <a:avLst>
              <a:gd name="adj1" fmla="val -203261"/>
              <a:gd name="adj2" fmla="val 21201"/>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SQL Server 2017 CU8 image</a:t>
            </a:r>
          </a:p>
        </p:txBody>
      </p:sp>
      <p:sp>
        <p:nvSpPr>
          <p:cNvPr id="11" name="Thought Bubble: Cloud 10">
            <a:extLst>
              <a:ext uri="{FF2B5EF4-FFF2-40B4-BE49-F238E27FC236}">
                <a16:creationId xmlns:a16="http://schemas.microsoft.com/office/drawing/2014/main" id="{53F7EDE2-4CBB-420F-84B4-D46FE2E5093C}"/>
              </a:ext>
            </a:extLst>
          </p:cNvPr>
          <p:cNvSpPr/>
          <p:nvPr/>
        </p:nvSpPr>
        <p:spPr bwMode="auto">
          <a:xfrm>
            <a:off x="5558134" y="3825184"/>
            <a:ext cx="2635706" cy="637405"/>
          </a:xfrm>
          <a:prstGeom prst="cloudCallout">
            <a:avLst>
              <a:gd name="adj1" fmla="val -164602"/>
              <a:gd name="adj2" fmla="val 20218"/>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SERVERNAME</a:t>
            </a:r>
          </a:p>
        </p:txBody>
      </p:sp>
    </p:spTree>
    <p:extLst>
      <p:ext uri="{BB962C8B-B14F-4D97-AF65-F5344CB8AC3E}">
        <p14:creationId xmlns:p14="http://schemas.microsoft.com/office/powerpoint/2010/main" val="3118443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 grpId="0" animBg="1"/>
      <p:bldP spid="7" grpId="0" animBg="1"/>
      <p:bldP spid="8" grpId="0" animBg="1"/>
      <p:bldP spid="9" grpId="0" animBg="1"/>
      <p:bldP spid="10" grpId="0" animBg="1"/>
      <p:bldP spid="11"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How do I update a SQL Server Container?</a:t>
            </a:r>
          </a:p>
        </p:txBody>
      </p:sp>
      <p:sp>
        <p:nvSpPr>
          <p:cNvPr id="6" name="Text Placeholder 5"/>
          <p:cNvSpPr>
            <a:spLocks noGrp="1"/>
          </p:cNvSpPr>
          <p:nvPr>
            <p:ph type="body" sz="quarter" idx="10"/>
          </p:nvPr>
        </p:nvSpPr>
        <p:spPr>
          <a:xfrm>
            <a:off x="586389" y="1221657"/>
            <a:ext cx="11089795" cy="5244513"/>
          </a:xfrm>
        </p:spPr>
        <p:txBody>
          <a:bodyPr/>
          <a:lstStyle/>
          <a:p>
            <a:r>
              <a:rPr lang="en-US" sz="2400" dirty="0"/>
              <a:t>Interacting with Data	</a:t>
            </a:r>
          </a:p>
          <a:p>
            <a:r>
              <a:rPr lang="en-US" sz="2400" dirty="0"/>
              <a:t>	Use your normal T-SQL and app to modify data</a:t>
            </a:r>
          </a:p>
          <a:p>
            <a:r>
              <a:rPr lang="en-US" sz="2400" dirty="0"/>
              <a:t>	</a:t>
            </a:r>
            <a:r>
              <a:rPr lang="en-US" sz="2400" i="1" dirty="0"/>
              <a:t>Copy</a:t>
            </a:r>
            <a:r>
              <a:rPr lang="en-US" sz="2400" dirty="0"/>
              <a:t> into the container a database backup and restore it</a:t>
            </a:r>
          </a:p>
          <a:p>
            <a:r>
              <a:rPr lang="en-US" sz="2400" dirty="0"/>
              <a:t>	Use volumes or your changes will be lost if container removed</a:t>
            </a:r>
          </a:p>
          <a:p>
            <a:endParaRPr lang="en-US" sz="2400" dirty="0"/>
          </a:p>
          <a:p>
            <a:endParaRPr lang="en-US" sz="2400" dirty="0"/>
          </a:p>
          <a:p>
            <a:endParaRPr lang="en-US" sz="2400" dirty="0"/>
          </a:p>
          <a:p>
            <a:r>
              <a:rPr lang="en-US" sz="2400" dirty="0"/>
              <a:t>Configuration changes for SQL Server</a:t>
            </a:r>
          </a:p>
          <a:p>
            <a:r>
              <a:rPr lang="en-US" sz="2400" dirty="0"/>
              <a:t>	Use the </a:t>
            </a:r>
            <a:r>
              <a:rPr lang="en-US" sz="2400" dirty="0">
                <a:hlinkClick r:id="rId3"/>
              </a:rPr>
              <a:t>environment variables </a:t>
            </a:r>
            <a:r>
              <a:rPr lang="en-US" sz="2400" dirty="0"/>
              <a:t>(mssql-conf)	</a:t>
            </a:r>
          </a:p>
          <a:p>
            <a:r>
              <a:rPr lang="en-US" sz="2400" dirty="0"/>
              <a:t>	Modify the container directly</a:t>
            </a:r>
          </a:p>
          <a:p>
            <a:r>
              <a:rPr lang="en-US" sz="2400" dirty="0"/>
              <a:t>	Build a new image with your scripts to make changes</a:t>
            </a:r>
          </a:p>
          <a:p>
            <a:r>
              <a:rPr lang="en-US" sz="2400" dirty="0"/>
              <a:t>	</a:t>
            </a:r>
          </a:p>
        </p:txBody>
      </p:sp>
      <p:sp>
        <p:nvSpPr>
          <p:cNvPr id="4" name="Rectangle: Rounded Corners 3">
            <a:extLst>
              <a:ext uri="{FF2B5EF4-FFF2-40B4-BE49-F238E27FC236}">
                <a16:creationId xmlns:a16="http://schemas.microsoft.com/office/drawing/2014/main" id="{C2D79883-8795-4B2C-A9A5-369892E0CF46}"/>
              </a:ext>
            </a:extLst>
          </p:cNvPr>
          <p:cNvSpPr/>
          <p:nvPr/>
        </p:nvSpPr>
        <p:spPr bwMode="auto">
          <a:xfrm>
            <a:off x="8001288" y="4757906"/>
            <a:ext cx="3942735" cy="820659"/>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sp_configure</a:t>
            </a:r>
          </a:p>
          <a:p>
            <a:pPr algn="ctr" defTabSz="932472" fontAlgn="base">
              <a:spcBef>
                <a:spcPct val="0"/>
              </a:spcBef>
              <a:spcAft>
                <a:spcPct val="0"/>
              </a:spcAft>
            </a:pPr>
            <a:r>
              <a:rPr lang="en-US" sz="1600" dirty="0">
                <a:gradFill>
                  <a:gsLst>
                    <a:gs pos="40075">
                      <a:srgbClr val="FFFFFF"/>
                    </a:gs>
                    <a:gs pos="30000">
                      <a:srgbClr val="FFFFFF"/>
                    </a:gs>
                  </a:gsLst>
                  <a:lin ang="5400000" scaled="0"/>
                </a:gradFill>
              </a:rPr>
              <a:t>ALTER SERVER CONFIGURATION</a:t>
            </a:r>
          </a:p>
        </p:txBody>
      </p:sp>
      <p:cxnSp>
        <p:nvCxnSpPr>
          <p:cNvPr id="8" name="Straight Arrow Connector 7">
            <a:extLst>
              <a:ext uri="{FF2B5EF4-FFF2-40B4-BE49-F238E27FC236}">
                <a16:creationId xmlns:a16="http://schemas.microsoft.com/office/drawing/2014/main" id="{4131B1D5-D595-48E4-BA51-FCE9DF5019E0}"/>
              </a:ext>
            </a:extLst>
          </p:cNvPr>
          <p:cNvCxnSpPr>
            <a:cxnSpLocks/>
          </p:cNvCxnSpPr>
          <p:nvPr/>
        </p:nvCxnSpPr>
        <p:spPr>
          <a:xfrm flipV="1">
            <a:off x="5466302" y="5168235"/>
            <a:ext cx="2534986" cy="273733"/>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8916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6">
                                            <p:txEl>
                                              <p:pRg st="9" end="9"/>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6">
                                            <p:txEl>
                                              <p:pRg st="10" end="10"/>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6">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Building your own image</a:t>
            </a:r>
          </a:p>
        </p:txBody>
      </p:sp>
      <p:sp>
        <p:nvSpPr>
          <p:cNvPr id="6" name="Text Placeholder 5"/>
          <p:cNvSpPr>
            <a:spLocks noGrp="1"/>
          </p:cNvSpPr>
          <p:nvPr>
            <p:ph type="body" sz="quarter" idx="10"/>
          </p:nvPr>
        </p:nvSpPr>
        <p:spPr>
          <a:xfrm>
            <a:off x="586390" y="1434370"/>
            <a:ext cx="11018520" cy="1465016"/>
          </a:xfrm>
        </p:spPr>
        <p:txBody>
          <a:bodyPr/>
          <a:lstStyle/>
          <a:p>
            <a:r>
              <a:rPr lang="en-US" dirty="0"/>
              <a:t>FROM mcr.microsoft.com/mssql/server:2017-latest</a:t>
            </a:r>
          </a:p>
          <a:p>
            <a:r>
              <a:rPr lang="en-US" dirty="0"/>
              <a:t>COPY ./yourbackup.bak /var/opt/mssql/data/yourbackup.bak</a:t>
            </a:r>
          </a:p>
          <a:p>
            <a:r>
              <a:rPr lang="en-US" dirty="0"/>
              <a:t>CMD ["/opt/mssql/bin/sqlservr"]</a:t>
            </a:r>
          </a:p>
        </p:txBody>
      </p:sp>
      <p:sp>
        <p:nvSpPr>
          <p:cNvPr id="2" name="Thought Bubble: Cloud 1">
            <a:extLst>
              <a:ext uri="{FF2B5EF4-FFF2-40B4-BE49-F238E27FC236}">
                <a16:creationId xmlns:a16="http://schemas.microsoft.com/office/drawing/2014/main" id="{C49968AE-3A77-46CE-BCAB-C3C89ED4EB9F}"/>
              </a:ext>
            </a:extLst>
          </p:cNvPr>
          <p:cNvSpPr/>
          <p:nvPr/>
        </p:nvSpPr>
        <p:spPr bwMode="auto">
          <a:xfrm>
            <a:off x="8060671" y="328970"/>
            <a:ext cx="3989070" cy="682228"/>
          </a:xfrm>
          <a:prstGeom prst="cloudCallout">
            <a:avLst>
              <a:gd name="adj1" fmla="val -30174"/>
              <a:gd name="adj2" fmla="val 146475"/>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Then RESTORE the backup after you start the container</a:t>
            </a:r>
          </a:p>
        </p:txBody>
      </p:sp>
      <p:sp>
        <p:nvSpPr>
          <p:cNvPr id="5" name="Text Placeholder 5">
            <a:extLst>
              <a:ext uri="{FF2B5EF4-FFF2-40B4-BE49-F238E27FC236}">
                <a16:creationId xmlns:a16="http://schemas.microsoft.com/office/drawing/2014/main" id="{6B485D60-1BD4-4646-9634-80EBD81D71CF}"/>
              </a:ext>
            </a:extLst>
          </p:cNvPr>
          <p:cNvSpPr txBox="1">
            <a:spLocks/>
          </p:cNvSpPr>
          <p:nvPr/>
        </p:nvSpPr>
        <p:spPr>
          <a:xfrm>
            <a:off x="586390" y="4149090"/>
            <a:ext cx="11018520" cy="169892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dirty="0"/>
              <a:t>FROM mcr.microsoft.com/mssql/server:2017-latest</a:t>
            </a:r>
          </a:p>
          <a:p>
            <a:r>
              <a:rPr lang="en-US" sz="2400" dirty="0"/>
              <a:t>COPY . /</a:t>
            </a:r>
          </a:p>
          <a:p>
            <a:r>
              <a:rPr lang="en-US" sz="2400" dirty="0"/>
              <a:t>RUN chmod +x /db-init.sh</a:t>
            </a:r>
          </a:p>
          <a:p>
            <a:r>
              <a:rPr lang="en-US" sz="2400" dirty="0"/>
              <a:t>CMD /bin/bash ./entrypoint.sh</a:t>
            </a:r>
          </a:p>
        </p:txBody>
      </p:sp>
      <p:sp>
        <p:nvSpPr>
          <p:cNvPr id="4" name="Rectangle 3">
            <a:extLst>
              <a:ext uri="{FF2B5EF4-FFF2-40B4-BE49-F238E27FC236}">
                <a16:creationId xmlns:a16="http://schemas.microsoft.com/office/drawing/2014/main" id="{F0238086-BE84-434A-B5AC-FC332FDC6150}"/>
              </a:ext>
            </a:extLst>
          </p:cNvPr>
          <p:cNvSpPr/>
          <p:nvPr/>
        </p:nvSpPr>
        <p:spPr bwMode="auto">
          <a:xfrm>
            <a:off x="7691486" y="4690898"/>
            <a:ext cx="4150895" cy="654029"/>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defTabSz="932472" fontAlgn="base">
              <a:spcBef>
                <a:spcPct val="0"/>
              </a:spcBef>
              <a:spcAft>
                <a:spcPct val="0"/>
              </a:spcAft>
            </a:pPr>
            <a:r>
              <a:rPr lang="en-US" sz="1600" dirty="0">
                <a:gradFill>
                  <a:gsLst>
                    <a:gs pos="40075">
                      <a:srgbClr val="FFFFFF"/>
                    </a:gs>
                    <a:gs pos="30000">
                      <a:srgbClr val="FFFFFF"/>
                    </a:gs>
                  </a:gsLst>
                  <a:lin ang="5400000" scaled="0"/>
                </a:gradFill>
              </a:rPr>
              <a:t>sleep 15s</a:t>
            </a:r>
          </a:p>
          <a:p>
            <a:pPr defTabSz="932472" fontAlgn="base">
              <a:spcBef>
                <a:spcPct val="0"/>
              </a:spcBef>
              <a:spcAft>
                <a:spcPct val="0"/>
              </a:spcAft>
            </a:pPr>
            <a:r>
              <a:rPr lang="en-US" sz="1600" dirty="0">
                <a:gradFill>
                  <a:gsLst>
                    <a:gs pos="40075">
                      <a:srgbClr val="FFFFFF"/>
                    </a:gs>
                    <a:gs pos="30000">
                      <a:srgbClr val="FFFFFF"/>
                    </a:gs>
                  </a:gsLst>
                  <a:lin ang="5400000" scaled="0"/>
                </a:gradFill>
              </a:rPr>
              <a:t>/opt/mssql-tools/bin/sqlcmd –iddl.sql</a:t>
            </a:r>
          </a:p>
        </p:txBody>
      </p:sp>
      <p:sp>
        <p:nvSpPr>
          <p:cNvPr id="9" name="Rectangle 8">
            <a:extLst>
              <a:ext uri="{FF2B5EF4-FFF2-40B4-BE49-F238E27FC236}">
                <a16:creationId xmlns:a16="http://schemas.microsoft.com/office/drawing/2014/main" id="{91E06C9E-2058-4014-821A-2B6F02432894}"/>
              </a:ext>
            </a:extLst>
          </p:cNvPr>
          <p:cNvSpPr/>
          <p:nvPr/>
        </p:nvSpPr>
        <p:spPr bwMode="auto">
          <a:xfrm>
            <a:off x="7691486" y="5700692"/>
            <a:ext cx="4150895" cy="654029"/>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defTabSz="932472" fontAlgn="base">
              <a:spcBef>
                <a:spcPct val="0"/>
              </a:spcBef>
              <a:spcAft>
                <a:spcPct val="0"/>
              </a:spcAft>
            </a:pPr>
            <a:r>
              <a:rPr lang="en-US" sz="1600" dirty="0">
                <a:gradFill>
                  <a:gsLst>
                    <a:gs pos="40075">
                      <a:srgbClr val="FFFFFF"/>
                    </a:gs>
                    <a:gs pos="30000">
                      <a:srgbClr val="FFFFFF"/>
                    </a:gs>
                  </a:gsLst>
                  <a:lin ang="5400000" scaled="0"/>
                </a:gradFill>
              </a:rPr>
              <a:t> /db-init.sh &amp; /opt/mssql/bin/sqlservr</a:t>
            </a:r>
          </a:p>
        </p:txBody>
      </p:sp>
      <p:sp>
        <p:nvSpPr>
          <p:cNvPr id="10" name="Rectangle 9">
            <a:extLst>
              <a:ext uri="{FF2B5EF4-FFF2-40B4-BE49-F238E27FC236}">
                <a16:creationId xmlns:a16="http://schemas.microsoft.com/office/drawing/2014/main" id="{905D383B-488B-427B-A27F-6897F6F21CF0}"/>
              </a:ext>
            </a:extLst>
          </p:cNvPr>
          <p:cNvSpPr/>
          <p:nvPr/>
        </p:nvSpPr>
        <p:spPr bwMode="auto">
          <a:xfrm>
            <a:off x="7691486" y="3007040"/>
            <a:ext cx="4150895" cy="127534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defTabSz="932472" fontAlgn="base">
              <a:spcBef>
                <a:spcPct val="0"/>
              </a:spcBef>
              <a:spcAft>
                <a:spcPct val="0"/>
              </a:spcAft>
            </a:pPr>
            <a:r>
              <a:rPr lang="en-US" sz="1600" dirty="0">
                <a:gradFill>
                  <a:gsLst>
                    <a:gs pos="40075">
                      <a:srgbClr val="FFFFFF"/>
                    </a:gs>
                    <a:gs pos="30000">
                      <a:srgbClr val="FFFFFF"/>
                    </a:gs>
                  </a:gsLst>
                  <a:lin ang="5400000" scaled="0"/>
                </a:gradFill>
              </a:rPr>
              <a:t>CREATE DATABASE mydb</a:t>
            </a:r>
          </a:p>
          <a:p>
            <a:pPr defTabSz="932472" fontAlgn="base">
              <a:spcBef>
                <a:spcPct val="0"/>
              </a:spcBef>
              <a:spcAft>
                <a:spcPct val="0"/>
              </a:spcAft>
            </a:pPr>
            <a:r>
              <a:rPr lang="en-US" sz="1600" dirty="0">
                <a:gradFill>
                  <a:gsLst>
                    <a:gs pos="40075">
                      <a:srgbClr val="FFFFFF"/>
                    </a:gs>
                    <a:gs pos="30000">
                      <a:srgbClr val="FFFFFF"/>
                    </a:gs>
                  </a:gsLst>
                  <a:lin ang="5400000" scaled="0"/>
                </a:gradFill>
              </a:rPr>
              <a:t>GO</a:t>
            </a:r>
          </a:p>
          <a:p>
            <a:pPr defTabSz="932472" fontAlgn="base">
              <a:spcBef>
                <a:spcPct val="0"/>
              </a:spcBef>
              <a:spcAft>
                <a:spcPct val="0"/>
              </a:spcAft>
            </a:pPr>
            <a:r>
              <a:rPr lang="en-US" sz="1600" dirty="0">
                <a:gradFill>
                  <a:gsLst>
                    <a:gs pos="40075">
                      <a:srgbClr val="FFFFFF"/>
                    </a:gs>
                    <a:gs pos="30000">
                      <a:srgbClr val="FFFFFF"/>
                    </a:gs>
                  </a:gsLst>
                  <a:lin ang="5400000" scaled="0"/>
                </a:gradFill>
              </a:rPr>
              <a:t>CREATE TABLE mytable (….</a:t>
            </a:r>
          </a:p>
          <a:p>
            <a:pPr defTabSz="932472" fontAlgn="base">
              <a:spcBef>
                <a:spcPct val="0"/>
              </a:spcBef>
              <a:spcAft>
                <a:spcPct val="0"/>
              </a:spcAft>
            </a:pPr>
            <a:r>
              <a:rPr lang="en-US" sz="1600" dirty="0">
                <a:gradFill>
                  <a:gsLst>
                    <a:gs pos="40075">
                      <a:srgbClr val="FFFFFF"/>
                    </a:gs>
                    <a:gs pos="30000">
                      <a:srgbClr val="FFFFFF"/>
                    </a:gs>
                  </a:gsLst>
                  <a:lin ang="5400000" scaled="0"/>
                </a:gradFill>
              </a:rPr>
              <a:t>GO</a:t>
            </a:r>
          </a:p>
          <a:p>
            <a:pPr defTabSz="932472" fontAlgn="base">
              <a:spcBef>
                <a:spcPct val="0"/>
              </a:spcBef>
              <a:spcAft>
                <a:spcPct val="0"/>
              </a:spcAft>
            </a:pPr>
            <a:r>
              <a:rPr lang="en-US" sz="1600" dirty="0">
                <a:gradFill>
                  <a:gsLst>
                    <a:gs pos="40075">
                      <a:srgbClr val="FFFFFF"/>
                    </a:gs>
                    <a:gs pos="30000">
                      <a:srgbClr val="FFFFFF"/>
                    </a:gs>
                  </a:gsLst>
                  <a:lin ang="5400000" scaled="0"/>
                </a:gradFill>
              </a:rPr>
              <a:t>….</a:t>
            </a:r>
          </a:p>
        </p:txBody>
      </p:sp>
      <p:sp>
        <p:nvSpPr>
          <p:cNvPr id="8" name="TextBox 7">
            <a:extLst>
              <a:ext uri="{FF2B5EF4-FFF2-40B4-BE49-F238E27FC236}">
                <a16:creationId xmlns:a16="http://schemas.microsoft.com/office/drawing/2014/main" id="{6E05253D-811D-4B16-B2E4-EC0990792D08}"/>
              </a:ext>
            </a:extLst>
          </p:cNvPr>
          <p:cNvSpPr txBox="1"/>
          <p:nvPr/>
        </p:nvSpPr>
        <p:spPr>
          <a:xfrm>
            <a:off x="7689576" y="4357225"/>
            <a:ext cx="1072409"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db-init.sh</a:t>
            </a:r>
          </a:p>
        </p:txBody>
      </p:sp>
      <p:sp>
        <p:nvSpPr>
          <p:cNvPr id="12" name="TextBox 11">
            <a:extLst>
              <a:ext uri="{FF2B5EF4-FFF2-40B4-BE49-F238E27FC236}">
                <a16:creationId xmlns:a16="http://schemas.microsoft.com/office/drawing/2014/main" id="{59B34A1E-700E-4B13-AEE6-B7C6663EAFCC}"/>
              </a:ext>
            </a:extLst>
          </p:cNvPr>
          <p:cNvSpPr txBox="1"/>
          <p:nvPr/>
        </p:nvSpPr>
        <p:spPr>
          <a:xfrm>
            <a:off x="7692572" y="5368921"/>
            <a:ext cx="1497846"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entrypoint.sh</a:t>
            </a:r>
          </a:p>
        </p:txBody>
      </p:sp>
      <p:sp>
        <p:nvSpPr>
          <p:cNvPr id="13" name="TextBox 12">
            <a:extLst>
              <a:ext uri="{FF2B5EF4-FFF2-40B4-BE49-F238E27FC236}">
                <a16:creationId xmlns:a16="http://schemas.microsoft.com/office/drawing/2014/main" id="{E380F193-BCDD-48A5-B079-832BB29CE1C7}"/>
              </a:ext>
            </a:extLst>
          </p:cNvPr>
          <p:cNvSpPr txBox="1"/>
          <p:nvPr/>
        </p:nvSpPr>
        <p:spPr>
          <a:xfrm>
            <a:off x="7689576" y="2669153"/>
            <a:ext cx="742191"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ddl.sql</a:t>
            </a:r>
          </a:p>
        </p:txBody>
      </p:sp>
      <p:cxnSp>
        <p:nvCxnSpPr>
          <p:cNvPr id="18" name="Straight Connector 17">
            <a:extLst>
              <a:ext uri="{FF2B5EF4-FFF2-40B4-BE49-F238E27FC236}">
                <a16:creationId xmlns:a16="http://schemas.microsoft.com/office/drawing/2014/main" id="{2D3A9A42-017A-419E-90BB-2BF60E07F59A}"/>
              </a:ext>
            </a:extLst>
          </p:cNvPr>
          <p:cNvCxnSpPr>
            <a:cxnSpLocks/>
          </p:cNvCxnSpPr>
          <p:nvPr/>
        </p:nvCxnSpPr>
        <p:spPr>
          <a:xfrm>
            <a:off x="1970314" y="4859486"/>
            <a:ext cx="5308791"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81720BB-199C-444A-888B-39ACF2CCB7FD}"/>
              </a:ext>
            </a:extLst>
          </p:cNvPr>
          <p:cNvCxnSpPr>
            <a:cxnSpLocks/>
          </p:cNvCxnSpPr>
          <p:nvPr/>
        </p:nvCxnSpPr>
        <p:spPr>
          <a:xfrm>
            <a:off x="7279105" y="3112928"/>
            <a:ext cx="0" cy="3104147"/>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CC015F-C08E-4659-9E95-7D971B6F0D1A}"/>
              </a:ext>
            </a:extLst>
          </p:cNvPr>
          <p:cNvCxnSpPr>
            <a:cxnSpLocks/>
          </p:cNvCxnSpPr>
          <p:nvPr/>
        </p:nvCxnSpPr>
        <p:spPr>
          <a:xfrm>
            <a:off x="7279105" y="3112928"/>
            <a:ext cx="192506"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030C9141-FA55-4AE7-86C5-742596FA183F}"/>
              </a:ext>
            </a:extLst>
          </p:cNvPr>
          <p:cNvCxnSpPr>
            <a:cxnSpLocks/>
          </p:cNvCxnSpPr>
          <p:nvPr/>
        </p:nvCxnSpPr>
        <p:spPr>
          <a:xfrm>
            <a:off x="7279105" y="6217075"/>
            <a:ext cx="192506"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hought Bubble: Cloud 2">
            <a:extLst>
              <a:ext uri="{FF2B5EF4-FFF2-40B4-BE49-F238E27FC236}">
                <a16:creationId xmlns:a16="http://schemas.microsoft.com/office/drawing/2014/main" id="{3CA9F171-0585-4825-A6C5-2D23B80682BE}"/>
              </a:ext>
            </a:extLst>
          </p:cNvPr>
          <p:cNvSpPr/>
          <p:nvPr/>
        </p:nvSpPr>
        <p:spPr bwMode="auto">
          <a:xfrm>
            <a:off x="806116" y="3176336"/>
            <a:ext cx="6059523" cy="734952"/>
          </a:xfrm>
          <a:prstGeom prst="cloudCallout">
            <a:avLst>
              <a:gd name="adj1" fmla="val -6735"/>
              <a:gd name="adj2" fmla="val 73959"/>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800" dirty="0">
                <a:gradFill>
                  <a:gsLst>
                    <a:gs pos="40075">
                      <a:srgbClr val="FFFFFF"/>
                    </a:gs>
                    <a:gs pos="30000">
                      <a:srgbClr val="FFFFFF"/>
                    </a:gs>
                  </a:gsLst>
                  <a:lin ang="5400000" scaled="0"/>
                </a:gradFill>
              </a:rPr>
              <a:t>The “Vin Yu” method</a:t>
            </a:r>
          </a:p>
        </p:txBody>
      </p:sp>
      <p:sp>
        <p:nvSpPr>
          <p:cNvPr id="11" name="Rectangle 10">
            <a:extLst>
              <a:ext uri="{FF2B5EF4-FFF2-40B4-BE49-F238E27FC236}">
                <a16:creationId xmlns:a16="http://schemas.microsoft.com/office/drawing/2014/main" id="{042828C9-45F5-49F5-9961-620BFEBC3605}"/>
              </a:ext>
            </a:extLst>
          </p:cNvPr>
          <p:cNvSpPr/>
          <p:nvPr/>
        </p:nvSpPr>
        <p:spPr bwMode="auto">
          <a:xfrm>
            <a:off x="348919" y="4051423"/>
            <a:ext cx="6855747" cy="570262"/>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00C59F30-3FBA-4DE3-A1ED-D27F1C33388F}"/>
              </a:ext>
            </a:extLst>
          </p:cNvPr>
          <p:cNvSpPr/>
          <p:nvPr/>
        </p:nvSpPr>
        <p:spPr bwMode="auto">
          <a:xfrm>
            <a:off x="533763" y="1364443"/>
            <a:ext cx="7898004" cy="613579"/>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1" name="Group 20">
            <a:extLst>
              <a:ext uri="{FF2B5EF4-FFF2-40B4-BE49-F238E27FC236}">
                <a16:creationId xmlns:a16="http://schemas.microsoft.com/office/drawing/2014/main" id="{4E6191B3-A5BB-4C0B-BBF3-3BC0084B8FD7}"/>
              </a:ext>
            </a:extLst>
          </p:cNvPr>
          <p:cNvGrpSpPr/>
          <p:nvPr/>
        </p:nvGrpSpPr>
        <p:grpSpPr>
          <a:xfrm>
            <a:off x="533762" y="6012557"/>
            <a:ext cx="6188582" cy="409036"/>
            <a:chOff x="294691" y="3221050"/>
            <a:chExt cx="2298312" cy="1378987"/>
          </a:xfrm>
        </p:grpSpPr>
        <p:sp>
          <p:nvSpPr>
            <p:cNvPr id="22" name="Rectangle 21">
              <a:extLst>
                <a:ext uri="{FF2B5EF4-FFF2-40B4-BE49-F238E27FC236}">
                  <a16:creationId xmlns:a16="http://schemas.microsoft.com/office/drawing/2014/main" id="{98E3BB3E-B0D7-4A60-B506-48C0A776F4FF}"/>
                </a:ext>
              </a:extLst>
            </p:cNvPr>
            <p:cNvSpPr/>
            <p:nvPr/>
          </p:nvSpPr>
          <p:spPr>
            <a:xfrm>
              <a:off x="294691" y="3221050"/>
              <a:ext cx="2298312" cy="1378987"/>
            </a:xfrm>
            <a:prstGeom prst="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23" name="TextBox 22">
              <a:extLst>
                <a:ext uri="{FF2B5EF4-FFF2-40B4-BE49-F238E27FC236}">
                  <a16:creationId xmlns:a16="http://schemas.microsoft.com/office/drawing/2014/main" id="{23709F4E-E5E9-40D2-9518-7685322583E3}"/>
                </a:ext>
              </a:extLst>
            </p:cNvPr>
            <p:cNvSpPr txBox="1"/>
            <p:nvPr/>
          </p:nvSpPr>
          <p:spPr>
            <a:xfrm>
              <a:off x="294691" y="3221050"/>
              <a:ext cx="2298312" cy="137898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dirty="0">
                  <a:ea typeface="Segoe UI" pitchFamily="34" charset="0"/>
                  <a:cs typeface="Segoe UI" pitchFamily="34" charset="0"/>
                </a:rPr>
                <a:t>See </a:t>
              </a:r>
              <a:r>
                <a:rPr lang="en-US" sz="2500" kern="1200" dirty="0">
                  <a:ea typeface="Segoe UI" pitchFamily="34" charset="0"/>
                  <a:cs typeface="Segoe UI" pitchFamily="34" charset="0"/>
                  <a:hlinkClick r:id="rId3"/>
                </a:rPr>
                <a:t>here</a:t>
              </a:r>
              <a:r>
                <a:rPr lang="en-US" sz="2500" kern="1200" dirty="0">
                  <a:ea typeface="Segoe UI" pitchFamily="34" charset="0"/>
                  <a:cs typeface="Segoe UI" pitchFamily="34" charset="0"/>
                </a:rPr>
                <a:t> how to add other packages</a:t>
              </a:r>
              <a:endParaRPr lang="en-US" sz="2500" kern="1200" dirty="0"/>
            </a:p>
          </p:txBody>
        </p:sp>
      </p:grpSp>
      <p:sp>
        <p:nvSpPr>
          <p:cNvPr id="7" name="Rectangle 6">
            <a:extLst>
              <a:ext uri="{FF2B5EF4-FFF2-40B4-BE49-F238E27FC236}">
                <a16:creationId xmlns:a16="http://schemas.microsoft.com/office/drawing/2014/main" id="{CD9E3576-15B7-443C-9D86-128261362A25}"/>
              </a:ext>
            </a:extLst>
          </p:cNvPr>
          <p:cNvSpPr/>
          <p:nvPr/>
        </p:nvSpPr>
        <p:spPr bwMode="auto">
          <a:xfrm>
            <a:off x="10287000" y="1507331"/>
            <a:ext cx="1621631" cy="753571"/>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hlinkClick r:id="rId4"/>
              </a:rPr>
              <a:t>Docker compose</a:t>
            </a:r>
            <a:endParaRPr lang="en-US" sz="1600" dirty="0">
              <a:gradFill>
                <a:gsLst>
                  <a:gs pos="40075">
                    <a:srgbClr val="FFFFFF"/>
                  </a:gs>
                  <a:gs pos="30000">
                    <a:srgbClr val="FFFFFF"/>
                  </a:gs>
                </a:gsLst>
                <a:lin ang="5400000" scaled="0"/>
              </a:gradFill>
            </a:endParaRPr>
          </a:p>
        </p:txBody>
      </p:sp>
    </p:spTree>
    <p:extLst>
      <p:ext uri="{BB962C8B-B14F-4D97-AF65-F5344CB8AC3E}">
        <p14:creationId xmlns:p14="http://schemas.microsoft.com/office/powerpoint/2010/main" val="305593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childTnLst>
                          </p:cTn>
                        </p:par>
                        <p:par>
                          <p:cTn id="21" fill="hold">
                            <p:stCondLst>
                              <p:cond delay="0"/>
                            </p:stCondLst>
                            <p:childTnLst>
                              <p:par>
                                <p:cTn id="22" presetID="1" presetClass="entr" presetSubtype="0" fill="hold" grpId="0" nodeType="afterEffect">
                                  <p:stCondLst>
                                    <p:cond delay="0"/>
                                  </p:stCondLst>
                                  <p:childTnLst>
                                    <p:set>
                                      <p:cBhvr>
                                        <p:cTn id="23" dur="1" fill="hold">
                                          <p:stCondLst>
                                            <p:cond delay="0"/>
                                          </p:stCondLst>
                                        </p:cTn>
                                        <p:tgtEl>
                                          <p:spTgt spid="3"/>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nodeType="clickEffect">
                                  <p:stCondLst>
                                    <p:cond delay="0"/>
                                  </p:stCondLst>
                                  <p:childTnLst>
                                    <p:set>
                                      <p:cBhvr>
                                        <p:cTn id="27" dur="1" fill="hold">
                                          <p:stCondLst>
                                            <p:cond delay="0"/>
                                          </p:stCondLst>
                                        </p:cTn>
                                        <p:tgtEl>
                                          <p:spTgt spid="18"/>
                                        </p:tgtEl>
                                        <p:attrNameLst>
                                          <p:attrName>style.visibility</p:attrName>
                                        </p:attrNameLst>
                                      </p:cBhvr>
                                      <p:to>
                                        <p:strVal val="visible"/>
                                      </p:to>
                                    </p:set>
                                  </p:childTnLst>
                                </p:cTn>
                              </p:par>
                              <p:par>
                                <p:cTn id="28" presetID="1" presetClass="entr" presetSubtype="0" fill="hold" nodeType="withEffect">
                                  <p:stCondLst>
                                    <p:cond delay="0"/>
                                  </p:stCondLst>
                                  <p:childTnLst>
                                    <p:set>
                                      <p:cBhvr>
                                        <p:cTn id="29" dur="1" fill="hold">
                                          <p:stCondLst>
                                            <p:cond delay="0"/>
                                          </p:stCondLst>
                                        </p:cTn>
                                        <p:tgtEl>
                                          <p:spTgt spid="20"/>
                                        </p:tgtEl>
                                        <p:attrNameLst>
                                          <p:attrName>style.visibility</p:attrName>
                                        </p:attrNameLst>
                                      </p:cBhvr>
                                      <p:to>
                                        <p:strVal val="visible"/>
                                      </p:to>
                                    </p:set>
                                  </p:childTnLst>
                                </p:cTn>
                              </p:par>
                              <p:par>
                                <p:cTn id="30" presetID="1" presetClass="entr" presetSubtype="0" fill="hold" nodeType="withEffect">
                                  <p:stCondLst>
                                    <p:cond delay="0"/>
                                  </p:stCondLst>
                                  <p:childTnLst>
                                    <p:set>
                                      <p:cBhvr>
                                        <p:cTn id="31" dur="1" fill="hold">
                                          <p:stCondLst>
                                            <p:cond delay="0"/>
                                          </p:stCondLst>
                                        </p:cTn>
                                        <p:tgtEl>
                                          <p:spTgt spid="24"/>
                                        </p:tgtEl>
                                        <p:attrNameLst>
                                          <p:attrName>style.visibility</p:attrName>
                                        </p:attrNameLst>
                                      </p:cBhvr>
                                      <p:to>
                                        <p:strVal val="visible"/>
                                      </p:to>
                                    </p:set>
                                  </p:childTnLst>
                                </p:cTn>
                              </p:par>
                              <p:par>
                                <p:cTn id="32" presetID="1" presetClass="entr" presetSubtype="0" fill="hold" nodeType="withEffect">
                                  <p:stCondLst>
                                    <p:cond delay="0"/>
                                  </p:stCondLst>
                                  <p:childTnLst>
                                    <p:set>
                                      <p:cBhvr>
                                        <p:cTn id="33" dur="1" fill="hold">
                                          <p:stCondLst>
                                            <p:cond delay="0"/>
                                          </p:stCondLst>
                                        </p:cTn>
                                        <p:tgtEl>
                                          <p:spTgt spid="27"/>
                                        </p:tgtEl>
                                        <p:attrNameLst>
                                          <p:attrName>style.visibility</p:attrName>
                                        </p:attrNameLst>
                                      </p:cBhvr>
                                      <p:to>
                                        <p:strVal val="visible"/>
                                      </p:to>
                                    </p:set>
                                  </p:childTnLst>
                                </p:cTn>
                              </p:par>
                            </p:childTnLst>
                          </p:cTn>
                        </p:par>
                      </p:childTnLst>
                    </p:cTn>
                  </p:par>
                  <p:par>
                    <p:cTn id="34" fill="hold">
                      <p:stCondLst>
                        <p:cond delay="indefinite"/>
                      </p:stCondLst>
                      <p:childTnLst>
                        <p:par>
                          <p:cTn id="35" fill="hold">
                            <p:stCondLst>
                              <p:cond delay="0"/>
                            </p:stCondLst>
                            <p:childTnLst>
                              <p:par>
                                <p:cTn id="36" presetID="1" presetClass="entr" presetSubtype="0" fill="hold" grpId="0" nodeType="clickEffect">
                                  <p:stCondLst>
                                    <p:cond delay="0"/>
                                  </p:stCondLst>
                                  <p:childTnLst>
                                    <p:set>
                                      <p:cBhvr>
                                        <p:cTn id="37" dur="1" fill="hold">
                                          <p:stCondLst>
                                            <p:cond delay="0"/>
                                          </p:stCondLst>
                                        </p:cTn>
                                        <p:tgtEl>
                                          <p:spTgt spid="9"/>
                                        </p:tgtEl>
                                        <p:attrNameLst>
                                          <p:attrName>style.visibility</p:attrName>
                                        </p:attrNameLst>
                                      </p:cBhvr>
                                      <p:to>
                                        <p:strVal val="visible"/>
                                      </p:to>
                                    </p:set>
                                  </p:childTnLst>
                                </p:cTn>
                              </p:par>
                              <p:par>
                                <p:cTn id="38" presetID="1" presetClass="entr" presetSubtype="0" fill="hold" grpId="0" nodeType="withEffect">
                                  <p:stCondLst>
                                    <p:cond delay="0"/>
                                  </p:stCondLst>
                                  <p:childTnLst>
                                    <p:set>
                                      <p:cBhvr>
                                        <p:cTn id="39" dur="1" fill="hold">
                                          <p:stCondLst>
                                            <p:cond delay="0"/>
                                          </p:stCondLst>
                                        </p:cTn>
                                        <p:tgtEl>
                                          <p:spTgt spid="12"/>
                                        </p:tgtEl>
                                        <p:attrNameLst>
                                          <p:attrName>style.visibility</p:attrName>
                                        </p:attrNameLst>
                                      </p:cBhvr>
                                      <p:to>
                                        <p:strVal val="visible"/>
                                      </p:to>
                                    </p:set>
                                  </p:childTnLst>
                                </p:cTn>
                              </p:par>
                            </p:childTnLst>
                          </p:cTn>
                        </p:par>
                      </p:childTnLst>
                    </p:cTn>
                  </p:par>
                  <p:par>
                    <p:cTn id="40" fill="hold">
                      <p:stCondLst>
                        <p:cond delay="indefinite"/>
                      </p:stCondLst>
                      <p:childTnLst>
                        <p:par>
                          <p:cTn id="41" fill="hold">
                            <p:stCondLst>
                              <p:cond delay="0"/>
                            </p:stCondLst>
                            <p:childTnLst>
                              <p:par>
                                <p:cTn id="42" presetID="1" presetClass="entr" presetSubtype="0" fill="hold" grpId="0" nodeType="clickEffect">
                                  <p:stCondLst>
                                    <p:cond delay="0"/>
                                  </p:stCondLst>
                                  <p:childTnLst>
                                    <p:set>
                                      <p:cBhvr>
                                        <p:cTn id="43" dur="1" fill="hold">
                                          <p:stCondLst>
                                            <p:cond delay="0"/>
                                          </p:stCondLst>
                                        </p:cTn>
                                        <p:tgtEl>
                                          <p:spTgt spid="4"/>
                                        </p:tgtEl>
                                        <p:attrNameLst>
                                          <p:attrName>style.visibility</p:attrName>
                                        </p:attrNameLst>
                                      </p:cBhvr>
                                      <p:to>
                                        <p:strVal val="visible"/>
                                      </p:to>
                                    </p:set>
                                  </p:childTnLst>
                                </p:cTn>
                              </p:par>
                              <p:par>
                                <p:cTn id="44" presetID="1" presetClass="entr" presetSubtype="0" fill="hold" grpId="0" nodeType="withEffect">
                                  <p:stCondLst>
                                    <p:cond delay="0"/>
                                  </p:stCondLst>
                                  <p:childTnLst>
                                    <p:set>
                                      <p:cBhvr>
                                        <p:cTn id="45" dur="1" fill="hold">
                                          <p:stCondLst>
                                            <p:cond delay="0"/>
                                          </p:stCondLst>
                                        </p:cTn>
                                        <p:tgtEl>
                                          <p:spTgt spid="8"/>
                                        </p:tgtEl>
                                        <p:attrNameLst>
                                          <p:attrName>style.visibility</p:attrName>
                                        </p:attrNameLst>
                                      </p:cBhvr>
                                      <p:to>
                                        <p:strVal val="visible"/>
                                      </p:to>
                                    </p:set>
                                  </p:childTnLst>
                                </p:cTn>
                              </p:par>
                            </p:childTnLst>
                          </p:cTn>
                        </p:par>
                      </p:childTnLst>
                    </p:cTn>
                  </p:par>
                  <p:par>
                    <p:cTn id="46" fill="hold">
                      <p:stCondLst>
                        <p:cond delay="indefinite"/>
                      </p:stCondLst>
                      <p:childTnLst>
                        <p:par>
                          <p:cTn id="47" fill="hold">
                            <p:stCondLst>
                              <p:cond delay="0"/>
                            </p:stCondLst>
                            <p:childTnLst>
                              <p:par>
                                <p:cTn id="48" presetID="1" presetClass="entr" presetSubtype="0" fill="hold" grpId="0" nodeType="clickEffect">
                                  <p:stCondLst>
                                    <p:cond delay="0"/>
                                  </p:stCondLst>
                                  <p:childTnLst>
                                    <p:set>
                                      <p:cBhvr>
                                        <p:cTn id="49" dur="1" fill="hold">
                                          <p:stCondLst>
                                            <p:cond delay="0"/>
                                          </p:stCondLst>
                                        </p:cTn>
                                        <p:tgtEl>
                                          <p:spTgt spid="10"/>
                                        </p:tgtEl>
                                        <p:attrNameLst>
                                          <p:attrName>style.visibility</p:attrName>
                                        </p:attrNameLst>
                                      </p:cBhvr>
                                      <p:to>
                                        <p:strVal val="visible"/>
                                      </p:to>
                                    </p:set>
                                  </p:childTnLst>
                                </p:cTn>
                              </p:par>
                              <p:par>
                                <p:cTn id="50" presetID="1" presetClass="entr" presetSubtype="0" fill="hold" grpId="0" nodeType="withEffect">
                                  <p:stCondLst>
                                    <p:cond delay="0"/>
                                  </p:stCondLst>
                                  <p:childTnLst>
                                    <p:set>
                                      <p:cBhvr>
                                        <p:cTn id="51" dur="1" fill="hold">
                                          <p:stCondLst>
                                            <p:cond delay="0"/>
                                          </p:stCondLst>
                                        </p:cTn>
                                        <p:tgtEl>
                                          <p:spTgt spid="13"/>
                                        </p:tgtEl>
                                        <p:attrNameLst>
                                          <p:attrName>style.visibility</p:attrName>
                                        </p:attrNameLst>
                                      </p:cBhvr>
                                      <p:to>
                                        <p:strVal val="visible"/>
                                      </p:to>
                                    </p:set>
                                  </p:childTnLst>
                                </p:cTn>
                              </p:par>
                            </p:childTnLst>
                          </p:cTn>
                        </p:par>
                      </p:childTnLst>
                    </p:cTn>
                  </p:par>
                  <p:par>
                    <p:cTn id="52" fill="hold">
                      <p:stCondLst>
                        <p:cond delay="indefinite"/>
                      </p:stCondLst>
                      <p:childTnLst>
                        <p:par>
                          <p:cTn id="53" fill="hold">
                            <p:stCondLst>
                              <p:cond delay="0"/>
                            </p:stCondLst>
                            <p:childTnLst>
                              <p:par>
                                <p:cTn id="54" presetID="1" presetClass="entr" presetSubtype="0" fill="hold" nodeType="clickEffect">
                                  <p:stCondLst>
                                    <p:cond delay="0"/>
                                  </p:stCondLst>
                                  <p:childTnLst>
                                    <p:set>
                                      <p:cBhvr>
                                        <p:cTn id="55" dur="1" fill="hold">
                                          <p:stCondLst>
                                            <p:cond delay="0"/>
                                          </p:stCondLst>
                                        </p:cTn>
                                        <p:tgtEl>
                                          <p:spTgt spid="21"/>
                                        </p:tgtEl>
                                        <p:attrNameLst>
                                          <p:attrName>style.visibility</p:attrName>
                                        </p:attrNameLst>
                                      </p:cBhvr>
                                      <p:to>
                                        <p:strVal val="visible"/>
                                      </p:to>
                                    </p:set>
                                  </p:childTnLst>
                                </p:cTn>
                              </p:par>
                            </p:childTnLst>
                          </p:cTn>
                        </p:par>
                      </p:childTnLst>
                    </p:cTn>
                  </p:par>
                  <p:par>
                    <p:cTn id="56" fill="hold">
                      <p:stCondLst>
                        <p:cond delay="indefinite"/>
                      </p:stCondLst>
                      <p:childTnLst>
                        <p:par>
                          <p:cTn id="57" fill="hold">
                            <p:stCondLst>
                              <p:cond delay="0"/>
                            </p:stCondLst>
                            <p:childTnLst>
                              <p:par>
                                <p:cTn id="58" presetID="1" presetClass="entr" presetSubtype="0" fill="hold" grpId="0" nodeType="clickEffect">
                                  <p:stCondLst>
                                    <p:cond delay="0"/>
                                  </p:stCondLst>
                                  <p:childTnLst>
                                    <p:set>
                                      <p:cBhvr>
                                        <p:cTn id="59"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P spid="2" grpId="0" animBg="1"/>
      <p:bldP spid="5" grpId="0"/>
      <p:bldP spid="4" grpId="0" animBg="1"/>
      <p:bldP spid="9" grpId="0" animBg="1"/>
      <p:bldP spid="10" grpId="0" animBg="1"/>
      <p:bldP spid="8" grpId="0"/>
      <p:bldP spid="12" grpId="0"/>
      <p:bldP spid="13" grpId="0"/>
      <p:bldP spid="3" grpId="0" animBg="1"/>
      <p:bldP spid="11" grpId="0" animBg="1"/>
      <p:bldP spid="19" grpId="0" animBg="1"/>
      <p:bldP spid="7" grpId="0"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281990" y="174587"/>
            <a:ext cx="11018520" cy="430887"/>
          </a:xfrm>
        </p:spPr>
        <p:txBody>
          <a:bodyPr/>
          <a:lstStyle/>
          <a:p>
            <a:r>
              <a:rPr lang="en-US" sz="2800" dirty="0"/>
              <a:t>Welcome to the new world of patch and upgrade</a:t>
            </a:r>
          </a:p>
        </p:txBody>
      </p:sp>
      <p:sp>
        <p:nvSpPr>
          <p:cNvPr id="5" name="Flowchart: Magnetic Disk 4">
            <a:extLst>
              <a:ext uri="{FF2B5EF4-FFF2-40B4-BE49-F238E27FC236}">
                <a16:creationId xmlns:a16="http://schemas.microsoft.com/office/drawing/2014/main" id="{AE273AB2-FE4D-4EA5-A362-A99C8D3984D3}"/>
              </a:ext>
            </a:extLst>
          </p:cNvPr>
          <p:cNvSpPr/>
          <p:nvPr/>
        </p:nvSpPr>
        <p:spPr bwMode="auto">
          <a:xfrm>
            <a:off x="1311964" y="2746176"/>
            <a:ext cx="1762540" cy="1775791"/>
          </a:xfrm>
          <a:prstGeom prst="flowChartMagneticDisk">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9" name="TextBox 8">
            <a:extLst>
              <a:ext uri="{FF2B5EF4-FFF2-40B4-BE49-F238E27FC236}">
                <a16:creationId xmlns:a16="http://schemas.microsoft.com/office/drawing/2014/main" id="{A70E41F2-BE49-4E55-9280-2EBA8581F026}"/>
              </a:ext>
            </a:extLst>
          </p:cNvPr>
          <p:cNvSpPr txBox="1"/>
          <p:nvPr/>
        </p:nvSpPr>
        <p:spPr>
          <a:xfrm>
            <a:off x="1538824" y="3525079"/>
            <a:ext cx="1308820" cy="615553"/>
          </a:xfrm>
          <a:prstGeom prst="rect">
            <a:avLst/>
          </a:prstGeom>
          <a:noFill/>
        </p:spPr>
        <p:txBody>
          <a:bodyPr wrap="none" lIns="0" tIns="0" rIns="0" bIns="0" rtlCol="0">
            <a:spAutoFit/>
          </a:bodyPr>
          <a:lstStyle/>
          <a:p>
            <a:pPr algn="ctr"/>
            <a:r>
              <a:rPr lang="en-US" sz="2000" dirty="0">
                <a:gradFill>
                  <a:gsLst>
                    <a:gs pos="2917">
                      <a:schemeClr val="tx1"/>
                    </a:gs>
                    <a:gs pos="30000">
                      <a:schemeClr val="tx1"/>
                    </a:gs>
                  </a:gsLst>
                  <a:lin ang="5400000" scaled="0"/>
                </a:gradFill>
              </a:rPr>
              <a:t>SQL Server </a:t>
            </a:r>
          </a:p>
          <a:p>
            <a:pPr algn="ctr"/>
            <a:r>
              <a:rPr lang="en-US" sz="2000" dirty="0">
                <a:gradFill>
                  <a:gsLst>
                    <a:gs pos="2917">
                      <a:schemeClr val="tx1"/>
                    </a:gs>
                    <a:gs pos="30000">
                      <a:schemeClr val="tx1"/>
                    </a:gs>
                  </a:gsLst>
                  <a:lin ang="5400000" scaled="0"/>
                </a:gradFill>
              </a:rPr>
              <a:t>databases</a:t>
            </a:r>
          </a:p>
        </p:txBody>
      </p:sp>
      <p:sp>
        <p:nvSpPr>
          <p:cNvPr id="11" name="Rectangle: Rounded Corners 10">
            <a:extLst>
              <a:ext uri="{FF2B5EF4-FFF2-40B4-BE49-F238E27FC236}">
                <a16:creationId xmlns:a16="http://schemas.microsoft.com/office/drawing/2014/main" id="{2BBEFAF9-A4C6-47F1-917A-35C498B72D1F}"/>
              </a:ext>
            </a:extLst>
          </p:cNvPr>
          <p:cNvSpPr/>
          <p:nvPr/>
        </p:nvSpPr>
        <p:spPr bwMode="auto">
          <a:xfrm>
            <a:off x="8264189" y="157557"/>
            <a:ext cx="3339548" cy="1987826"/>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40075">
                      <a:srgbClr val="FFFFFF"/>
                    </a:gs>
                    <a:gs pos="30000">
                      <a:srgbClr val="FFFFFF"/>
                    </a:gs>
                  </a:gsLst>
                  <a:lin ang="5400000" scaled="0"/>
                </a:gradFill>
              </a:rPr>
              <a:t>SQL Server 2017 CU8 Container</a:t>
            </a:r>
          </a:p>
        </p:txBody>
      </p:sp>
      <p:cxnSp>
        <p:nvCxnSpPr>
          <p:cNvPr id="13" name="Straight Arrow Connector 12">
            <a:extLst>
              <a:ext uri="{FF2B5EF4-FFF2-40B4-BE49-F238E27FC236}">
                <a16:creationId xmlns:a16="http://schemas.microsoft.com/office/drawing/2014/main" id="{926448F2-81C5-4A02-A559-3206041F0E67}"/>
              </a:ext>
            </a:extLst>
          </p:cNvPr>
          <p:cNvCxnSpPr>
            <a:stCxn id="5" idx="4"/>
            <a:endCxn id="11" idx="1"/>
          </p:cNvCxnSpPr>
          <p:nvPr/>
        </p:nvCxnSpPr>
        <p:spPr>
          <a:xfrm flipV="1">
            <a:off x="3074504" y="1151470"/>
            <a:ext cx="5189685" cy="2482602"/>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6" name="Rectangle: Rounded Corners 15">
            <a:extLst>
              <a:ext uri="{FF2B5EF4-FFF2-40B4-BE49-F238E27FC236}">
                <a16:creationId xmlns:a16="http://schemas.microsoft.com/office/drawing/2014/main" id="{BFB65068-F2B6-44E0-AD12-0C7951E0BCE9}"/>
              </a:ext>
            </a:extLst>
          </p:cNvPr>
          <p:cNvSpPr/>
          <p:nvPr/>
        </p:nvSpPr>
        <p:spPr bwMode="auto">
          <a:xfrm>
            <a:off x="8264189" y="2413368"/>
            <a:ext cx="3339548" cy="1987826"/>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40075">
                      <a:srgbClr val="FFFFFF"/>
                    </a:gs>
                    <a:gs pos="30000">
                      <a:srgbClr val="FFFFFF"/>
                    </a:gs>
                  </a:gsLst>
                  <a:lin ang="5400000" scaled="0"/>
                </a:gradFill>
              </a:rPr>
              <a:t>SQL Server 2017 Latest Container</a:t>
            </a:r>
          </a:p>
        </p:txBody>
      </p:sp>
      <p:cxnSp>
        <p:nvCxnSpPr>
          <p:cNvPr id="18" name="Straight Arrow Connector 17">
            <a:extLst>
              <a:ext uri="{FF2B5EF4-FFF2-40B4-BE49-F238E27FC236}">
                <a16:creationId xmlns:a16="http://schemas.microsoft.com/office/drawing/2014/main" id="{97AEEFEB-55B6-49D7-8580-3DF740D931EC}"/>
              </a:ext>
            </a:extLst>
          </p:cNvPr>
          <p:cNvCxnSpPr>
            <a:cxnSpLocks/>
            <a:stCxn id="5" idx="4"/>
            <a:endCxn id="16" idx="1"/>
          </p:cNvCxnSpPr>
          <p:nvPr/>
        </p:nvCxnSpPr>
        <p:spPr>
          <a:xfrm flipV="1">
            <a:off x="3074504" y="3407281"/>
            <a:ext cx="5189685" cy="226791"/>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Rectangle: Rounded Corners 19">
            <a:extLst>
              <a:ext uri="{FF2B5EF4-FFF2-40B4-BE49-F238E27FC236}">
                <a16:creationId xmlns:a16="http://schemas.microsoft.com/office/drawing/2014/main" id="{E9978D1B-FACE-4323-A0D3-D7A45A41DC88}"/>
              </a:ext>
            </a:extLst>
          </p:cNvPr>
          <p:cNvSpPr/>
          <p:nvPr/>
        </p:nvSpPr>
        <p:spPr bwMode="auto">
          <a:xfrm>
            <a:off x="8264189" y="4669179"/>
            <a:ext cx="3339548" cy="1987826"/>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40075">
                      <a:srgbClr val="FFFFFF"/>
                    </a:gs>
                    <a:gs pos="30000">
                      <a:srgbClr val="FFFFFF"/>
                    </a:gs>
                  </a:gsLst>
                  <a:lin ang="5400000" scaled="0"/>
                </a:gradFill>
              </a:rPr>
              <a:t>SQL Server 2019</a:t>
            </a:r>
          </a:p>
        </p:txBody>
      </p:sp>
      <p:cxnSp>
        <p:nvCxnSpPr>
          <p:cNvPr id="23" name="Straight Arrow Connector 22">
            <a:extLst>
              <a:ext uri="{FF2B5EF4-FFF2-40B4-BE49-F238E27FC236}">
                <a16:creationId xmlns:a16="http://schemas.microsoft.com/office/drawing/2014/main" id="{6F7BEE88-4223-4E08-8772-26D2D7BEE5E3}"/>
              </a:ext>
            </a:extLst>
          </p:cNvPr>
          <p:cNvCxnSpPr>
            <a:cxnSpLocks/>
            <a:stCxn id="5" idx="4"/>
            <a:endCxn id="20" idx="1"/>
          </p:cNvCxnSpPr>
          <p:nvPr/>
        </p:nvCxnSpPr>
        <p:spPr>
          <a:xfrm>
            <a:off x="3074504" y="3634072"/>
            <a:ext cx="5189685" cy="202902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465C2D57-F03E-4332-A1AA-4EAF7086F9B5}"/>
              </a:ext>
            </a:extLst>
          </p:cNvPr>
          <p:cNvSpPr txBox="1"/>
          <p:nvPr/>
        </p:nvSpPr>
        <p:spPr>
          <a:xfrm>
            <a:off x="4419600" y="1720418"/>
            <a:ext cx="886076"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rollback</a:t>
            </a:r>
          </a:p>
        </p:txBody>
      </p:sp>
      <p:sp>
        <p:nvSpPr>
          <p:cNvPr id="27" name="TextBox 26">
            <a:extLst>
              <a:ext uri="{FF2B5EF4-FFF2-40B4-BE49-F238E27FC236}">
                <a16:creationId xmlns:a16="http://schemas.microsoft.com/office/drawing/2014/main" id="{3736D3F9-72B7-4988-BAED-4611EC4D82CC}"/>
              </a:ext>
            </a:extLst>
          </p:cNvPr>
          <p:cNvSpPr txBox="1"/>
          <p:nvPr/>
        </p:nvSpPr>
        <p:spPr>
          <a:xfrm>
            <a:off x="4353492" y="4907384"/>
            <a:ext cx="952184"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upgrade</a:t>
            </a:r>
          </a:p>
        </p:txBody>
      </p:sp>
      <p:sp>
        <p:nvSpPr>
          <p:cNvPr id="6" name="Rectangle 5">
            <a:extLst>
              <a:ext uri="{FF2B5EF4-FFF2-40B4-BE49-F238E27FC236}">
                <a16:creationId xmlns:a16="http://schemas.microsoft.com/office/drawing/2014/main" id="{3C675D0E-5665-4922-B863-B64EB082D461}"/>
              </a:ext>
            </a:extLst>
          </p:cNvPr>
          <p:cNvSpPr/>
          <p:nvPr/>
        </p:nvSpPr>
        <p:spPr bwMode="auto">
          <a:xfrm>
            <a:off x="706606" y="1889760"/>
            <a:ext cx="3089612" cy="3581400"/>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a:extLst>
              <a:ext uri="{FF2B5EF4-FFF2-40B4-BE49-F238E27FC236}">
                <a16:creationId xmlns:a16="http://schemas.microsoft.com/office/drawing/2014/main" id="{DF46904A-BE77-4BA0-804E-27261AEC867C}"/>
              </a:ext>
            </a:extLst>
          </p:cNvPr>
          <p:cNvSpPr txBox="1"/>
          <p:nvPr/>
        </p:nvSpPr>
        <p:spPr>
          <a:xfrm>
            <a:off x="683072" y="1476310"/>
            <a:ext cx="836896"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volume</a:t>
            </a:r>
          </a:p>
        </p:txBody>
      </p:sp>
    </p:spTree>
    <p:extLst>
      <p:ext uri="{BB962C8B-B14F-4D97-AF65-F5344CB8AC3E}">
        <p14:creationId xmlns:p14="http://schemas.microsoft.com/office/powerpoint/2010/main" val="1998283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0" presetClass="emph" presetSubtype="0" fill="hold" grpId="0" nodeType="clickEffect">
                                  <p:stCondLst>
                                    <p:cond delay="0"/>
                                  </p:stCondLst>
                                  <p:childTnLst>
                                    <p:animClr clrSpc="hsl" dir="cw">
                                      <p:cBhvr override="childStyle">
                                        <p:cTn id="6" dur="500" fill="hold"/>
                                        <p:tgtEl>
                                          <p:spTgt spid="11"/>
                                        </p:tgtEl>
                                        <p:attrNameLst>
                                          <p:attrName>style.color</p:attrName>
                                        </p:attrNameLst>
                                      </p:cBhvr>
                                      <p:by>
                                        <p:hsl h="0" s="12549" l="25098"/>
                                      </p:by>
                                    </p:animClr>
                                    <p:animClr clrSpc="hsl" dir="cw">
                                      <p:cBhvr>
                                        <p:cTn id="7" dur="500" fill="hold"/>
                                        <p:tgtEl>
                                          <p:spTgt spid="11"/>
                                        </p:tgtEl>
                                        <p:attrNameLst>
                                          <p:attrName>fillcolor</p:attrName>
                                        </p:attrNameLst>
                                      </p:cBhvr>
                                      <p:by>
                                        <p:hsl h="0" s="12549" l="25098"/>
                                      </p:by>
                                    </p:animClr>
                                    <p:animClr clrSpc="hsl" dir="cw">
                                      <p:cBhvr>
                                        <p:cTn id="8" dur="500" fill="hold"/>
                                        <p:tgtEl>
                                          <p:spTgt spid="11"/>
                                        </p:tgtEl>
                                        <p:attrNameLst>
                                          <p:attrName>stroke.color</p:attrName>
                                        </p:attrNameLst>
                                      </p:cBhvr>
                                      <p:by>
                                        <p:hsl h="0" s="12549" l="25098"/>
                                      </p:by>
                                    </p:animClr>
                                    <p:set>
                                      <p:cBhvr>
                                        <p:cTn id="9" dur="500" fill="hold"/>
                                        <p:tgtEl>
                                          <p:spTgt spid="11"/>
                                        </p:tgtEl>
                                        <p:attrNameLst>
                                          <p:attrName>fill.type</p:attrName>
                                        </p:attrNameLst>
                                      </p:cBhvr>
                                      <p:to>
                                        <p:strVal val="solid"/>
                                      </p:to>
                                    </p:set>
                                  </p:childTnLst>
                                </p:cTn>
                              </p:par>
                            </p:childTnLst>
                          </p:cTn>
                        </p:par>
                      </p:childTnLst>
                    </p:cTn>
                  </p:par>
                  <p:par>
                    <p:cTn id="10" fill="hold">
                      <p:stCondLst>
                        <p:cond delay="indefinite"/>
                      </p:stCondLst>
                      <p:childTnLst>
                        <p:par>
                          <p:cTn id="11" fill="hold">
                            <p:stCondLst>
                              <p:cond delay="0"/>
                            </p:stCondLst>
                            <p:childTnLst>
                              <p:par>
                                <p:cTn id="12" presetID="1" presetClass="exit" presetSubtype="0" fill="hold" nodeType="clickEffect">
                                  <p:stCondLst>
                                    <p:cond delay="0"/>
                                  </p:stCondLst>
                                  <p:childTnLst>
                                    <p:set>
                                      <p:cBhvr>
                                        <p:cTn id="13" dur="1" fill="hold">
                                          <p:stCondLst>
                                            <p:cond delay="0"/>
                                          </p:stCondLst>
                                        </p:cTn>
                                        <p:tgtEl>
                                          <p:spTgt spid="13"/>
                                        </p:tgtEl>
                                        <p:attrNameLst>
                                          <p:attrName>style.visibility</p:attrName>
                                        </p:attrNameLst>
                                      </p:cBhvr>
                                      <p:to>
                                        <p:strVal val="hidden"/>
                                      </p:to>
                                    </p:se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18"/>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30" presetClass="emph" presetSubtype="0" fill="hold" grpId="0" nodeType="clickEffect">
                                  <p:stCondLst>
                                    <p:cond delay="0"/>
                                  </p:stCondLst>
                                  <p:childTnLst>
                                    <p:animClr clrSpc="hsl" dir="cw">
                                      <p:cBhvr override="childStyle">
                                        <p:cTn id="21" dur="500" fill="hold"/>
                                        <p:tgtEl>
                                          <p:spTgt spid="16"/>
                                        </p:tgtEl>
                                        <p:attrNameLst>
                                          <p:attrName>style.color</p:attrName>
                                        </p:attrNameLst>
                                      </p:cBhvr>
                                      <p:by>
                                        <p:hsl h="0" s="12549" l="25098"/>
                                      </p:by>
                                    </p:animClr>
                                    <p:animClr clrSpc="hsl" dir="cw">
                                      <p:cBhvr>
                                        <p:cTn id="22" dur="500" fill="hold"/>
                                        <p:tgtEl>
                                          <p:spTgt spid="16"/>
                                        </p:tgtEl>
                                        <p:attrNameLst>
                                          <p:attrName>fillcolor</p:attrName>
                                        </p:attrNameLst>
                                      </p:cBhvr>
                                      <p:by>
                                        <p:hsl h="0" s="12549" l="25098"/>
                                      </p:by>
                                    </p:animClr>
                                    <p:animClr clrSpc="hsl" dir="cw">
                                      <p:cBhvr>
                                        <p:cTn id="23" dur="500" fill="hold"/>
                                        <p:tgtEl>
                                          <p:spTgt spid="16"/>
                                        </p:tgtEl>
                                        <p:attrNameLst>
                                          <p:attrName>stroke.color</p:attrName>
                                        </p:attrNameLst>
                                      </p:cBhvr>
                                      <p:by>
                                        <p:hsl h="0" s="12549" l="25098"/>
                                      </p:by>
                                    </p:animClr>
                                    <p:set>
                                      <p:cBhvr>
                                        <p:cTn id="24" dur="500" fill="hold"/>
                                        <p:tgtEl>
                                          <p:spTgt spid="16"/>
                                        </p:tgtEl>
                                        <p:attrNameLst>
                                          <p:attrName>fill.type</p:attrName>
                                        </p:attrNameLst>
                                      </p:cBhvr>
                                      <p:to>
                                        <p:strVal val="solid"/>
                                      </p:to>
                                    </p:set>
                                  </p:childTnLst>
                                </p:cTn>
                              </p:par>
                            </p:childTnLst>
                          </p:cTn>
                        </p:par>
                      </p:childTnLst>
                    </p:cTn>
                  </p:par>
                  <p:par>
                    <p:cTn id="25" fill="hold">
                      <p:stCondLst>
                        <p:cond delay="indefinite"/>
                      </p:stCondLst>
                      <p:childTnLst>
                        <p:par>
                          <p:cTn id="26" fill="hold">
                            <p:stCondLst>
                              <p:cond delay="0"/>
                            </p:stCondLst>
                            <p:childTnLst>
                              <p:par>
                                <p:cTn id="27" presetID="1" presetClass="exit" presetSubtype="0" fill="hold" nodeType="clickEffect">
                                  <p:stCondLst>
                                    <p:cond delay="0"/>
                                  </p:stCondLst>
                                  <p:childTnLst>
                                    <p:set>
                                      <p:cBhvr>
                                        <p:cTn id="28" dur="1" fill="hold">
                                          <p:stCondLst>
                                            <p:cond delay="0"/>
                                          </p:stCondLst>
                                        </p:cTn>
                                        <p:tgtEl>
                                          <p:spTgt spid="18"/>
                                        </p:tgtEl>
                                        <p:attrNameLst>
                                          <p:attrName>style.visibility</p:attrName>
                                        </p:attrNameLst>
                                      </p:cBhvr>
                                      <p:to>
                                        <p:strVal val="hidden"/>
                                      </p:to>
                                    </p:set>
                                  </p:childTnLst>
                                </p:cTn>
                              </p:par>
                            </p:childTnLst>
                          </p:cTn>
                        </p:par>
                      </p:childTnLst>
                    </p:cTn>
                  </p:par>
                  <p:par>
                    <p:cTn id="29" fill="hold">
                      <p:stCondLst>
                        <p:cond delay="indefinite"/>
                      </p:stCondLst>
                      <p:childTnLst>
                        <p:par>
                          <p:cTn id="30" fill="hold">
                            <p:stCondLst>
                              <p:cond delay="0"/>
                            </p:stCondLst>
                            <p:childTnLst>
                              <p:par>
                                <p:cTn id="31" presetID="24" presetClass="emph" presetSubtype="0" fill="hold" nodeType="clickEffect">
                                  <p:stCondLst>
                                    <p:cond delay="0"/>
                                  </p:stCondLst>
                                  <p:childTnLst>
                                    <p:animClr clrSpc="hsl" dir="cw">
                                      <p:cBhvr override="childStyle">
                                        <p:cTn id="32" dur="500" fill="hold"/>
                                        <p:tgtEl>
                                          <p:spTgt spid="11"/>
                                        </p:tgtEl>
                                        <p:attrNameLst>
                                          <p:attrName>style.color</p:attrName>
                                        </p:attrNameLst>
                                      </p:cBhvr>
                                      <p:by>
                                        <p:hsl h="0" s="-12549" l="-25098"/>
                                      </p:by>
                                    </p:animClr>
                                    <p:animClr clrSpc="hsl" dir="cw">
                                      <p:cBhvr>
                                        <p:cTn id="33" dur="500" fill="hold"/>
                                        <p:tgtEl>
                                          <p:spTgt spid="11"/>
                                        </p:tgtEl>
                                        <p:attrNameLst>
                                          <p:attrName>fillcolor</p:attrName>
                                        </p:attrNameLst>
                                      </p:cBhvr>
                                      <p:by>
                                        <p:hsl h="0" s="-12549" l="-25098"/>
                                      </p:by>
                                    </p:animClr>
                                    <p:animClr clrSpc="hsl" dir="cw">
                                      <p:cBhvr>
                                        <p:cTn id="34" dur="500" fill="hold"/>
                                        <p:tgtEl>
                                          <p:spTgt spid="11"/>
                                        </p:tgtEl>
                                        <p:attrNameLst>
                                          <p:attrName>stroke.color</p:attrName>
                                        </p:attrNameLst>
                                      </p:cBhvr>
                                      <p:by>
                                        <p:hsl h="0" s="-12549" l="-25098"/>
                                      </p:by>
                                    </p:animClr>
                                    <p:set>
                                      <p:cBhvr>
                                        <p:cTn id="35" dur="500" fill="hold"/>
                                        <p:tgtEl>
                                          <p:spTgt spid="11"/>
                                        </p:tgtEl>
                                        <p:attrNameLst>
                                          <p:attrName>fill.type</p:attrName>
                                        </p:attrNameLst>
                                      </p:cBhvr>
                                      <p:to>
                                        <p:strVal val="solid"/>
                                      </p:to>
                                    </p:set>
                                  </p:childTnLst>
                                </p:cTn>
                              </p:par>
                            </p:childTnLst>
                          </p:cTn>
                        </p:par>
                        <p:par>
                          <p:cTn id="36" fill="hold">
                            <p:stCondLst>
                              <p:cond delay="500"/>
                            </p:stCondLst>
                            <p:childTnLst>
                              <p:par>
                                <p:cTn id="37" presetID="1" presetClass="entr" presetSubtype="0" fill="hold" grpId="0" nodeType="afterEffect">
                                  <p:stCondLst>
                                    <p:cond delay="0"/>
                                  </p:stCondLst>
                                  <p:childTnLst>
                                    <p:set>
                                      <p:cBhvr>
                                        <p:cTn id="38" dur="1" fill="hold">
                                          <p:stCondLst>
                                            <p:cond delay="0"/>
                                          </p:stCondLst>
                                        </p:cTn>
                                        <p:tgtEl>
                                          <p:spTgt spid="26"/>
                                        </p:tgtEl>
                                        <p:attrNameLst>
                                          <p:attrName>style.visibility</p:attrName>
                                        </p:attrNameLst>
                                      </p:cBhvr>
                                      <p:to>
                                        <p:strVal val="visible"/>
                                      </p:to>
                                    </p:set>
                                  </p:childTnLst>
                                </p:cTn>
                              </p:par>
                            </p:childTnLst>
                          </p:cTn>
                        </p:par>
                        <p:par>
                          <p:cTn id="39" fill="hold">
                            <p:stCondLst>
                              <p:cond delay="500"/>
                            </p:stCondLst>
                            <p:childTnLst>
                              <p:par>
                                <p:cTn id="40" presetID="1" presetClass="entr" presetSubtype="0" fill="hold" nodeType="afterEffect">
                                  <p:stCondLst>
                                    <p:cond delay="0"/>
                                  </p:stCondLst>
                                  <p:childTnLst>
                                    <p:set>
                                      <p:cBhvr>
                                        <p:cTn id="41" dur="1" fill="hold">
                                          <p:stCondLst>
                                            <p:cond delay="0"/>
                                          </p:stCondLst>
                                        </p:cTn>
                                        <p:tgtEl>
                                          <p:spTgt spid="13"/>
                                        </p:tgtEl>
                                        <p:attrNameLst>
                                          <p:attrName>style.visibility</p:attrName>
                                        </p:attrNameLst>
                                      </p:cBhvr>
                                      <p:to>
                                        <p:strVal val="visible"/>
                                      </p:to>
                                    </p:set>
                                  </p:childTnLst>
                                </p:cTn>
                              </p:par>
                            </p:childTnLst>
                          </p:cTn>
                        </p:par>
                      </p:childTnLst>
                    </p:cTn>
                  </p:par>
                  <p:par>
                    <p:cTn id="42" fill="hold">
                      <p:stCondLst>
                        <p:cond delay="indefinite"/>
                      </p:stCondLst>
                      <p:childTnLst>
                        <p:par>
                          <p:cTn id="43" fill="hold">
                            <p:stCondLst>
                              <p:cond delay="0"/>
                            </p:stCondLst>
                            <p:childTnLst>
                              <p:par>
                                <p:cTn id="44" presetID="1" presetClass="entr" presetSubtype="0" fill="hold" grpId="0" nodeType="clickEffect">
                                  <p:stCondLst>
                                    <p:cond delay="0"/>
                                  </p:stCondLst>
                                  <p:childTnLst>
                                    <p:set>
                                      <p:cBhvr>
                                        <p:cTn id="45" dur="1" fill="hold">
                                          <p:stCondLst>
                                            <p:cond delay="0"/>
                                          </p:stCondLst>
                                        </p:cTn>
                                        <p:tgtEl>
                                          <p:spTgt spid="20"/>
                                        </p:tgtEl>
                                        <p:attrNameLst>
                                          <p:attrName>style.visibility</p:attrName>
                                        </p:attrNameLst>
                                      </p:cBhvr>
                                      <p:to>
                                        <p:strVal val="visible"/>
                                      </p:to>
                                    </p:set>
                                  </p:childTnLst>
                                </p:cTn>
                              </p:par>
                            </p:childTnLst>
                          </p:cTn>
                        </p:par>
                      </p:childTnLst>
                    </p:cTn>
                  </p:par>
                  <p:par>
                    <p:cTn id="46" fill="hold">
                      <p:stCondLst>
                        <p:cond delay="indefinite"/>
                      </p:stCondLst>
                      <p:childTnLst>
                        <p:par>
                          <p:cTn id="47" fill="hold">
                            <p:stCondLst>
                              <p:cond delay="0"/>
                            </p:stCondLst>
                            <p:childTnLst>
                              <p:par>
                                <p:cTn id="48" presetID="30" presetClass="emph" presetSubtype="0" fill="hold" grpId="1" nodeType="clickEffect">
                                  <p:stCondLst>
                                    <p:cond delay="0"/>
                                  </p:stCondLst>
                                  <p:childTnLst>
                                    <p:animClr clrSpc="hsl" dir="cw">
                                      <p:cBhvr override="childStyle">
                                        <p:cTn id="49" dur="500" fill="hold"/>
                                        <p:tgtEl>
                                          <p:spTgt spid="11"/>
                                        </p:tgtEl>
                                        <p:attrNameLst>
                                          <p:attrName>style.color</p:attrName>
                                        </p:attrNameLst>
                                      </p:cBhvr>
                                      <p:by>
                                        <p:hsl h="0" s="12549" l="25098"/>
                                      </p:by>
                                    </p:animClr>
                                    <p:animClr clrSpc="hsl" dir="cw">
                                      <p:cBhvr>
                                        <p:cTn id="50" dur="500" fill="hold"/>
                                        <p:tgtEl>
                                          <p:spTgt spid="11"/>
                                        </p:tgtEl>
                                        <p:attrNameLst>
                                          <p:attrName>fillcolor</p:attrName>
                                        </p:attrNameLst>
                                      </p:cBhvr>
                                      <p:by>
                                        <p:hsl h="0" s="12549" l="25098"/>
                                      </p:by>
                                    </p:animClr>
                                    <p:animClr clrSpc="hsl" dir="cw">
                                      <p:cBhvr>
                                        <p:cTn id="51" dur="500" fill="hold"/>
                                        <p:tgtEl>
                                          <p:spTgt spid="11"/>
                                        </p:tgtEl>
                                        <p:attrNameLst>
                                          <p:attrName>stroke.color</p:attrName>
                                        </p:attrNameLst>
                                      </p:cBhvr>
                                      <p:by>
                                        <p:hsl h="0" s="12549" l="25098"/>
                                      </p:by>
                                    </p:animClr>
                                    <p:set>
                                      <p:cBhvr>
                                        <p:cTn id="52" dur="500" fill="hold"/>
                                        <p:tgtEl>
                                          <p:spTgt spid="11"/>
                                        </p:tgtEl>
                                        <p:attrNameLst>
                                          <p:attrName>fill.type</p:attrName>
                                        </p:attrNameLst>
                                      </p:cBhvr>
                                      <p:to>
                                        <p:strVal val="solid"/>
                                      </p:to>
                                    </p:set>
                                  </p:childTnLst>
                                </p:cTn>
                              </p:par>
                            </p:childTnLst>
                          </p:cTn>
                        </p:par>
                      </p:childTnLst>
                    </p:cTn>
                  </p:par>
                  <p:par>
                    <p:cTn id="53" fill="hold">
                      <p:stCondLst>
                        <p:cond delay="indefinite"/>
                      </p:stCondLst>
                      <p:childTnLst>
                        <p:par>
                          <p:cTn id="54" fill="hold">
                            <p:stCondLst>
                              <p:cond delay="0"/>
                            </p:stCondLst>
                            <p:childTnLst>
                              <p:par>
                                <p:cTn id="55" presetID="1" presetClass="exit" presetSubtype="0" fill="hold" nodeType="clickEffect">
                                  <p:stCondLst>
                                    <p:cond delay="0"/>
                                  </p:stCondLst>
                                  <p:childTnLst>
                                    <p:set>
                                      <p:cBhvr>
                                        <p:cTn id="56" dur="1" fill="hold">
                                          <p:stCondLst>
                                            <p:cond delay="0"/>
                                          </p:stCondLst>
                                        </p:cTn>
                                        <p:tgtEl>
                                          <p:spTgt spid="13"/>
                                        </p:tgtEl>
                                        <p:attrNameLst>
                                          <p:attrName>style.visibility</p:attrName>
                                        </p:attrNameLst>
                                      </p:cBhvr>
                                      <p:to>
                                        <p:strVal val="hidden"/>
                                      </p:to>
                                    </p:set>
                                  </p:childTnLst>
                                </p:cTn>
                              </p:par>
                            </p:childTnLst>
                          </p:cTn>
                        </p:par>
                      </p:childTnLst>
                    </p:cTn>
                  </p:par>
                  <p:par>
                    <p:cTn id="57" fill="hold">
                      <p:stCondLst>
                        <p:cond delay="indefinite"/>
                      </p:stCondLst>
                      <p:childTnLst>
                        <p:par>
                          <p:cTn id="58" fill="hold">
                            <p:stCondLst>
                              <p:cond delay="0"/>
                            </p:stCondLst>
                            <p:childTnLst>
                              <p:par>
                                <p:cTn id="59" presetID="1" presetClass="exit" presetSubtype="0" fill="hold" grpId="1" nodeType="clickEffect">
                                  <p:stCondLst>
                                    <p:cond delay="0"/>
                                  </p:stCondLst>
                                  <p:childTnLst>
                                    <p:set>
                                      <p:cBhvr>
                                        <p:cTn id="60" dur="1" fill="hold">
                                          <p:stCondLst>
                                            <p:cond delay="0"/>
                                          </p:stCondLst>
                                        </p:cTn>
                                        <p:tgtEl>
                                          <p:spTgt spid="26"/>
                                        </p:tgtEl>
                                        <p:attrNameLst>
                                          <p:attrName>style.visibility</p:attrName>
                                        </p:attrNameLst>
                                      </p:cBhvr>
                                      <p:to>
                                        <p:strVal val="hidden"/>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23"/>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grpId="0" nodeType="clickEffect">
                                  <p:stCondLst>
                                    <p:cond delay="0"/>
                                  </p:stCondLst>
                                  <p:childTnLst>
                                    <p:set>
                                      <p:cBhvr>
                                        <p:cTn id="68"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1" grpId="1" animBg="1"/>
      <p:bldP spid="16" grpId="0" animBg="1"/>
      <p:bldP spid="20" grpId="0" animBg="1"/>
      <p:bldP spid="26" grpId="0"/>
      <p:bldP spid="26" grpId="1"/>
      <p:bldP spid="27" grpId="0"/>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6" y="2534625"/>
            <a:ext cx="6400800" cy="997196"/>
          </a:xfrm>
        </p:spPr>
        <p:txBody>
          <a:bodyPr/>
          <a:lstStyle/>
          <a:p>
            <a:r>
              <a:rPr lang="en-US" dirty="0"/>
              <a:t>Module 7 Activity: SQL Server Containers</a:t>
            </a:r>
          </a:p>
        </p:txBody>
      </p:sp>
      <p:sp>
        <p:nvSpPr>
          <p:cNvPr id="4" name="Text Placeholder 3"/>
          <p:cNvSpPr>
            <a:spLocks noGrp="1"/>
          </p:cNvSpPr>
          <p:nvPr>
            <p:ph type="body" sz="quarter" idx="12"/>
          </p:nvPr>
        </p:nvSpPr>
        <p:spPr>
          <a:xfrm>
            <a:off x="585216" y="3977319"/>
            <a:ext cx="6400800" cy="615553"/>
          </a:xfrm>
        </p:spPr>
        <p:txBody>
          <a:bodyPr/>
          <a:lstStyle/>
          <a:p>
            <a:r>
              <a:rPr lang="en-US" dirty="0"/>
              <a:t>Getting started with SQL Server Containers</a:t>
            </a:r>
          </a:p>
          <a:p>
            <a:r>
              <a:rPr lang="en-US" dirty="0"/>
              <a:t>Patching and Upgrading SQL Server Containers</a:t>
            </a:r>
          </a:p>
        </p:txBody>
      </p:sp>
    </p:spTree>
    <p:extLst>
      <p:ext uri="{BB962C8B-B14F-4D97-AF65-F5344CB8AC3E}">
        <p14:creationId xmlns:p14="http://schemas.microsoft.com/office/powerpoint/2010/main" val="30462673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DC31C2-8E64-4E6B-BEF4-5E8D510C4D6F}"/>
              </a:ext>
            </a:extLst>
          </p:cNvPr>
          <p:cNvSpPr>
            <a:spLocks noGrp="1"/>
          </p:cNvSpPr>
          <p:nvPr>
            <p:ph type="title"/>
          </p:nvPr>
        </p:nvSpPr>
        <p:spPr>
          <a:xfrm>
            <a:off x="586740" y="156950"/>
            <a:ext cx="11018520" cy="553998"/>
          </a:xfrm>
        </p:spPr>
        <p:txBody>
          <a:bodyPr/>
          <a:lstStyle/>
          <a:p>
            <a:r>
              <a:rPr lang="en-US" dirty="0"/>
              <a:t>The innovation of SQL Server 2016 and 2017</a:t>
            </a:r>
          </a:p>
        </p:txBody>
      </p:sp>
      <p:graphicFrame>
        <p:nvGraphicFramePr>
          <p:cNvPr id="4" name="Diagram 3">
            <a:extLst>
              <a:ext uri="{FF2B5EF4-FFF2-40B4-BE49-F238E27FC236}">
                <a16:creationId xmlns:a16="http://schemas.microsoft.com/office/drawing/2014/main" id="{EA9A1CEE-F5DA-407A-8579-C1702D65B552}"/>
              </a:ext>
            </a:extLst>
          </p:cNvPr>
          <p:cNvGraphicFramePr/>
          <p:nvPr>
            <p:extLst>
              <p:ext uri="{D42A27DB-BD31-4B8C-83A1-F6EECF244321}">
                <p14:modId xmlns:p14="http://schemas.microsoft.com/office/powerpoint/2010/main" val="2511169001"/>
              </p:ext>
            </p:extLst>
          </p:nvPr>
        </p:nvGraphicFramePr>
        <p:xfrm>
          <a:off x="588263" y="1214651"/>
          <a:ext cx="11018520" cy="54863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63116531"/>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672BD8-42FC-482A-AAA7-1CEA9853A530}"/>
              </a:ext>
            </a:extLst>
          </p:cNvPr>
          <p:cNvSpPr/>
          <p:nvPr/>
        </p:nvSpPr>
        <p:spPr bwMode="auto">
          <a:xfrm>
            <a:off x="586740" y="1161859"/>
            <a:ext cx="11205153" cy="5087815"/>
          </a:xfrm>
          <a:prstGeom prst="rect">
            <a:avLst/>
          </a:prstGeom>
          <a:noFill/>
          <a:ln>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17" name="Title 16"/>
          <p:cNvSpPr>
            <a:spLocks noGrp="1"/>
          </p:cNvSpPr>
          <p:nvPr>
            <p:ph type="title"/>
          </p:nvPr>
        </p:nvSpPr>
        <p:spPr>
          <a:xfrm>
            <a:off x="586740" y="208829"/>
            <a:ext cx="11018520" cy="553998"/>
          </a:xfrm>
        </p:spPr>
        <p:txBody>
          <a:bodyPr/>
          <a:lstStyle/>
          <a:p>
            <a:r>
              <a:rPr lang="en-US" dirty="0"/>
              <a:t>Kubernetes (k8s) in a nutshell</a:t>
            </a:r>
          </a:p>
        </p:txBody>
      </p:sp>
      <p:sp>
        <p:nvSpPr>
          <p:cNvPr id="5" name="TextBox 4">
            <a:extLst>
              <a:ext uri="{FF2B5EF4-FFF2-40B4-BE49-F238E27FC236}">
                <a16:creationId xmlns:a16="http://schemas.microsoft.com/office/drawing/2014/main" id="{3C72BC11-402B-4D70-A5F7-3D53E423E3BD}"/>
              </a:ext>
            </a:extLst>
          </p:cNvPr>
          <p:cNvSpPr txBox="1"/>
          <p:nvPr/>
        </p:nvSpPr>
        <p:spPr>
          <a:xfrm>
            <a:off x="586740" y="854082"/>
            <a:ext cx="785087"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Cluster</a:t>
            </a:r>
          </a:p>
        </p:txBody>
      </p:sp>
      <p:sp>
        <p:nvSpPr>
          <p:cNvPr id="7" name="Rectangle 6">
            <a:extLst>
              <a:ext uri="{FF2B5EF4-FFF2-40B4-BE49-F238E27FC236}">
                <a16:creationId xmlns:a16="http://schemas.microsoft.com/office/drawing/2014/main" id="{7A8C2F39-1BFD-4C8A-A51A-708DA0A8B144}"/>
              </a:ext>
            </a:extLst>
          </p:cNvPr>
          <p:cNvSpPr/>
          <p:nvPr/>
        </p:nvSpPr>
        <p:spPr bwMode="auto">
          <a:xfrm>
            <a:off x="879231" y="1554665"/>
            <a:ext cx="2614245" cy="4400657"/>
          </a:xfrm>
          <a:prstGeom prst="rect">
            <a:avLst/>
          </a:prstGeom>
          <a:noFill/>
          <a:ln>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9" name="TextBox 8">
            <a:extLst>
              <a:ext uri="{FF2B5EF4-FFF2-40B4-BE49-F238E27FC236}">
                <a16:creationId xmlns:a16="http://schemas.microsoft.com/office/drawing/2014/main" id="{85A61A86-B800-477C-9327-69740850AE18}"/>
              </a:ext>
            </a:extLst>
          </p:cNvPr>
          <p:cNvSpPr txBox="1"/>
          <p:nvPr/>
        </p:nvSpPr>
        <p:spPr>
          <a:xfrm>
            <a:off x="879231" y="1246888"/>
            <a:ext cx="628377"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Node</a:t>
            </a:r>
          </a:p>
        </p:txBody>
      </p:sp>
      <p:sp>
        <p:nvSpPr>
          <p:cNvPr id="10" name="Rectangle 9">
            <a:extLst>
              <a:ext uri="{FF2B5EF4-FFF2-40B4-BE49-F238E27FC236}">
                <a16:creationId xmlns:a16="http://schemas.microsoft.com/office/drawing/2014/main" id="{D575CECC-C32C-48CB-B2D8-2854DDC38ED0}"/>
              </a:ext>
            </a:extLst>
          </p:cNvPr>
          <p:cNvSpPr/>
          <p:nvPr/>
        </p:nvSpPr>
        <p:spPr bwMode="auto">
          <a:xfrm>
            <a:off x="1149735" y="1979414"/>
            <a:ext cx="2109280" cy="1748523"/>
          </a:xfrm>
          <a:prstGeom prst="rect">
            <a:avLst/>
          </a:prstGeom>
          <a:noFill/>
          <a:ln>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11" name="TextBox 10">
            <a:extLst>
              <a:ext uri="{FF2B5EF4-FFF2-40B4-BE49-F238E27FC236}">
                <a16:creationId xmlns:a16="http://schemas.microsoft.com/office/drawing/2014/main" id="{5B660639-6399-4FB0-B778-DDCF66945A40}"/>
              </a:ext>
            </a:extLst>
          </p:cNvPr>
          <p:cNvSpPr txBox="1"/>
          <p:nvPr/>
        </p:nvSpPr>
        <p:spPr>
          <a:xfrm>
            <a:off x="1193419" y="1664286"/>
            <a:ext cx="436145"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Pod</a:t>
            </a:r>
          </a:p>
        </p:txBody>
      </p:sp>
      <p:sp>
        <p:nvSpPr>
          <p:cNvPr id="16" name="Rectangle 15">
            <a:extLst>
              <a:ext uri="{FF2B5EF4-FFF2-40B4-BE49-F238E27FC236}">
                <a16:creationId xmlns:a16="http://schemas.microsoft.com/office/drawing/2014/main" id="{9ED78F10-F354-49C4-9393-61552FCE7448}"/>
              </a:ext>
            </a:extLst>
          </p:cNvPr>
          <p:cNvSpPr/>
          <p:nvPr/>
        </p:nvSpPr>
        <p:spPr bwMode="auto">
          <a:xfrm>
            <a:off x="1724603" y="2434575"/>
            <a:ext cx="959543" cy="8382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container</a:t>
            </a:r>
          </a:p>
        </p:txBody>
      </p:sp>
      <p:sp>
        <p:nvSpPr>
          <p:cNvPr id="18" name="Rectangle 17">
            <a:extLst>
              <a:ext uri="{FF2B5EF4-FFF2-40B4-BE49-F238E27FC236}">
                <a16:creationId xmlns:a16="http://schemas.microsoft.com/office/drawing/2014/main" id="{D6D9FC33-0CBB-420D-979B-B98E50436F14}"/>
              </a:ext>
            </a:extLst>
          </p:cNvPr>
          <p:cNvSpPr/>
          <p:nvPr/>
        </p:nvSpPr>
        <p:spPr bwMode="auto">
          <a:xfrm>
            <a:off x="2145610" y="4859770"/>
            <a:ext cx="959543" cy="8382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container</a:t>
            </a:r>
          </a:p>
        </p:txBody>
      </p:sp>
      <p:sp>
        <p:nvSpPr>
          <p:cNvPr id="19" name="Rectangle 18">
            <a:extLst>
              <a:ext uri="{FF2B5EF4-FFF2-40B4-BE49-F238E27FC236}">
                <a16:creationId xmlns:a16="http://schemas.microsoft.com/office/drawing/2014/main" id="{367FAE09-6877-48AC-9F33-7C5C8C040AF1}"/>
              </a:ext>
            </a:extLst>
          </p:cNvPr>
          <p:cNvSpPr/>
          <p:nvPr/>
        </p:nvSpPr>
        <p:spPr bwMode="auto">
          <a:xfrm>
            <a:off x="1149735" y="4108854"/>
            <a:ext cx="2109280" cy="1748523"/>
          </a:xfrm>
          <a:prstGeom prst="rect">
            <a:avLst/>
          </a:prstGeom>
          <a:noFill/>
          <a:ln>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20" name="TextBox 19">
            <a:extLst>
              <a:ext uri="{FF2B5EF4-FFF2-40B4-BE49-F238E27FC236}">
                <a16:creationId xmlns:a16="http://schemas.microsoft.com/office/drawing/2014/main" id="{05718CF7-5F33-4350-A506-81B3B0A2BCD4}"/>
              </a:ext>
            </a:extLst>
          </p:cNvPr>
          <p:cNvSpPr txBox="1"/>
          <p:nvPr/>
        </p:nvSpPr>
        <p:spPr>
          <a:xfrm>
            <a:off x="1193419" y="3793726"/>
            <a:ext cx="436145"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Pod</a:t>
            </a:r>
          </a:p>
        </p:txBody>
      </p:sp>
      <p:sp>
        <p:nvSpPr>
          <p:cNvPr id="21" name="Rectangle 20">
            <a:extLst>
              <a:ext uri="{FF2B5EF4-FFF2-40B4-BE49-F238E27FC236}">
                <a16:creationId xmlns:a16="http://schemas.microsoft.com/office/drawing/2014/main" id="{42319B6C-8670-4450-AFD5-8D646AFB400D}"/>
              </a:ext>
            </a:extLst>
          </p:cNvPr>
          <p:cNvSpPr/>
          <p:nvPr/>
        </p:nvSpPr>
        <p:spPr bwMode="auto">
          <a:xfrm>
            <a:off x="1373348" y="4274762"/>
            <a:ext cx="959543" cy="8382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container</a:t>
            </a:r>
          </a:p>
        </p:txBody>
      </p:sp>
      <p:sp>
        <p:nvSpPr>
          <p:cNvPr id="12" name="Rectangle: Rounded Corners 11">
            <a:extLst>
              <a:ext uri="{FF2B5EF4-FFF2-40B4-BE49-F238E27FC236}">
                <a16:creationId xmlns:a16="http://schemas.microsoft.com/office/drawing/2014/main" id="{9E34AED3-D959-4FC4-9B62-6CE5BA4DA74C}"/>
              </a:ext>
            </a:extLst>
          </p:cNvPr>
          <p:cNvSpPr/>
          <p:nvPr/>
        </p:nvSpPr>
        <p:spPr bwMode="auto">
          <a:xfrm>
            <a:off x="586740" y="6365631"/>
            <a:ext cx="11205153" cy="426636"/>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Persistent Volume Storage</a:t>
            </a:r>
          </a:p>
        </p:txBody>
      </p:sp>
      <p:sp>
        <p:nvSpPr>
          <p:cNvPr id="23" name="Rectangle 22">
            <a:extLst>
              <a:ext uri="{FF2B5EF4-FFF2-40B4-BE49-F238E27FC236}">
                <a16:creationId xmlns:a16="http://schemas.microsoft.com/office/drawing/2014/main" id="{1F917822-8C1D-4B6C-B7D8-D9DD3A389908}"/>
              </a:ext>
            </a:extLst>
          </p:cNvPr>
          <p:cNvSpPr/>
          <p:nvPr/>
        </p:nvSpPr>
        <p:spPr bwMode="auto">
          <a:xfrm>
            <a:off x="8667666" y="1593397"/>
            <a:ext cx="2614245" cy="4400657"/>
          </a:xfrm>
          <a:prstGeom prst="rect">
            <a:avLst/>
          </a:prstGeom>
          <a:noFill/>
          <a:ln>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24" name="TextBox 23">
            <a:extLst>
              <a:ext uri="{FF2B5EF4-FFF2-40B4-BE49-F238E27FC236}">
                <a16:creationId xmlns:a16="http://schemas.microsoft.com/office/drawing/2014/main" id="{B8FE645F-3710-43E5-B90D-81B2C9AAFF4C}"/>
              </a:ext>
            </a:extLst>
          </p:cNvPr>
          <p:cNvSpPr txBox="1"/>
          <p:nvPr/>
        </p:nvSpPr>
        <p:spPr>
          <a:xfrm>
            <a:off x="8667666" y="1285620"/>
            <a:ext cx="628377"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Node</a:t>
            </a:r>
          </a:p>
        </p:txBody>
      </p:sp>
      <p:sp>
        <p:nvSpPr>
          <p:cNvPr id="26" name="TextBox 25">
            <a:extLst>
              <a:ext uri="{FF2B5EF4-FFF2-40B4-BE49-F238E27FC236}">
                <a16:creationId xmlns:a16="http://schemas.microsoft.com/office/drawing/2014/main" id="{5BBCD61F-BC28-48D5-9D89-C6086F3AA21C}"/>
              </a:ext>
            </a:extLst>
          </p:cNvPr>
          <p:cNvSpPr txBox="1"/>
          <p:nvPr/>
        </p:nvSpPr>
        <p:spPr>
          <a:xfrm>
            <a:off x="8981854" y="1703018"/>
            <a:ext cx="436145"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Pod</a:t>
            </a:r>
          </a:p>
        </p:txBody>
      </p:sp>
      <p:sp>
        <p:nvSpPr>
          <p:cNvPr id="29" name="Rectangle 28">
            <a:extLst>
              <a:ext uri="{FF2B5EF4-FFF2-40B4-BE49-F238E27FC236}">
                <a16:creationId xmlns:a16="http://schemas.microsoft.com/office/drawing/2014/main" id="{DB359ABB-8A14-4F90-9C87-5CE271539434}"/>
              </a:ext>
            </a:extLst>
          </p:cNvPr>
          <p:cNvSpPr/>
          <p:nvPr/>
        </p:nvSpPr>
        <p:spPr bwMode="auto">
          <a:xfrm>
            <a:off x="7277524" y="1371098"/>
            <a:ext cx="959543" cy="8382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Load balancer</a:t>
            </a:r>
          </a:p>
        </p:txBody>
      </p:sp>
      <p:sp>
        <p:nvSpPr>
          <p:cNvPr id="31" name="Rectangle 30">
            <a:extLst>
              <a:ext uri="{FF2B5EF4-FFF2-40B4-BE49-F238E27FC236}">
                <a16:creationId xmlns:a16="http://schemas.microsoft.com/office/drawing/2014/main" id="{13FAF985-A3C0-49B5-A9D0-7866217D12F7}"/>
              </a:ext>
            </a:extLst>
          </p:cNvPr>
          <p:cNvSpPr/>
          <p:nvPr/>
        </p:nvSpPr>
        <p:spPr bwMode="auto">
          <a:xfrm>
            <a:off x="8938170" y="4147586"/>
            <a:ext cx="2109280" cy="1748523"/>
          </a:xfrm>
          <a:prstGeom prst="rect">
            <a:avLst/>
          </a:prstGeom>
          <a:noFill/>
          <a:ln>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2" name="TextBox 31">
            <a:extLst>
              <a:ext uri="{FF2B5EF4-FFF2-40B4-BE49-F238E27FC236}">
                <a16:creationId xmlns:a16="http://schemas.microsoft.com/office/drawing/2014/main" id="{FFEB592D-92C4-4AC4-8045-A726E8B712DB}"/>
              </a:ext>
            </a:extLst>
          </p:cNvPr>
          <p:cNvSpPr txBox="1"/>
          <p:nvPr/>
        </p:nvSpPr>
        <p:spPr>
          <a:xfrm>
            <a:off x="8981854" y="3832458"/>
            <a:ext cx="436145"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Pod</a:t>
            </a:r>
          </a:p>
        </p:txBody>
      </p:sp>
      <p:sp>
        <p:nvSpPr>
          <p:cNvPr id="33" name="Rectangle 32">
            <a:extLst>
              <a:ext uri="{FF2B5EF4-FFF2-40B4-BE49-F238E27FC236}">
                <a16:creationId xmlns:a16="http://schemas.microsoft.com/office/drawing/2014/main" id="{262A227C-9736-4A95-9A79-810D79EB2A15}"/>
              </a:ext>
            </a:extLst>
          </p:cNvPr>
          <p:cNvSpPr/>
          <p:nvPr/>
        </p:nvSpPr>
        <p:spPr bwMode="auto">
          <a:xfrm>
            <a:off x="9161783" y="4313494"/>
            <a:ext cx="959543" cy="8382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SQL Server</a:t>
            </a:r>
          </a:p>
        </p:txBody>
      </p:sp>
      <p:sp>
        <p:nvSpPr>
          <p:cNvPr id="34" name="Rectangle 33">
            <a:extLst>
              <a:ext uri="{FF2B5EF4-FFF2-40B4-BE49-F238E27FC236}">
                <a16:creationId xmlns:a16="http://schemas.microsoft.com/office/drawing/2014/main" id="{BDF09942-A5F0-4333-BD88-5581DF3D530E}"/>
              </a:ext>
            </a:extLst>
          </p:cNvPr>
          <p:cNvSpPr/>
          <p:nvPr/>
        </p:nvSpPr>
        <p:spPr bwMode="auto">
          <a:xfrm>
            <a:off x="4746705" y="2640089"/>
            <a:ext cx="2614245" cy="2384738"/>
          </a:xfrm>
          <a:prstGeom prst="rect">
            <a:avLst/>
          </a:prstGeom>
          <a:noFill/>
          <a:ln>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5" name="TextBox 34">
            <a:extLst>
              <a:ext uri="{FF2B5EF4-FFF2-40B4-BE49-F238E27FC236}">
                <a16:creationId xmlns:a16="http://schemas.microsoft.com/office/drawing/2014/main" id="{B191BCC2-C21A-4225-9E6F-BBEB89D65C58}"/>
              </a:ext>
            </a:extLst>
          </p:cNvPr>
          <p:cNvSpPr txBox="1"/>
          <p:nvPr/>
        </p:nvSpPr>
        <p:spPr>
          <a:xfrm>
            <a:off x="4746705" y="2332311"/>
            <a:ext cx="628377"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Node</a:t>
            </a:r>
          </a:p>
        </p:txBody>
      </p:sp>
      <p:sp>
        <p:nvSpPr>
          <p:cNvPr id="36" name="Rectangle 35">
            <a:extLst>
              <a:ext uri="{FF2B5EF4-FFF2-40B4-BE49-F238E27FC236}">
                <a16:creationId xmlns:a16="http://schemas.microsoft.com/office/drawing/2014/main" id="{FBF81328-64E0-4BFA-810F-6CDEDF6CA9FD}"/>
              </a:ext>
            </a:extLst>
          </p:cNvPr>
          <p:cNvSpPr/>
          <p:nvPr/>
        </p:nvSpPr>
        <p:spPr bwMode="auto">
          <a:xfrm>
            <a:off x="5017209" y="3064837"/>
            <a:ext cx="2109280" cy="1748523"/>
          </a:xfrm>
          <a:prstGeom prst="rect">
            <a:avLst/>
          </a:prstGeom>
          <a:noFill/>
          <a:ln>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7" name="TextBox 36">
            <a:extLst>
              <a:ext uri="{FF2B5EF4-FFF2-40B4-BE49-F238E27FC236}">
                <a16:creationId xmlns:a16="http://schemas.microsoft.com/office/drawing/2014/main" id="{88B8F341-9B0D-4056-8325-6746D7B16092}"/>
              </a:ext>
            </a:extLst>
          </p:cNvPr>
          <p:cNvSpPr txBox="1"/>
          <p:nvPr/>
        </p:nvSpPr>
        <p:spPr>
          <a:xfrm>
            <a:off x="5060893" y="2749709"/>
            <a:ext cx="436145"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Pod</a:t>
            </a:r>
          </a:p>
        </p:txBody>
      </p:sp>
      <p:sp>
        <p:nvSpPr>
          <p:cNvPr id="40" name="Rectangle 39">
            <a:extLst>
              <a:ext uri="{FF2B5EF4-FFF2-40B4-BE49-F238E27FC236}">
                <a16:creationId xmlns:a16="http://schemas.microsoft.com/office/drawing/2014/main" id="{12DA8838-B4BC-4C90-A909-51A1BB4CBE7A}"/>
              </a:ext>
            </a:extLst>
          </p:cNvPr>
          <p:cNvSpPr/>
          <p:nvPr/>
        </p:nvSpPr>
        <p:spPr bwMode="auto">
          <a:xfrm>
            <a:off x="5592077" y="3519998"/>
            <a:ext cx="959543" cy="8382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operator</a:t>
            </a:r>
          </a:p>
        </p:txBody>
      </p:sp>
      <p:cxnSp>
        <p:nvCxnSpPr>
          <p:cNvPr id="4" name="Straight Connector 3">
            <a:extLst>
              <a:ext uri="{FF2B5EF4-FFF2-40B4-BE49-F238E27FC236}">
                <a16:creationId xmlns:a16="http://schemas.microsoft.com/office/drawing/2014/main" id="{DB21E19B-99E2-449E-A489-4F14D227BE20}"/>
              </a:ext>
            </a:extLst>
          </p:cNvPr>
          <p:cNvCxnSpPr>
            <a:cxnSpLocks/>
            <a:endCxn id="29" idx="2"/>
          </p:cNvCxnSpPr>
          <p:nvPr/>
        </p:nvCxnSpPr>
        <p:spPr>
          <a:xfrm flipV="1">
            <a:off x="7126490" y="2209298"/>
            <a:ext cx="630806" cy="1741123"/>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F020EA4D-3467-43D9-B833-72BAD7C9BA14}"/>
              </a:ext>
            </a:extLst>
          </p:cNvPr>
          <p:cNvCxnSpPr>
            <a:cxnSpLocks/>
            <a:endCxn id="31" idx="1"/>
          </p:cNvCxnSpPr>
          <p:nvPr/>
        </p:nvCxnSpPr>
        <p:spPr>
          <a:xfrm>
            <a:off x="7104647" y="3972909"/>
            <a:ext cx="1833523" cy="1048939"/>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A36C95A0-5862-4E7A-BE52-9BCF9294B6E4}"/>
              </a:ext>
            </a:extLst>
          </p:cNvPr>
          <p:cNvCxnSpPr>
            <a:cxnSpLocks/>
            <a:stCxn id="44" idx="1"/>
            <a:endCxn id="29" idx="3"/>
          </p:cNvCxnSpPr>
          <p:nvPr/>
        </p:nvCxnSpPr>
        <p:spPr>
          <a:xfrm flipH="1" flipV="1">
            <a:off x="8237067" y="1790198"/>
            <a:ext cx="946683" cy="847836"/>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790D9FBC-7B7D-442D-963F-5B7DECBDCD5B}"/>
              </a:ext>
            </a:extLst>
          </p:cNvPr>
          <p:cNvSpPr/>
          <p:nvPr/>
        </p:nvSpPr>
        <p:spPr bwMode="auto">
          <a:xfrm>
            <a:off x="8960137" y="2053026"/>
            <a:ext cx="2109280" cy="1748523"/>
          </a:xfrm>
          <a:prstGeom prst="rect">
            <a:avLst/>
          </a:prstGeom>
          <a:noFill/>
          <a:ln>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44" name="Rectangle 43">
            <a:extLst>
              <a:ext uri="{FF2B5EF4-FFF2-40B4-BE49-F238E27FC236}">
                <a16:creationId xmlns:a16="http://schemas.microsoft.com/office/drawing/2014/main" id="{AFD505FD-0FFE-4262-96A6-4F50CB969BEF}"/>
              </a:ext>
            </a:extLst>
          </p:cNvPr>
          <p:cNvSpPr/>
          <p:nvPr/>
        </p:nvSpPr>
        <p:spPr bwMode="auto">
          <a:xfrm>
            <a:off x="9183750" y="2218934"/>
            <a:ext cx="959543" cy="8382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SQL Server</a:t>
            </a:r>
          </a:p>
        </p:txBody>
      </p:sp>
      <p:cxnSp>
        <p:nvCxnSpPr>
          <p:cNvPr id="46" name="Straight Connector 45">
            <a:extLst>
              <a:ext uri="{FF2B5EF4-FFF2-40B4-BE49-F238E27FC236}">
                <a16:creationId xmlns:a16="http://schemas.microsoft.com/office/drawing/2014/main" id="{7CA20319-FA35-4F08-AD0C-2EB00ED0C958}"/>
              </a:ext>
            </a:extLst>
          </p:cNvPr>
          <p:cNvCxnSpPr>
            <a:cxnSpLocks/>
            <a:endCxn id="43" idx="1"/>
          </p:cNvCxnSpPr>
          <p:nvPr/>
        </p:nvCxnSpPr>
        <p:spPr>
          <a:xfrm flipV="1">
            <a:off x="7126490" y="2927288"/>
            <a:ext cx="1833647" cy="1023133"/>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47" name="Picture 46">
            <a:extLst>
              <a:ext uri="{FF2B5EF4-FFF2-40B4-BE49-F238E27FC236}">
                <a16:creationId xmlns:a16="http://schemas.microsoft.com/office/drawing/2014/main" id="{7D402E50-1024-4B1D-9254-8BE3D9BD28A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20018" y="125258"/>
            <a:ext cx="571875" cy="424535"/>
          </a:xfrm>
          <a:prstGeom prst="rect">
            <a:avLst/>
          </a:prstGeom>
        </p:spPr>
      </p:pic>
      <p:sp>
        <p:nvSpPr>
          <p:cNvPr id="48" name="Rectangle 47">
            <a:extLst>
              <a:ext uri="{FF2B5EF4-FFF2-40B4-BE49-F238E27FC236}">
                <a16:creationId xmlns:a16="http://schemas.microsoft.com/office/drawing/2014/main" id="{24EF2D87-D1D7-4856-A6FC-E621F45E31A1}"/>
              </a:ext>
            </a:extLst>
          </p:cNvPr>
          <p:cNvSpPr/>
          <p:nvPr/>
        </p:nvSpPr>
        <p:spPr bwMode="auto">
          <a:xfrm>
            <a:off x="8245651" y="313414"/>
            <a:ext cx="1769126" cy="55399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Your application</a:t>
            </a:r>
          </a:p>
        </p:txBody>
      </p:sp>
      <p:cxnSp>
        <p:nvCxnSpPr>
          <p:cNvPr id="49" name="Straight Connector 48">
            <a:extLst>
              <a:ext uri="{FF2B5EF4-FFF2-40B4-BE49-F238E27FC236}">
                <a16:creationId xmlns:a16="http://schemas.microsoft.com/office/drawing/2014/main" id="{91A964A6-FE29-479C-98F4-D2A3DB6B5E49}"/>
              </a:ext>
            </a:extLst>
          </p:cNvPr>
          <p:cNvCxnSpPr>
            <a:cxnSpLocks/>
            <a:stCxn id="29" idx="0"/>
            <a:endCxn id="48" idx="2"/>
          </p:cNvCxnSpPr>
          <p:nvPr/>
        </p:nvCxnSpPr>
        <p:spPr>
          <a:xfrm flipV="1">
            <a:off x="7757296" y="867412"/>
            <a:ext cx="1372918" cy="503686"/>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A383E645-A5D4-40E5-A485-3CEA6AF8E19B}"/>
              </a:ext>
            </a:extLst>
          </p:cNvPr>
          <p:cNvSpPr/>
          <p:nvPr/>
        </p:nvSpPr>
        <p:spPr bwMode="auto">
          <a:xfrm>
            <a:off x="9956012" y="2803942"/>
            <a:ext cx="959543" cy="8382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Another Program</a:t>
            </a:r>
          </a:p>
        </p:txBody>
      </p:sp>
      <p:sp>
        <p:nvSpPr>
          <p:cNvPr id="30" name="Rectangle 29">
            <a:extLst>
              <a:ext uri="{FF2B5EF4-FFF2-40B4-BE49-F238E27FC236}">
                <a16:creationId xmlns:a16="http://schemas.microsoft.com/office/drawing/2014/main" id="{CC027076-5734-47BA-88A5-8070398EFCDE}"/>
              </a:ext>
            </a:extLst>
          </p:cNvPr>
          <p:cNvSpPr/>
          <p:nvPr/>
        </p:nvSpPr>
        <p:spPr bwMode="auto">
          <a:xfrm>
            <a:off x="9934045" y="4898502"/>
            <a:ext cx="959543" cy="8382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Another Program</a:t>
            </a:r>
          </a:p>
        </p:txBody>
      </p:sp>
      <p:pic>
        <p:nvPicPr>
          <p:cNvPr id="6" name="Picture 5" descr="A picture containing indoor, sitting&#10;&#10;Description automatically generated">
            <a:extLst>
              <a:ext uri="{FF2B5EF4-FFF2-40B4-BE49-F238E27FC236}">
                <a16:creationId xmlns:a16="http://schemas.microsoft.com/office/drawing/2014/main" id="{CC320B00-366A-486B-BA27-098F80E342E4}"/>
              </a:ext>
            </a:extLst>
          </p:cNvPr>
          <p:cNvPicPr>
            <a:picLocks noChangeAspect="1"/>
          </p:cNvPicPr>
          <p:nvPr/>
        </p:nvPicPr>
        <p:blipFill>
          <a:blip r:embed="rId4">
            <a:extLst>
              <a:ext uri="{837473B0-CC2E-450A-ABE3-18F120FF3D39}">
                <a1611:picAttrSrcUrl xmlns:a1611="http://schemas.microsoft.com/office/drawing/2016/11/main" r:id="rId5"/>
              </a:ext>
            </a:extLst>
          </a:blip>
          <a:stretch>
            <a:fillRect/>
          </a:stretch>
        </p:blipFill>
        <p:spPr>
          <a:xfrm>
            <a:off x="45039" y="549793"/>
            <a:ext cx="455294" cy="613191"/>
          </a:xfrm>
          <a:prstGeom prst="rect">
            <a:avLst/>
          </a:prstGeom>
        </p:spPr>
      </p:pic>
      <p:pic>
        <p:nvPicPr>
          <p:cNvPr id="2050" name="Picture 2" descr="Image result for azure virtual machine logo">
            <a:extLst>
              <a:ext uri="{FF2B5EF4-FFF2-40B4-BE49-F238E27FC236}">
                <a16:creationId xmlns:a16="http://schemas.microsoft.com/office/drawing/2014/main" id="{A105F8B1-8AD3-4229-ADD7-31E61CF69FE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73203" y="1322923"/>
            <a:ext cx="951443" cy="951443"/>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 descr="Image result for azure virtual machine logo">
            <a:extLst>
              <a:ext uri="{FF2B5EF4-FFF2-40B4-BE49-F238E27FC236}">
                <a16:creationId xmlns:a16="http://schemas.microsoft.com/office/drawing/2014/main" id="{FCF2BA87-1D7F-4231-AEE3-B2A8FF27990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576527" y="1577304"/>
            <a:ext cx="951443" cy="951443"/>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2" descr="Image result for azure virtual machine logo">
            <a:extLst>
              <a:ext uri="{FF2B5EF4-FFF2-40B4-BE49-F238E27FC236}">
                <a16:creationId xmlns:a16="http://schemas.microsoft.com/office/drawing/2014/main" id="{FD598B24-9BD4-4DC7-9289-8659C9C71BA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31454" y="4976769"/>
            <a:ext cx="951443" cy="9514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9670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05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2"/>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5"/>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51"/>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7"/>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6"/>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40"/>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34"/>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52"/>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24"/>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23"/>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26"/>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43"/>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44"/>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42"/>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32"/>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33"/>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30"/>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31"/>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46"/>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45"/>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nodeType="clickEffect">
                                  <p:stCondLst>
                                    <p:cond delay="0"/>
                                  </p:stCondLst>
                                  <p:childTnLst>
                                    <p:set>
                                      <p:cBhvr>
                                        <p:cTn id="78" dur="1" fill="hold">
                                          <p:stCondLst>
                                            <p:cond delay="0"/>
                                          </p:stCondLst>
                                        </p:cTn>
                                        <p:tgtEl>
                                          <p:spTgt spid="4"/>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29"/>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48"/>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41"/>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4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p:bldP spid="10" grpId="0" animBg="1"/>
      <p:bldP spid="11" grpId="0"/>
      <p:bldP spid="16" grpId="0" animBg="1"/>
      <p:bldP spid="18" grpId="0" animBg="1"/>
      <p:bldP spid="19" grpId="0" animBg="1"/>
      <p:bldP spid="20" grpId="0"/>
      <p:bldP spid="21" grpId="0" animBg="1"/>
      <p:bldP spid="12" grpId="0" animBg="1"/>
      <p:bldP spid="23" grpId="0" animBg="1"/>
      <p:bldP spid="24" grpId="0"/>
      <p:bldP spid="26" grpId="0"/>
      <p:bldP spid="29" grpId="0" animBg="1"/>
      <p:bldP spid="31" grpId="0" animBg="1"/>
      <p:bldP spid="32" grpId="0"/>
      <p:bldP spid="33" grpId="0" animBg="1"/>
      <p:bldP spid="34" grpId="0" animBg="1"/>
      <p:bldP spid="35" grpId="0"/>
      <p:bldP spid="36" grpId="0" animBg="1"/>
      <p:bldP spid="37" grpId="0"/>
      <p:bldP spid="40" grpId="0" animBg="1"/>
      <p:bldP spid="43" grpId="0" animBg="1"/>
      <p:bldP spid="44" grpId="0" animBg="1"/>
      <p:bldP spid="48" grpId="0" animBg="1"/>
      <p:bldP spid="42" grpId="0" animBg="1"/>
      <p:bldP spid="30" grpId="0" animBg="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ABCCEA-9662-4E41-B878-3AD78365FB68}"/>
              </a:ext>
            </a:extLst>
          </p:cNvPr>
          <p:cNvSpPr>
            <a:spLocks noGrp="1"/>
          </p:cNvSpPr>
          <p:nvPr>
            <p:ph type="title"/>
          </p:nvPr>
        </p:nvSpPr>
        <p:spPr/>
        <p:txBody>
          <a:bodyPr/>
          <a:lstStyle/>
          <a:p>
            <a:r>
              <a:rPr lang="en-US" dirty="0"/>
              <a:t>Let’s hear from an expert on k8s</a:t>
            </a:r>
          </a:p>
        </p:txBody>
      </p:sp>
      <p:pic>
        <p:nvPicPr>
          <p:cNvPr id="5" name="Picture 4">
            <a:hlinkClick r:id="rId2"/>
            <a:extLst>
              <a:ext uri="{FF2B5EF4-FFF2-40B4-BE49-F238E27FC236}">
                <a16:creationId xmlns:a16="http://schemas.microsoft.com/office/drawing/2014/main" id="{850F3035-6166-45BF-8FDF-BA7C84D4CD6A}"/>
              </a:ext>
            </a:extLst>
          </p:cNvPr>
          <p:cNvPicPr>
            <a:picLocks noChangeAspect="1"/>
          </p:cNvPicPr>
          <p:nvPr/>
        </p:nvPicPr>
        <p:blipFill>
          <a:blip r:embed="rId3"/>
          <a:stretch>
            <a:fillRect/>
          </a:stretch>
        </p:blipFill>
        <p:spPr>
          <a:xfrm>
            <a:off x="440650" y="1496930"/>
            <a:ext cx="8253175" cy="4618120"/>
          </a:xfrm>
          <a:prstGeom prst="rect">
            <a:avLst/>
          </a:prstGeom>
        </p:spPr>
      </p:pic>
      <p:sp>
        <p:nvSpPr>
          <p:cNvPr id="6" name="Rectangle 5">
            <a:extLst>
              <a:ext uri="{FF2B5EF4-FFF2-40B4-BE49-F238E27FC236}">
                <a16:creationId xmlns:a16="http://schemas.microsoft.com/office/drawing/2014/main" id="{84794F1F-18FA-41A0-B617-98A6E6FE176C}"/>
              </a:ext>
            </a:extLst>
          </p:cNvPr>
          <p:cNvSpPr/>
          <p:nvPr/>
        </p:nvSpPr>
        <p:spPr bwMode="auto">
          <a:xfrm>
            <a:off x="8908256" y="117915"/>
            <a:ext cx="3150394" cy="792956"/>
          </a:xfrm>
          <a:prstGeom prst="rect">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hlinkClick r:id="rId4"/>
              </a:rPr>
              <a:t>Container and k8s course</a:t>
            </a:r>
            <a:endParaRPr lang="en-US" sz="1600" dirty="0">
              <a:gradFill>
                <a:gsLst>
                  <a:gs pos="40075">
                    <a:srgbClr val="FFFFFF"/>
                  </a:gs>
                  <a:gs pos="30000">
                    <a:srgbClr val="FFFFFF"/>
                  </a:gs>
                </a:gsLst>
                <a:lin ang="5400000" scaled="0"/>
              </a:gradFill>
            </a:endParaRPr>
          </a:p>
        </p:txBody>
      </p:sp>
      <p:sp>
        <p:nvSpPr>
          <p:cNvPr id="7" name="Rectangle 6">
            <a:extLst>
              <a:ext uri="{FF2B5EF4-FFF2-40B4-BE49-F238E27FC236}">
                <a16:creationId xmlns:a16="http://schemas.microsoft.com/office/drawing/2014/main" id="{C0513B01-0AB7-4EE2-B758-1F8DC5B747D1}"/>
              </a:ext>
            </a:extLst>
          </p:cNvPr>
          <p:cNvSpPr/>
          <p:nvPr/>
        </p:nvSpPr>
        <p:spPr bwMode="auto">
          <a:xfrm>
            <a:off x="8908256" y="1011198"/>
            <a:ext cx="3150394" cy="792956"/>
          </a:xfrm>
          <a:prstGeom prst="rect">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hlinkClick r:id="rId5"/>
              </a:rPr>
              <a:t>https://aka.ms/k8slearning</a:t>
            </a:r>
            <a:endParaRPr lang="en-US" sz="1600" dirty="0">
              <a:gradFill>
                <a:gsLst>
                  <a:gs pos="40075">
                    <a:srgbClr val="FFFFFF"/>
                  </a:gs>
                  <a:gs pos="30000">
                    <a:srgbClr val="FFFFFF"/>
                  </a:gs>
                </a:gsLst>
                <a:lin ang="5400000" scaled="0"/>
              </a:gradFill>
            </a:endParaRPr>
          </a:p>
        </p:txBody>
      </p:sp>
    </p:spTree>
    <p:extLst>
      <p:ext uri="{BB962C8B-B14F-4D97-AF65-F5344CB8AC3E}">
        <p14:creationId xmlns:p14="http://schemas.microsoft.com/office/powerpoint/2010/main" val="620814848"/>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5D644A-9300-46F6-9746-8A8F6FE20638}"/>
              </a:ext>
            </a:extLst>
          </p:cNvPr>
          <p:cNvSpPr>
            <a:spLocks noGrp="1"/>
          </p:cNvSpPr>
          <p:nvPr>
            <p:ph type="title"/>
          </p:nvPr>
        </p:nvSpPr>
        <p:spPr/>
        <p:txBody>
          <a:bodyPr/>
          <a:lstStyle/>
          <a:p>
            <a:r>
              <a:rPr lang="en-US" dirty="0"/>
              <a:t>k8s implementations</a:t>
            </a:r>
          </a:p>
        </p:txBody>
      </p:sp>
      <p:graphicFrame>
        <p:nvGraphicFramePr>
          <p:cNvPr id="4" name="Diagram 3">
            <a:extLst>
              <a:ext uri="{FF2B5EF4-FFF2-40B4-BE49-F238E27FC236}">
                <a16:creationId xmlns:a16="http://schemas.microsoft.com/office/drawing/2014/main" id="{25BC0E79-4545-4B8E-9B34-E1DA2536C7DA}"/>
              </a:ext>
            </a:extLst>
          </p:cNvPr>
          <p:cNvGraphicFramePr/>
          <p:nvPr>
            <p:extLst>
              <p:ext uri="{D42A27DB-BD31-4B8C-83A1-F6EECF244321}">
                <p14:modId xmlns:p14="http://schemas.microsoft.com/office/powerpoint/2010/main" val="1763623619"/>
              </p:ext>
            </p:extLst>
          </p:nvPr>
        </p:nvGraphicFramePr>
        <p:xfrm>
          <a:off x="586390" y="1434370"/>
          <a:ext cx="10957910" cy="47378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Rectangle: Rounded Corners 4">
            <a:extLst>
              <a:ext uri="{FF2B5EF4-FFF2-40B4-BE49-F238E27FC236}">
                <a16:creationId xmlns:a16="http://schemas.microsoft.com/office/drawing/2014/main" id="{A07FA8A8-28D0-4038-A3E5-23541A3326C9}"/>
              </a:ext>
            </a:extLst>
          </p:cNvPr>
          <p:cNvSpPr/>
          <p:nvPr/>
        </p:nvSpPr>
        <p:spPr bwMode="auto">
          <a:xfrm>
            <a:off x="7843838" y="278606"/>
            <a:ext cx="3986212" cy="471488"/>
          </a:xfrm>
          <a:prstGeom prst="roundRect">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Get the full list </a:t>
            </a:r>
            <a:r>
              <a:rPr lang="en-US" sz="1600" dirty="0">
                <a:gradFill>
                  <a:gsLst>
                    <a:gs pos="40075">
                      <a:srgbClr val="FFFFFF"/>
                    </a:gs>
                    <a:gs pos="30000">
                      <a:srgbClr val="FFFFFF"/>
                    </a:gs>
                  </a:gsLst>
                  <a:lin ang="5400000" scaled="0"/>
                </a:gradFill>
                <a:hlinkClick r:id="rId7"/>
              </a:rPr>
              <a:t>here</a:t>
            </a:r>
            <a:endParaRPr lang="en-US" sz="1600" dirty="0">
              <a:gradFill>
                <a:gsLst>
                  <a:gs pos="40075">
                    <a:srgbClr val="FFFFFF"/>
                  </a:gs>
                  <a:gs pos="30000">
                    <a:srgbClr val="FFFFFF"/>
                  </a:gs>
                </a:gsLst>
                <a:lin ang="5400000" scaled="0"/>
              </a:gradFill>
            </a:endParaRPr>
          </a:p>
        </p:txBody>
      </p:sp>
    </p:spTree>
    <p:extLst>
      <p:ext uri="{BB962C8B-B14F-4D97-AF65-F5344CB8AC3E}">
        <p14:creationId xmlns:p14="http://schemas.microsoft.com/office/powerpoint/2010/main" val="40571049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graphicEl>
                                              <a:dgm id="{D65FF878-1A60-4E47-9A24-794CDD479790}"/>
                                            </p:graphicEl>
                                          </p:spTgt>
                                        </p:tgtEl>
                                        <p:attrNameLst>
                                          <p:attrName>style.visibility</p:attrName>
                                        </p:attrNameLst>
                                      </p:cBhvr>
                                      <p:to>
                                        <p:strVal val="visible"/>
                                      </p:to>
                                    </p:set>
                                    <p:animEffect transition="in" filter="fade">
                                      <p:cBhvr>
                                        <p:cTn id="7" dur="500"/>
                                        <p:tgtEl>
                                          <p:spTgt spid="4">
                                            <p:graphicEl>
                                              <a:dgm id="{D65FF878-1A60-4E47-9A24-794CDD479790}"/>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graphicEl>
                                              <a:dgm id="{AB435B41-97BA-440A-A705-44B22CDB9B08}"/>
                                            </p:graphicEl>
                                          </p:spTgt>
                                        </p:tgtEl>
                                        <p:attrNameLst>
                                          <p:attrName>style.visibility</p:attrName>
                                        </p:attrNameLst>
                                      </p:cBhvr>
                                      <p:to>
                                        <p:strVal val="visible"/>
                                      </p:to>
                                    </p:set>
                                    <p:animEffect transition="in" filter="fade">
                                      <p:cBhvr>
                                        <p:cTn id="12" dur="500"/>
                                        <p:tgtEl>
                                          <p:spTgt spid="4">
                                            <p:graphicEl>
                                              <a:dgm id="{AB435B41-97BA-440A-A705-44B22CDB9B08}"/>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graphicEl>
                                              <a:dgm id="{6FED4224-6491-4827-B3FF-D06680D6EA87}"/>
                                            </p:graphicEl>
                                          </p:spTgt>
                                        </p:tgtEl>
                                        <p:attrNameLst>
                                          <p:attrName>style.visibility</p:attrName>
                                        </p:attrNameLst>
                                      </p:cBhvr>
                                      <p:to>
                                        <p:strVal val="visible"/>
                                      </p:to>
                                    </p:set>
                                    <p:animEffect transition="in" filter="fade">
                                      <p:cBhvr>
                                        <p:cTn id="17" dur="500"/>
                                        <p:tgtEl>
                                          <p:spTgt spid="4">
                                            <p:graphicEl>
                                              <a:dgm id="{6FED4224-6491-4827-B3FF-D06680D6EA87}"/>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graphicEl>
                                              <a:dgm id="{248090D7-1E72-4460-B238-DAE11EAFAB92}"/>
                                            </p:graphicEl>
                                          </p:spTgt>
                                        </p:tgtEl>
                                        <p:attrNameLst>
                                          <p:attrName>style.visibility</p:attrName>
                                        </p:attrNameLst>
                                      </p:cBhvr>
                                      <p:to>
                                        <p:strVal val="visible"/>
                                      </p:to>
                                    </p:set>
                                    <p:animEffect transition="in" filter="fade">
                                      <p:cBhvr>
                                        <p:cTn id="22" dur="500"/>
                                        <p:tgtEl>
                                          <p:spTgt spid="4">
                                            <p:graphicEl>
                                              <a:dgm id="{248090D7-1E72-4460-B238-DAE11EAFAB92}"/>
                                            </p:graphic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graphicEl>
                                              <a:dgm id="{DA7E4824-0F14-46CE-8B64-4544C89C3240}"/>
                                            </p:graphicEl>
                                          </p:spTgt>
                                        </p:tgtEl>
                                        <p:attrNameLst>
                                          <p:attrName>style.visibility</p:attrName>
                                        </p:attrNameLst>
                                      </p:cBhvr>
                                      <p:to>
                                        <p:strVal val="visible"/>
                                      </p:to>
                                    </p:set>
                                    <p:animEffect transition="in" filter="fade">
                                      <p:cBhvr>
                                        <p:cTn id="27" dur="500"/>
                                        <p:tgtEl>
                                          <p:spTgt spid="4">
                                            <p:graphicEl>
                                              <a:dgm id="{DA7E4824-0F14-46CE-8B64-4544C89C3240}"/>
                                            </p:graphic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
                                            <p:graphicEl>
                                              <a:dgm id="{6F34995B-366C-4C54-998F-F53E0C766676}"/>
                                            </p:graphicEl>
                                          </p:spTgt>
                                        </p:tgtEl>
                                        <p:attrNameLst>
                                          <p:attrName>style.visibility</p:attrName>
                                        </p:attrNameLst>
                                      </p:cBhvr>
                                      <p:to>
                                        <p:strVal val="visible"/>
                                      </p:to>
                                    </p:set>
                                    <p:animEffect transition="in" filter="fade">
                                      <p:cBhvr>
                                        <p:cTn id="32" dur="500"/>
                                        <p:tgtEl>
                                          <p:spTgt spid="4">
                                            <p:graphicEl>
                                              <a:dgm id="{6F34995B-366C-4C54-998F-F53E0C766676}"/>
                                            </p:graphicEl>
                                          </p:spTgt>
                                        </p:tgtEl>
                                      </p:cBhvr>
                                    </p:animEffec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uiExpand="1">
        <p:bldSub>
          <a:bldDgm bld="one"/>
        </p:bldSub>
      </p:bldGraphic>
      <p:bldP spid="5"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B91AAFE7-035C-4837-A454-1360C38F26CB}"/>
              </a:ext>
            </a:extLst>
          </p:cNvPr>
          <p:cNvSpPr/>
          <p:nvPr/>
        </p:nvSpPr>
        <p:spPr>
          <a:xfrm>
            <a:off x="980285" y="5226931"/>
            <a:ext cx="8472064" cy="887186"/>
          </a:xfrm>
          <a:prstGeom prst="roundRect">
            <a:avLst>
              <a:gd name="adj" fmla="val 0"/>
            </a:avLst>
          </a:prstGeom>
          <a:noFill/>
          <a:ln w="12700" cap="rnd">
            <a:solidFill>
              <a:schemeClr val="tx2"/>
            </a:solidFill>
          </a:ln>
          <a:scene3d>
            <a:camera prst="orthographicFront"/>
            <a:lightRig rig="threePt" dir="t"/>
          </a:scene3d>
          <a:sp3d/>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defTabSz="609468">
              <a:defRPr/>
            </a:pPr>
            <a:r>
              <a:rPr lang="en-US" sz="1200" dirty="0">
                <a:solidFill>
                  <a:srgbClr val="000000"/>
                </a:solidFill>
                <a:latin typeface="Segoe UI"/>
              </a:rPr>
              <a:t>Persistent Volume Storage</a:t>
            </a:r>
          </a:p>
        </p:txBody>
      </p:sp>
      <p:sp>
        <p:nvSpPr>
          <p:cNvPr id="5" name="Rectangle 4">
            <a:extLst>
              <a:ext uri="{FF2B5EF4-FFF2-40B4-BE49-F238E27FC236}">
                <a16:creationId xmlns:a16="http://schemas.microsoft.com/office/drawing/2014/main" id="{00161082-25D0-4036-BD92-38123745CB89}"/>
              </a:ext>
            </a:extLst>
          </p:cNvPr>
          <p:cNvSpPr/>
          <p:nvPr/>
        </p:nvSpPr>
        <p:spPr>
          <a:xfrm>
            <a:off x="455706" y="1590415"/>
            <a:ext cx="9521225" cy="4979872"/>
          </a:xfrm>
          <a:prstGeom prst="rect">
            <a:avLst/>
          </a:prstGeom>
          <a:noFill/>
          <a:ln w="12700">
            <a:solidFill>
              <a:schemeClr val="accent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vert="vert270" wrap="square" lIns="0" rIns="0" rtlCol="0" anchor="t" anchorCtr="1"/>
          <a:lstStyle/>
          <a:p>
            <a:pPr defTabSz="609468">
              <a:defRPr/>
            </a:pPr>
            <a:r>
              <a:rPr lang="en-US" sz="2400" dirty="0">
                <a:solidFill>
                  <a:srgbClr val="FFFFFF"/>
                </a:solidFill>
                <a:latin typeface="Segoe UI"/>
              </a:rPr>
              <a:t>Kubernetes</a:t>
            </a:r>
          </a:p>
        </p:txBody>
      </p:sp>
      <p:sp>
        <p:nvSpPr>
          <p:cNvPr id="14" name="Title 1">
            <a:extLst>
              <a:ext uri="{FF2B5EF4-FFF2-40B4-BE49-F238E27FC236}">
                <a16:creationId xmlns:a16="http://schemas.microsoft.com/office/drawing/2014/main" id="{29F2F0EA-F2A2-400F-AA08-DDA986FD6FF6}"/>
              </a:ext>
            </a:extLst>
          </p:cNvPr>
          <p:cNvSpPr txBox="1">
            <a:spLocks/>
          </p:cNvSpPr>
          <p:nvPr/>
        </p:nvSpPr>
        <p:spPr>
          <a:xfrm>
            <a:off x="204036" y="146289"/>
            <a:ext cx="0" cy="0"/>
          </a:xfrm>
        </p:spPr>
        <p:txBody>
          <a:bodyPr>
            <a:normAutofit fontScale="2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1218935">
              <a:defRPr/>
            </a:pPr>
            <a:endParaRPr lang="en-US" sz="4800" dirty="0">
              <a:solidFill>
                <a:srgbClr val="FFFFFF"/>
              </a:solidFill>
              <a:latin typeface="Segoe UI Light"/>
            </a:endParaRPr>
          </a:p>
        </p:txBody>
      </p:sp>
      <p:sp>
        <p:nvSpPr>
          <p:cNvPr id="36" name="TextBox 35">
            <a:extLst>
              <a:ext uri="{FF2B5EF4-FFF2-40B4-BE49-F238E27FC236}">
                <a16:creationId xmlns:a16="http://schemas.microsoft.com/office/drawing/2014/main" id="{6CB7B8D8-3C52-4AFE-936A-936F7E75D564}"/>
              </a:ext>
            </a:extLst>
          </p:cNvPr>
          <p:cNvSpPr txBox="1"/>
          <p:nvPr/>
        </p:nvSpPr>
        <p:spPr>
          <a:xfrm>
            <a:off x="270066" y="862626"/>
            <a:ext cx="6157929" cy="374793"/>
          </a:xfrm>
          <a:prstGeom prst="rect">
            <a:avLst/>
          </a:prstGeom>
          <a:noFill/>
        </p:spPr>
        <p:txBody>
          <a:bodyPr wrap="none" lIns="146284" rtlCol="0">
            <a:spAutoFit/>
          </a:bodyPr>
          <a:lstStyle/>
          <a:p>
            <a:pPr defTabSz="914192">
              <a:defRPr/>
            </a:pPr>
            <a:r>
              <a:rPr lang="en-US" sz="1800" b="1" dirty="0">
                <a:solidFill>
                  <a:srgbClr val="0078D7"/>
                </a:solidFill>
                <a:latin typeface="Segoe UI Semibold" panose="020B0502040204020203" pitchFamily="34" charset="0"/>
                <a:cs typeface="Segoe UI Semibold" panose="020B0502040204020203" pitchFamily="34" charset="0"/>
              </a:rPr>
              <a:t>Built-in HADR orchestration with no clustering required</a:t>
            </a:r>
          </a:p>
        </p:txBody>
      </p:sp>
      <p:sp>
        <p:nvSpPr>
          <p:cNvPr id="2" name="TextBox 1">
            <a:extLst>
              <a:ext uri="{FF2B5EF4-FFF2-40B4-BE49-F238E27FC236}">
                <a16:creationId xmlns:a16="http://schemas.microsoft.com/office/drawing/2014/main" id="{3DE734DD-EFB9-4EA2-BF56-EA5C439C6482}"/>
              </a:ext>
            </a:extLst>
          </p:cNvPr>
          <p:cNvSpPr txBox="1"/>
          <p:nvPr/>
        </p:nvSpPr>
        <p:spPr>
          <a:xfrm>
            <a:off x="10487440" y="3236559"/>
            <a:ext cx="906830" cy="280678"/>
          </a:xfrm>
          <a:prstGeom prst="rect">
            <a:avLst/>
          </a:prstGeom>
          <a:noFill/>
          <a:extLst>
            <a:ext uri="{909E8E84-426E-40DD-AFC4-6F175D3DCCD1}">
              <a14:hiddenFill xmlns:a14="http://schemas.microsoft.com/office/drawing/2010/main">
                <a:solidFill>
                  <a:srgbClr val="FFFFFF"/>
                </a:solidFill>
              </a14:hiddenFill>
            </a:ext>
          </a:extLst>
        </p:spPr>
        <p:txBody>
          <a:bodyPr wrap="square" rtlCol="0">
            <a:spAutoFit/>
          </a:bodyPr>
          <a:lstStyle/>
          <a:p>
            <a:pPr algn="ctr" defTabSz="914192">
              <a:defRPr/>
            </a:pPr>
            <a:r>
              <a:rPr lang="en-US" sz="1200" dirty="0">
                <a:solidFill>
                  <a:srgbClr val="000000"/>
                </a:solidFill>
                <a:latin typeface="Segoe UI"/>
              </a:rPr>
              <a:t>User</a:t>
            </a:r>
          </a:p>
        </p:txBody>
      </p:sp>
      <p:sp>
        <p:nvSpPr>
          <p:cNvPr id="11" name="Title 10">
            <a:extLst>
              <a:ext uri="{FF2B5EF4-FFF2-40B4-BE49-F238E27FC236}">
                <a16:creationId xmlns:a16="http://schemas.microsoft.com/office/drawing/2014/main" id="{14CFCC36-BE54-C64C-86C7-489C37867EDD}"/>
              </a:ext>
            </a:extLst>
          </p:cNvPr>
          <p:cNvSpPr>
            <a:spLocks noGrp="1"/>
          </p:cNvSpPr>
          <p:nvPr>
            <p:ph type="title"/>
          </p:nvPr>
        </p:nvSpPr>
        <p:spPr>
          <a:xfrm>
            <a:off x="270066" y="82485"/>
            <a:ext cx="11018520" cy="553998"/>
          </a:xfrm>
        </p:spPr>
        <p:txBody>
          <a:bodyPr vert="horz" wrap="square" lIns="146284" tIns="89642" rIns="143428" bIns="89642" rtlCol="0" anchor="t">
            <a:noAutofit/>
          </a:bodyPr>
          <a:lstStyle/>
          <a:p>
            <a:r>
              <a:rPr lang="en-US" dirty="0"/>
              <a:t>SQL Server - Shared storage HA in Kubernetes</a:t>
            </a:r>
          </a:p>
        </p:txBody>
      </p:sp>
      <p:sp>
        <p:nvSpPr>
          <p:cNvPr id="71" name="Freeform 5">
            <a:extLst>
              <a:ext uri="{FF2B5EF4-FFF2-40B4-BE49-F238E27FC236}">
                <a16:creationId xmlns:a16="http://schemas.microsoft.com/office/drawing/2014/main" id="{015A8A88-9217-BE43-A55B-2A8F82BC6526}"/>
              </a:ext>
            </a:extLst>
          </p:cNvPr>
          <p:cNvSpPr>
            <a:spLocks noEditPoints="1"/>
          </p:cNvSpPr>
          <p:nvPr/>
        </p:nvSpPr>
        <p:spPr bwMode="auto">
          <a:xfrm>
            <a:off x="10688100" y="2634397"/>
            <a:ext cx="505511" cy="56481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dirty="0">
              <a:solidFill>
                <a:srgbClr val="505050"/>
              </a:solidFill>
              <a:latin typeface="Segoe UI Semilight"/>
            </a:endParaRPr>
          </a:p>
        </p:txBody>
      </p:sp>
      <p:sp>
        <p:nvSpPr>
          <p:cNvPr id="7" name="Rectangle: Rounded Corners 6">
            <a:extLst>
              <a:ext uri="{FF2B5EF4-FFF2-40B4-BE49-F238E27FC236}">
                <a16:creationId xmlns:a16="http://schemas.microsoft.com/office/drawing/2014/main" id="{02C55D87-376F-4706-920D-06AAB722E882}"/>
              </a:ext>
            </a:extLst>
          </p:cNvPr>
          <p:cNvSpPr/>
          <p:nvPr/>
        </p:nvSpPr>
        <p:spPr>
          <a:xfrm>
            <a:off x="6973662" y="2082961"/>
            <a:ext cx="2478688" cy="2694265"/>
          </a:xfrm>
          <a:prstGeom prst="roundRect">
            <a:avLst>
              <a:gd name="adj" fmla="val 0"/>
            </a:avLst>
          </a:prstGeom>
          <a:solidFill>
            <a:schemeClr val="bg1">
              <a:alpha val="72000"/>
            </a:schemeClr>
          </a:solidFill>
          <a:ln w="12700" cap="rnd">
            <a:solidFill>
              <a:srgbClr val="0078D7"/>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609468">
              <a:defRPr/>
            </a:pPr>
            <a:r>
              <a:rPr lang="en-US" sz="1200" dirty="0">
                <a:solidFill>
                  <a:srgbClr val="000000"/>
                </a:solidFill>
                <a:latin typeface="Segoe UI"/>
              </a:rPr>
              <a:t>Node</a:t>
            </a:r>
          </a:p>
        </p:txBody>
      </p:sp>
      <p:sp>
        <p:nvSpPr>
          <p:cNvPr id="16" name="Rectangle: Rounded Corners 15">
            <a:extLst>
              <a:ext uri="{FF2B5EF4-FFF2-40B4-BE49-F238E27FC236}">
                <a16:creationId xmlns:a16="http://schemas.microsoft.com/office/drawing/2014/main" id="{860D20A0-01F5-439C-A157-1E54A04AF354}"/>
              </a:ext>
            </a:extLst>
          </p:cNvPr>
          <p:cNvSpPr/>
          <p:nvPr/>
        </p:nvSpPr>
        <p:spPr>
          <a:xfrm>
            <a:off x="7184450" y="2506465"/>
            <a:ext cx="2057109" cy="877699"/>
          </a:xfrm>
          <a:prstGeom prst="roundRect">
            <a:avLst>
              <a:gd name="adj" fmla="val 0"/>
            </a:avLst>
          </a:prstGeom>
          <a:solidFill>
            <a:srgbClr val="0078D7"/>
          </a:solid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609468">
              <a:defRPr/>
            </a:pPr>
            <a:r>
              <a:rPr lang="en-US" sz="1200" dirty="0">
                <a:solidFill>
                  <a:srgbClr val="FFFFFF"/>
                </a:solidFill>
                <a:latin typeface="Segoe UI"/>
              </a:rPr>
              <a:t>Pod</a:t>
            </a:r>
          </a:p>
        </p:txBody>
      </p:sp>
      <p:sp>
        <p:nvSpPr>
          <p:cNvPr id="17" name="Rectangle: Rounded Corners 16">
            <a:extLst>
              <a:ext uri="{FF2B5EF4-FFF2-40B4-BE49-F238E27FC236}">
                <a16:creationId xmlns:a16="http://schemas.microsoft.com/office/drawing/2014/main" id="{32EC8A84-9B97-4867-96E3-E5AE0E0DC400}"/>
              </a:ext>
            </a:extLst>
          </p:cNvPr>
          <p:cNvSpPr/>
          <p:nvPr/>
        </p:nvSpPr>
        <p:spPr>
          <a:xfrm>
            <a:off x="7495304" y="2868330"/>
            <a:ext cx="1435404" cy="283424"/>
          </a:xfrm>
          <a:prstGeom prst="roundRect">
            <a:avLst>
              <a:gd name="adj" fmla="val 0"/>
            </a:avLst>
          </a:prstGeom>
          <a:noFill/>
          <a:ln w="12700">
            <a:solidFill>
              <a:srgbClr val="FFFFFF"/>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609468">
              <a:defRPr/>
            </a:pPr>
            <a:r>
              <a:rPr lang="en-US" sz="1200" dirty="0">
                <a:solidFill>
                  <a:srgbClr val="FFFFFF"/>
                </a:solidFill>
                <a:latin typeface="Segoe UI"/>
              </a:rPr>
              <a:t>SQL Server </a:t>
            </a:r>
          </a:p>
        </p:txBody>
      </p:sp>
      <p:sp>
        <p:nvSpPr>
          <p:cNvPr id="6" name="Rectangle: Rounded Corners 5">
            <a:extLst>
              <a:ext uri="{FF2B5EF4-FFF2-40B4-BE49-F238E27FC236}">
                <a16:creationId xmlns:a16="http://schemas.microsoft.com/office/drawing/2014/main" id="{DC59C28B-99F1-428F-BF30-99B63E57E5BA}"/>
              </a:ext>
            </a:extLst>
          </p:cNvPr>
          <p:cNvSpPr/>
          <p:nvPr/>
        </p:nvSpPr>
        <p:spPr>
          <a:xfrm>
            <a:off x="3976973" y="2082961"/>
            <a:ext cx="2478688" cy="2694265"/>
          </a:xfrm>
          <a:prstGeom prst="roundRect">
            <a:avLst>
              <a:gd name="adj" fmla="val 0"/>
            </a:avLst>
          </a:prstGeom>
          <a:solidFill>
            <a:schemeClr val="bg1">
              <a:alpha val="72000"/>
            </a:schemeClr>
          </a:solidFill>
          <a:ln w="12700" cap="rnd">
            <a:solidFill>
              <a:srgbClr val="0078D7"/>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609468">
              <a:defRPr/>
            </a:pPr>
            <a:r>
              <a:rPr lang="en-US" sz="1200" dirty="0">
                <a:solidFill>
                  <a:srgbClr val="000000"/>
                </a:solidFill>
                <a:latin typeface="Segoe UI"/>
              </a:rPr>
              <a:t>Node</a:t>
            </a:r>
          </a:p>
        </p:txBody>
      </p:sp>
      <p:sp>
        <p:nvSpPr>
          <p:cNvPr id="21" name="Rectangle: Rounded Corners 20">
            <a:extLst>
              <a:ext uri="{FF2B5EF4-FFF2-40B4-BE49-F238E27FC236}">
                <a16:creationId xmlns:a16="http://schemas.microsoft.com/office/drawing/2014/main" id="{6320D24A-9917-44A1-8D1E-C536F3E44617}"/>
              </a:ext>
            </a:extLst>
          </p:cNvPr>
          <p:cNvSpPr/>
          <p:nvPr/>
        </p:nvSpPr>
        <p:spPr>
          <a:xfrm>
            <a:off x="4187762" y="2506465"/>
            <a:ext cx="2057109" cy="877699"/>
          </a:xfrm>
          <a:prstGeom prst="roundRect">
            <a:avLst>
              <a:gd name="adj" fmla="val 0"/>
            </a:avLst>
          </a:prstGeom>
          <a:solidFill>
            <a:schemeClr val="accent5">
              <a:lumMod val="20000"/>
              <a:lumOff val="80000"/>
              <a:alpha val="65000"/>
            </a:schemeClr>
          </a:solid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609468">
              <a:defRPr/>
            </a:pPr>
            <a:r>
              <a:rPr lang="en-US" sz="1200" dirty="0">
                <a:solidFill>
                  <a:srgbClr val="000000"/>
                </a:solidFill>
                <a:latin typeface="Segoe UI"/>
              </a:rPr>
              <a:t>Load Balancer Service</a:t>
            </a:r>
          </a:p>
        </p:txBody>
      </p:sp>
      <p:sp>
        <p:nvSpPr>
          <p:cNvPr id="9" name="Rectangle: Rounded Corners 8">
            <a:extLst>
              <a:ext uri="{FF2B5EF4-FFF2-40B4-BE49-F238E27FC236}">
                <a16:creationId xmlns:a16="http://schemas.microsoft.com/office/drawing/2014/main" id="{07797FDF-0859-4AA4-A7FF-CE94805DBCBA}"/>
              </a:ext>
            </a:extLst>
          </p:cNvPr>
          <p:cNvSpPr/>
          <p:nvPr/>
        </p:nvSpPr>
        <p:spPr>
          <a:xfrm>
            <a:off x="980285" y="2054333"/>
            <a:ext cx="2478688" cy="2720466"/>
          </a:xfrm>
          <a:prstGeom prst="roundRect">
            <a:avLst>
              <a:gd name="adj" fmla="val 0"/>
            </a:avLst>
          </a:prstGeom>
          <a:solidFill>
            <a:schemeClr val="bg1">
              <a:alpha val="72000"/>
            </a:schemeClr>
          </a:solidFill>
          <a:ln w="12700" cap="rnd">
            <a:solidFill>
              <a:srgbClr val="0078D7"/>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609468">
              <a:defRPr/>
            </a:pPr>
            <a:r>
              <a:rPr lang="en-US" sz="1200" dirty="0">
                <a:solidFill>
                  <a:srgbClr val="000000"/>
                </a:solidFill>
                <a:latin typeface="Segoe UI"/>
              </a:rPr>
              <a:t>Node</a:t>
            </a:r>
          </a:p>
        </p:txBody>
      </p:sp>
      <p:sp>
        <p:nvSpPr>
          <p:cNvPr id="24" name="Rectangle: Rounded Corners 23">
            <a:extLst>
              <a:ext uri="{FF2B5EF4-FFF2-40B4-BE49-F238E27FC236}">
                <a16:creationId xmlns:a16="http://schemas.microsoft.com/office/drawing/2014/main" id="{58985664-8899-40C6-8B61-DCA0B59470B7}"/>
              </a:ext>
            </a:extLst>
          </p:cNvPr>
          <p:cNvSpPr/>
          <p:nvPr/>
        </p:nvSpPr>
        <p:spPr>
          <a:xfrm>
            <a:off x="1189550" y="2506465"/>
            <a:ext cx="2060160" cy="877699"/>
          </a:xfrm>
          <a:prstGeom prst="roundRect">
            <a:avLst>
              <a:gd name="adj" fmla="val 0"/>
            </a:avLst>
          </a:prstGeom>
          <a:solidFill>
            <a:srgbClr val="0078D7"/>
          </a:solid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609468">
              <a:defRPr/>
            </a:pPr>
            <a:r>
              <a:rPr lang="en-US" sz="1200" dirty="0">
                <a:solidFill>
                  <a:srgbClr val="FFFFFF"/>
                </a:solidFill>
                <a:latin typeface="Segoe UI"/>
              </a:rPr>
              <a:t>Pod</a:t>
            </a:r>
          </a:p>
        </p:txBody>
      </p:sp>
      <p:sp>
        <p:nvSpPr>
          <p:cNvPr id="25" name="Rectangle: Rounded Corners 24">
            <a:extLst>
              <a:ext uri="{FF2B5EF4-FFF2-40B4-BE49-F238E27FC236}">
                <a16:creationId xmlns:a16="http://schemas.microsoft.com/office/drawing/2014/main" id="{7E7E225D-4755-4B06-B60E-A13BC64E8B3E}"/>
              </a:ext>
            </a:extLst>
          </p:cNvPr>
          <p:cNvSpPr/>
          <p:nvPr/>
        </p:nvSpPr>
        <p:spPr>
          <a:xfrm>
            <a:off x="1503451" y="2870482"/>
            <a:ext cx="1432357" cy="279120"/>
          </a:xfrm>
          <a:prstGeom prst="roundRect">
            <a:avLst>
              <a:gd name="adj" fmla="val 0"/>
            </a:avLst>
          </a:prstGeom>
          <a:noFill/>
          <a:ln w="12700">
            <a:solidFill>
              <a:schemeClr val="bg1"/>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609468">
              <a:defRPr/>
            </a:pPr>
            <a:r>
              <a:rPr lang="en-US" sz="1200" dirty="0">
                <a:solidFill>
                  <a:srgbClr val="FFFFFF"/>
                </a:solidFill>
                <a:latin typeface="Segoe UI"/>
              </a:rPr>
              <a:t>SQL Server </a:t>
            </a:r>
          </a:p>
        </p:txBody>
      </p:sp>
      <p:sp>
        <p:nvSpPr>
          <p:cNvPr id="80" name="Rectangle: Rounded Corners 23">
            <a:extLst>
              <a:ext uri="{FF2B5EF4-FFF2-40B4-BE49-F238E27FC236}">
                <a16:creationId xmlns:a16="http://schemas.microsoft.com/office/drawing/2014/main" id="{FD469D95-08DF-4B49-9997-6BE45504353F}"/>
              </a:ext>
            </a:extLst>
          </p:cNvPr>
          <p:cNvSpPr/>
          <p:nvPr/>
        </p:nvSpPr>
        <p:spPr>
          <a:xfrm>
            <a:off x="1189550" y="3579482"/>
            <a:ext cx="2060160" cy="877699"/>
          </a:xfrm>
          <a:prstGeom prst="roundRect">
            <a:avLst>
              <a:gd name="adj" fmla="val 0"/>
            </a:avLst>
          </a:prstGeom>
          <a:solidFill>
            <a:srgbClr val="0078D7"/>
          </a:solid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609468">
              <a:defRPr/>
            </a:pPr>
            <a:r>
              <a:rPr lang="en-US" sz="1200" dirty="0">
                <a:solidFill>
                  <a:srgbClr val="FFFFFF"/>
                </a:solidFill>
                <a:latin typeface="Segoe UI"/>
              </a:rPr>
              <a:t>Pod</a:t>
            </a:r>
          </a:p>
        </p:txBody>
      </p:sp>
      <p:sp>
        <p:nvSpPr>
          <p:cNvPr id="81" name="Rectangle: Rounded Corners 24">
            <a:extLst>
              <a:ext uri="{FF2B5EF4-FFF2-40B4-BE49-F238E27FC236}">
                <a16:creationId xmlns:a16="http://schemas.microsoft.com/office/drawing/2014/main" id="{3703B540-C3CD-5A44-9E45-AE73CC8474DB}"/>
              </a:ext>
            </a:extLst>
          </p:cNvPr>
          <p:cNvSpPr/>
          <p:nvPr/>
        </p:nvSpPr>
        <p:spPr>
          <a:xfrm>
            <a:off x="1503451" y="3943499"/>
            <a:ext cx="1432357" cy="279120"/>
          </a:xfrm>
          <a:prstGeom prst="roundRect">
            <a:avLst>
              <a:gd name="adj" fmla="val 0"/>
            </a:avLst>
          </a:prstGeom>
          <a:noFill/>
          <a:ln w="12700">
            <a:solidFill>
              <a:schemeClr val="bg1"/>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609468">
              <a:defRPr/>
            </a:pPr>
            <a:r>
              <a:rPr lang="en-US" sz="1200" dirty="0">
                <a:solidFill>
                  <a:srgbClr val="FFFFFF"/>
                </a:solidFill>
                <a:latin typeface="Segoe UI"/>
              </a:rPr>
              <a:t>SQL Server </a:t>
            </a:r>
          </a:p>
        </p:txBody>
      </p:sp>
      <p:cxnSp>
        <p:nvCxnSpPr>
          <p:cNvPr id="85" name="Elbow Connector 84">
            <a:extLst>
              <a:ext uri="{FF2B5EF4-FFF2-40B4-BE49-F238E27FC236}">
                <a16:creationId xmlns:a16="http://schemas.microsoft.com/office/drawing/2014/main" id="{869DB18D-8B6C-5A4C-8DDC-69DF3CE9DB2E}"/>
              </a:ext>
            </a:extLst>
          </p:cNvPr>
          <p:cNvCxnSpPr>
            <a:stCxn id="71" idx="1"/>
            <a:endCxn id="21" idx="0"/>
          </p:cNvCxnSpPr>
          <p:nvPr/>
        </p:nvCxnSpPr>
        <p:spPr>
          <a:xfrm flipH="1" flipV="1">
            <a:off x="5216316" y="2506465"/>
            <a:ext cx="5726594" cy="127932"/>
          </a:xfrm>
          <a:prstGeom prst="bentConnector4">
            <a:avLst>
              <a:gd name="adj1" fmla="val -33"/>
              <a:gd name="adj2" fmla="val 620181"/>
            </a:avLst>
          </a:prstGeom>
          <a:ln w="12700">
            <a:solidFill>
              <a:schemeClr val="accent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D0384715-6567-AA43-A514-49237FE92748}"/>
              </a:ext>
            </a:extLst>
          </p:cNvPr>
          <p:cNvCxnSpPr>
            <a:stCxn id="21" idx="1"/>
          </p:cNvCxnSpPr>
          <p:nvPr/>
        </p:nvCxnSpPr>
        <p:spPr>
          <a:xfrm flipH="1" flipV="1">
            <a:off x="3249711" y="2944281"/>
            <a:ext cx="938053" cy="1034"/>
          </a:xfrm>
          <a:prstGeom prst="straightConnector1">
            <a:avLst/>
          </a:prstGeom>
          <a:ln w="12700">
            <a:solidFill>
              <a:schemeClr val="accent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D269D8C0-E75D-3A4E-BCDF-E7172A401646}"/>
              </a:ext>
            </a:extLst>
          </p:cNvPr>
          <p:cNvCxnSpPr>
            <a:cxnSpLocks/>
            <a:stCxn id="24" idx="2"/>
          </p:cNvCxnSpPr>
          <p:nvPr/>
        </p:nvCxnSpPr>
        <p:spPr>
          <a:xfrm>
            <a:off x="2219630" y="3384164"/>
            <a:ext cx="0" cy="1842767"/>
          </a:xfrm>
          <a:prstGeom prst="straightConnector1">
            <a:avLst/>
          </a:prstGeom>
          <a:ln w="12700">
            <a:solidFill>
              <a:schemeClr val="accent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9" name="Elbow Connector 108">
            <a:extLst>
              <a:ext uri="{FF2B5EF4-FFF2-40B4-BE49-F238E27FC236}">
                <a16:creationId xmlns:a16="http://schemas.microsoft.com/office/drawing/2014/main" id="{995444D6-FE5F-CB45-B835-55938D1DA9DC}"/>
              </a:ext>
            </a:extLst>
          </p:cNvPr>
          <p:cNvCxnSpPr>
            <a:stCxn id="21" idx="2"/>
            <a:endCxn id="80" idx="3"/>
          </p:cNvCxnSpPr>
          <p:nvPr/>
        </p:nvCxnSpPr>
        <p:spPr>
          <a:xfrm rot="5400000">
            <a:off x="3915931" y="2717944"/>
            <a:ext cx="634167" cy="1966607"/>
          </a:xfrm>
          <a:prstGeom prst="bentConnector2">
            <a:avLst/>
          </a:prstGeom>
          <a:ln w="12700">
            <a:solidFill>
              <a:schemeClr val="accent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0" name="Straight Arrow Connector 119">
            <a:extLst>
              <a:ext uri="{FF2B5EF4-FFF2-40B4-BE49-F238E27FC236}">
                <a16:creationId xmlns:a16="http://schemas.microsoft.com/office/drawing/2014/main" id="{3230F133-06E3-1748-904B-F7BDEC790F82}"/>
              </a:ext>
            </a:extLst>
          </p:cNvPr>
          <p:cNvCxnSpPr>
            <a:cxnSpLocks/>
          </p:cNvCxnSpPr>
          <p:nvPr/>
        </p:nvCxnSpPr>
        <p:spPr>
          <a:xfrm flipV="1">
            <a:off x="6235247" y="2944281"/>
            <a:ext cx="938053" cy="1034"/>
          </a:xfrm>
          <a:prstGeom prst="straightConnector1">
            <a:avLst/>
          </a:prstGeom>
          <a:ln w="12700">
            <a:solidFill>
              <a:schemeClr val="accent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1" name="Straight Arrow Connector 120">
            <a:extLst>
              <a:ext uri="{FF2B5EF4-FFF2-40B4-BE49-F238E27FC236}">
                <a16:creationId xmlns:a16="http://schemas.microsoft.com/office/drawing/2014/main" id="{D6F9FD2C-5633-444C-99F5-D23AFABB4D9B}"/>
              </a:ext>
            </a:extLst>
          </p:cNvPr>
          <p:cNvCxnSpPr>
            <a:cxnSpLocks/>
          </p:cNvCxnSpPr>
          <p:nvPr/>
        </p:nvCxnSpPr>
        <p:spPr>
          <a:xfrm>
            <a:off x="8214977" y="3384164"/>
            <a:ext cx="0" cy="1842767"/>
          </a:xfrm>
          <a:prstGeom prst="straightConnector1">
            <a:avLst/>
          </a:prstGeom>
          <a:ln w="12700">
            <a:solidFill>
              <a:schemeClr val="accent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53FDB765-0480-44C1-BD04-1159FA943CD2}"/>
              </a:ext>
            </a:extLst>
          </p:cNvPr>
          <p:cNvCxnSpPr>
            <a:cxnSpLocks/>
            <a:stCxn id="80" idx="2"/>
          </p:cNvCxnSpPr>
          <p:nvPr/>
        </p:nvCxnSpPr>
        <p:spPr>
          <a:xfrm>
            <a:off x="2219630" y="4457182"/>
            <a:ext cx="0" cy="769750"/>
          </a:xfrm>
          <a:prstGeom prst="straightConnector1">
            <a:avLst/>
          </a:prstGeom>
          <a:ln w="12700">
            <a:solidFill>
              <a:schemeClr val="accent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30E169EC-8CA5-474D-9DDA-7BDF5FDEF7FD}"/>
              </a:ext>
            </a:extLst>
          </p:cNvPr>
          <p:cNvGrpSpPr/>
          <p:nvPr/>
        </p:nvGrpSpPr>
        <p:grpSpPr>
          <a:xfrm>
            <a:off x="1292876" y="2547043"/>
            <a:ext cx="231543" cy="231543"/>
            <a:chOff x="3368040" y="-1136469"/>
            <a:chExt cx="319159" cy="319159"/>
          </a:xfrm>
        </p:grpSpPr>
        <p:cxnSp>
          <p:nvCxnSpPr>
            <p:cNvPr id="12" name="Straight Connector 11">
              <a:extLst>
                <a:ext uri="{FF2B5EF4-FFF2-40B4-BE49-F238E27FC236}">
                  <a16:creationId xmlns:a16="http://schemas.microsoft.com/office/drawing/2014/main" id="{0B4FFCB8-50EA-4F02-9591-A51409BF32D8}"/>
                </a:ext>
              </a:extLst>
            </p:cNvPr>
            <p:cNvCxnSpPr>
              <a:cxnSpLocks/>
            </p:cNvCxnSpPr>
            <p:nvPr/>
          </p:nvCxnSpPr>
          <p:spPr>
            <a:xfrm>
              <a:off x="3368040" y="-1136469"/>
              <a:ext cx="319159" cy="319159"/>
            </a:xfrm>
            <a:prstGeom prst="line">
              <a:avLst/>
            </a:prstGeom>
            <a:ln w="1905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61AC98C-C269-48AE-9CA6-D3AF9BBD566E}"/>
                </a:ext>
              </a:extLst>
            </p:cNvPr>
            <p:cNvCxnSpPr>
              <a:cxnSpLocks/>
            </p:cNvCxnSpPr>
            <p:nvPr/>
          </p:nvCxnSpPr>
          <p:spPr>
            <a:xfrm flipH="1">
              <a:off x="3368040" y="-1136469"/>
              <a:ext cx="319159" cy="319159"/>
            </a:xfrm>
            <a:prstGeom prst="line">
              <a:avLst/>
            </a:prstGeom>
            <a:ln w="1905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4" name="Group 33">
            <a:extLst>
              <a:ext uri="{FF2B5EF4-FFF2-40B4-BE49-F238E27FC236}">
                <a16:creationId xmlns:a16="http://schemas.microsoft.com/office/drawing/2014/main" id="{C8192AD3-436F-4784-AA19-7464DB03E4E7}"/>
              </a:ext>
            </a:extLst>
          </p:cNvPr>
          <p:cNvGrpSpPr/>
          <p:nvPr/>
        </p:nvGrpSpPr>
        <p:grpSpPr>
          <a:xfrm>
            <a:off x="1142102" y="2082960"/>
            <a:ext cx="231543" cy="231543"/>
            <a:chOff x="3368040" y="-1136469"/>
            <a:chExt cx="319159" cy="319159"/>
          </a:xfrm>
        </p:grpSpPr>
        <p:cxnSp>
          <p:nvCxnSpPr>
            <p:cNvPr id="35" name="Straight Connector 34">
              <a:extLst>
                <a:ext uri="{FF2B5EF4-FFF2-40B4-BE49-F238E27FC236}">
                  <a16:creationId xmlns:a16="http://schemas.microsoft.com/office/drawing/2014/main" id="{910D723D-1D62-4143-9224-D042D2DDF446}"/>
                </a:ext>
              </a:extLst>
            </p:cNvPr>
            <p:cNvCxnSpPr>
              <a:cxnSpLocks/>
            </p:cNvCxnSpPr>
            <p:nvPr/>
          </p:nvCxnSpPr>
          <p:spPr>
            <a:xfrm>
              <a:off x="3368040" y="-1136469"/>
              <a:ext cx="319159" cy="319159"/>
            </a:xfrm>
            <a:prstGeom prst="line">
              <a:avLst/>
            </a:prstGeom>
            <a:ln w="1905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9F46DE0-5BEB-473B-B1BC-A2472E2C37F2}"/>
                </a:ext>
              </a:extLst>
            </p:cNvPr>
            <p:cNvCxnSpPr>
              <a:cxnSpLocks/>
            </p:cNvCxnSpPr>
            <p:nvPr/>
          </p:nvCxnSpPr>
          <p:spPr>
            <a:xfrm flipH="1">
              <a:off x="3368040" y="-1136469"/>
              <a:ext cx="319159" cy="319159"/>
            </a:xfrm>
            <a:prstGeom prst="line">
              <a:avLst/>
            </a:prstGeom>
            <a:ln w="1905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68387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fade">
                                      <p:cBhvr>
                                        <p:cTn id="25" dur="500"/>
                                        <p:tgtEl>
                                          <p:spTgt spid="25"/>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4"/>
                                        </p:tgtEl>
                                        <p:attrNameLst>
                                          <p:attrName>style.visibility</p:attrName>
                                        </p:attrNameLst>
                                      </p:cBhvr>
                                      <p:to>
                                        <p:strVal val="visible"/>
                                      </p:to>
                                    </p:set>
                                    <p:animEffect transition="in" filter="fade">
                                      <p:cBhvr>
                                        <p:cTn id="28" dur="500"/>
                                        <p:tgtEl>
                                          <p:spTgt spid="24"/>
                                        </p:tgtEl>
                                      </p:cBhvr>
                                    </p:animEffect>
                                  </p:childTnLst>
                                </p:cTn>
                              </p:par>
                              <p:par>
                                <p:cTn id="29" presetID="10" presetClass="entr" presetSubtype="0" fill="hold" nodeType="withEffect">
                                  <p:stCondLst>
                                    <p:cond delay="0"/>
                                  </p:stCondLst>
                                  <p:childTnLst>
                                    <p:set>
                                      <p:cBhvr>
                                        <p:cTn id="30" dur="1" fill="hold">
                                          <p:stCondLst>
                                            <p:cond delay="0"/>
                                          </p:stCondLst>
                                        </p:cTn>
                                        <p:tgtEl>
                                          <p:spTgt spid="94"/>
                                        </p:tgtEl>
                                        <p:attrNameLst>
                                          <p:attrName>style.visibility</p:attrName>
                                        </p:attrNameLst>
                                      </p:cBhvr>
                                      <p:to>
                                        <p:strVal val="visible"/>
                                      </p:to>
                                    </p:set>
                                    <p:animEffect transition="in" filter="fade">
                                      <p:cBhvr>
                                        <p:cTn id="31" dur="500"/>
                                        <p:tgtEl>
                                          <p:spTgt spid="94"/>
                                        </p:tgtEl>
                                      </p:cBhvr>
                                    </p:animEffect>
                                  </p:childTnLst>
                                </p:cTn>
                              </p:par>
                              <p:par>
                                <p:cTn id="32" presetID="10" presetClass="entr" presetSubtype="0" fill="hold" nodeType="withEffect">
                                  <p:stCondLst>
                                    <p:cond delay="0"/>
                                  </p:stCondLst>
                                  <p:childTnLst>
                                    <p:set>
                                      <p:cBhvr>
                                        <p:cTn id="33" dur="1" fill="hold">
                                          <p:stCondLst>
                                            <p:cond delay="0"/>
                                          </p:stCondLst>
                                        </p:cTn>
                                        <p:tgtEl>
                                          <p:spTgt spid="92"/>
                                        </p:tgtEl>
                                        <p:attrNameLst>
                                          <p:attrName>style.visibility</p:attrName>
                                        </p:attrNameLst>
                                      </p:cBhvr>
                                      <p:to>
                                        <p:strVal val="visible"/>
                                      </p:to>
                                    </p:set>
                                    <p:animEffect transition="in" filter="fade">
                                      <p:cBhvr>
                                        <p:cTn id="34" dur="500"/>
                                        <p:tgtEl>
                                          <p:spTgt spid="92"/>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71"/>
                                        </p:tgtEl>
                                        <p:attrNameLst>
                                          <p:attrName>style.visibility</p:attrName>
                                        </p:attrNameLst>
                                      </p:cBhvr>
                                      <p:to>
                                        <p:strVal val="visible"/>
                                      </p:to>
                                    </p:set>
                                    <p:animEffect transition="in" filter="fade">
                                      <p:cBhvr>
                                        <p:cTn id="39" dur="500"/>
                                        <p:tgtEl>
                                          <p:spTgt spid="71"/>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
                                        </p:tgtEl>
                                        <p:attrNameLst>
                                          <p:attrName>style.visibility</p:attrName>
                                        </p:attrNameLst>
                                      </p:cBhvr>
                                      <p:to>
                                        <p:strVal val="visible"/>
                                      </p:to>
                                    </p:set>
                                    <p:animEffect transition="in" filter="fade">
                                      <p:cBhvr>
                                        <p:cTn id="42" dur="500"/>
                                        <p:tgtEl>
                                          <p:spTgt spid="2"/>
                                        </p:tgtEl>
                                      </p:cBhvr>
                                    </p:animEffect>
                                  </p:childTnLst>
                                </p:cTn>
                              </p:par>
                              <p:par>
                                <p:cTn id="43" presetID="22" presetClass="entr" presetSubtype="2" fill="hold" nodeType="withEffect">
                                  <p:stCondLst>
                                    <p:cond delay="0"/>
                                  </p:stCondLst>
                                  <p:childTnLst>
                                    <p:set>
                                      <p:cBhvr>
                                        <p:cTn id="44" dur="1" fill="hold">
                                          <p:stCondLst>
                                            <p:cond delay="0"/>
                                          </p:stCondLst>
                                        </p:cTn>
                                        <p:tgtEl>
                                          <p:spTgt spid="85"/>
                                        </p:tgtEl>
                                        <p:attrNameLst>
                                          <p:attrName>style.visibility</p:attrName>
                                        </p:attrNameLst>
                                      </p:cBhvr>
                                      <p:to>
                                        <p:strVal val="visible"/>
                                      </p:to>
                                    </p:set>
                                    <p:animEffect transition="in" filter="wipe(right)">
                                      <p:cBhvr>
                                        <p:cTn id="45" dur="1000"/>
                                        <p:tgtEl>
                                          <p:spTgt spid="85"/>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500"/>
                                        <p:tgtEl>
                                          <p:spTgt spid="15"/>
                                        </p:tgtEl>
                                      </p:cBhvr>
                                    </p:animEffect>
                                  </p:childTnLst>
                                </p:cTn>
                              </p:par>
                              <p:par>
                                <p:cTn id="51" presetID="9" presetClass="emph" presetSubtype="0" grpId="1" nodeType="withEffect">
                                  <p:stCondLst>
                                    <p:cond delay="250"/>
                                  </p:stCondLst>
                                  <p:childTnLst>
                                    <p:set>
                                      <p:cBhvr>
                                        <p:cTn id="52" dur="indefinite"/>
                                        <p:tgtEl>
                                          <p:spTgt spid="25"/>
                                        </p:tgtEl>
                                        <p:attrNameLst>
                                          <p:attrName>style.opacity</p:attrName>
                                        </p:attrNameLst>
                                      </p:cBhvr>
                                      <p:to>
                                        <p:strVal val="0.5"/>
                                      </p:to>
                                    </p:set>
                                    <p:animEffect filter="image" prLst="opacity: 0.5">
                                      <p:cBhvr rctx="IE">
                                        <p:cTn id="53" dur="indefinite"/>
                                        <p:tgtEl>
                                          <p:spTgt spid="25"/>
                                        </p:tgtEl>
                                      </p:cBhvr>
                                    </p:animEffect>
                                  </p:childTnLst>
                                </p:cTn>
                              </p:par>
                              <p:par>
                                <p:cTn id="54" presetID="9" presetClass="emph" presetSubtype="0" grpId="1" nodeType="withEffect">
                                  <p:stCondLst>
                                    <p:cond delay="250"/>
                                  </p:stCondLst>
                                  <p:childTnLst>
                                    <p:set>
                                      <p:cBhvr>
                                        <p:cTn id="55" dur="indefinite"/>
                                        <p:tgtEl>
                                          <p:spTgt spid="24"/>
                                        </p:tgtEl>
                                        <p:attrNameLst>
                                          <p:attrName>style.opacity</p:attrName>
                                        </p:attrNameLst>
                                      </p:cBhvr>
                                      <p:to>
                                        <p:strVal val="0.5"/>
                                      </p:to>
                                    </p:set>
                                    <p:animEffect filter="image" prLst="opacity: 0.5">
                                      <p:cBhvr rctx="IE">
                                        <p:cTn id="56" dur="indefinite"/>
                                        <p:tgtEl>
                                          <p:spTgt spid="24"/>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81"/>
                                        </p:tgtEl>
                                        <p:attrNameLst>
                                          <p:attrName>style.visibility</p:attrName>
                                        </p:attrNameLst>
                                      </p:cBhvr>
                                      <p:to>
                                        <p:strVal val="visible"/>
                                      </p:to>
                                    </p:set>
                                    <p:animEffect transition="in" filter="fade">
                                      <p:cBhvr>
                                        <p:cTn id="61" dur="500"/>
                                        <p:tgtEl>
                                          <p:spTgt spid="81"/>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80"/>
                                        </p:tgtEl>
                                        <p:attrNameLst>
                                          <p:attrName>style.visibility</p:attrName>
                                        </p:attrNameLst>
                                      </p:cBhvr>
                                      <p:to>
                                        <p:strVal val="visible"/>
                                      </p:to>
                                    </p:set>
                                    <p:animEffect transition="in" filter="fade">
                                      <p:cBhvr>
                                        <p:cTn id="64" dur="500"/>
                                        <p:tgtEl>
                                          <p:spTgt spid="80"/>
                                        </p:tgtEl>
                                      </p:cBhvr>
                                    </p:animEffect>
                                  </p:childTnLst>
                                </p:cTn>
                              </p:par>
                              <p:par>
                                <p:cTn id="65" presetID="22" presetClass="entr" presetSubtype="2" fill="hold" nodeType="withEffect">
                                  <p:stCondLst>
                                    <p:cond delay="0"/>
                                  </p:stCondLst>
                                  <p:childTnLst>
                                    <p:set>
                                      <p:cBhvr>
                                        <p:cTn id="66" dur="1" fill="hold">
                                          <p:stCondLst>
                                            <p:cond delay="0"/>
                                          </p:stCondLst>
                                        </p:cTn>
                                        <p:tgtEl>
                                          <p:spTgt spid="109"/>
                                        </p:tgtEl>
                                        <p:attrNameLst>
                                          <p:attrName>style.visibility</p:attrName>
                                        </p:attrNameLst>
                                      </p:cBhvr>
                                      <p:to>
                                        <p:strVal val="visible"/>
                                      </p:to>
                                    </p:set>
                                    <p:animEffect transition="in" filter="wipe(right)">
                                      <p:cBhvr>
                                        <p:cTn id="67" dur="500"/>
                                        <p:tgtEl>
                                          <p:spTgt spid="109"/>
                                        </p:tgtEl>
                                      </p:cBhvr>
                                    </p:animEffect>
                                  </p:childTnLst>
                                </p:cTn>
                              </p:par>
                              <p:par>
                                <p:cTn id="68" presetID="10" presetClass="exit" presetSubtype="0" fill="hold" nodeType="withEffect">
                                  <p:stCondLst>
                                    <p:cond delay="0"/>
                                  </p:stCondLst>
                                  <p:childTnLst>
                                    <p:animEffect transition="out" filter="fade">
                                      <p:cBhvr>
                                        <p:cTn id="69" dur="500"/>
                                        <p:tgtEl>
                                          <p:spTgt spid="94"/>
                                        </p:tgtEl>
                                      </p:cBhvr>
                                    </p:animEffect>
                                    <p:set>
                                      <p:cBhvr>
                                        <p:cTn id="70" dur="1" fill="hold">
                                          <p:stCondLst>
                                            <p:cond delay="499"/>
                                          </p:stCondLst>
                                        </p:cTn>
                                        <p:tgtEl>
                                          <p:spTgt spid="94"/>
                                        </p:tgtEl>
                                        <p:attrNameLst>
                                          <p:attrName>style.visibility</p:attrName>
                                        </p:attrNameLst>
                                      </p:cBhvr>
                                      <p:to>
                                        <p:strVal val="hidden"/>
                                      </p:to>
                                    </p:set>
                                  </p:childTnLst>
                                </p:cTn>
                              </p:par>
                              <p:par>
                                <p:cTn id="71" presetID="22" presetClass="entr" presetSubtype="1" fill="hold" nodeType="withEffect">
                                  <p:stCondLst>
                                    <p:cond delay="0"/>
                                  </p:stCondLst>
                                  <p:childTnLst>
                                    <p:set>
                                      <p:cBhvr>
                                        <p:cTn id="72" dur="1" fill="hold">
                                          <p:stCondLst>
                                            <p:cond delay="0"/>
                                          </p:stCondLst>
                                        </p:cTn>
                                        <p:tgtEl>
                                          <p:spTgt spid="26"/>
                                        </p:tgtEl>
                                        <p:attrNameLst>
                                          <p:attrName>style.visibility</p:attrName>
                                        </p:attrNameLst>
                                      </p:cBhvr>
                                      <p:to>
                                        <p:strVal val="visible"/>
                                      </p:to>
                                    </p:set>
                                    <p:animEffect transition="in" filter="wipe(up)">
                                      <p:cBhvr>
                                        <p:cTn id="73" dur="500"/>
                                        <p:tgtEl>
                                          <p:spTgt spid="26"/>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nodeType="clickEffect">
                                  <p:stCondLst>
                                    <p:cond delay="0"/>
                                  </p:stCondLst>
                                  <p:childTnLst>
                                    <p:set>
                                      <p:cBhvr>
                                        <p:cTn id="77" dur="1" fill="hold">
                                          <p:stCondLst>
                                            <p:cond delay="0"/>
                                          </p:stCondLst>
                                        </p:cTn>
                                        <p:tgtEl>
                                          <p:spTgt spid="34"/>
                                        </p:tgtEl>
                                        <p:attrNameLst>
                                          <p:attrName>style.visibility</p:attrName>
                                        </p:attrNameLst>
                                      </p:cBhvr>
                                      <p:to>
                                        <p:strVal val="visible"/>
                                      </p:to>
                                    </p:set>
                                    <p:animEffect transition="in" filter="fade">
                                      <p:cBhvr>
                                        <p:cTn id="78" dur="500"/>
                                        <p:tgtEl>
                                          <p:spTgt spid="34"/>
                                        </p:tgtEl>
                                      </p:cBhvr>
                                    </p:animEffect>
                                  </p:childTnLst>
                                </p:cTn>
                              </p:par>
                              <p:par>
                                <p:cTn id="79" presetID="9" presetClass="emph" presetSubtype="0" grpId="1" nodeType="withEffect">
                                  <p:stCondLst>
                                    <p:cond delay="0"/>
                                  </p:stCondLst>
                                  <p:childTnLst>
                                    <p:set>
                                      <p:cBhvr>
                                        <p:cTn id="80" dur="indefinite"/>
                                        <p:tgtEl>
                                          <p:spTgt spid="81"/>
                                        </p:tgtEl>
                                        <p:attrNameLst>
                                          <p:attrName>style.opacity</p:attrName>
                                        </p:attrNameLst>
                                      </p:cBhvr>
                                      <p:to>
                                        <p:strVal val="0.5"/>
                                      </p:to>
                                    </p:set>
                                    <p:animEffect filter="image" prLst="opacity: 0.5">
                                      <p:cBhvr rctx="IE">
                                        <p:cTn id="81" dur="indefinite"/>
                                        <p:tgtEl>
                                          <p:spTgt spid="81"/>
                                        </p:tgtEl>
                                      </p:cBhvr>
                                    </p:animEffect>
                                  </p:childTnLst>
                                </p:cTn>
                              </p:par>
                              <p:par>
                                <p:cTn id="82" presetID="9" presetClass="emph" presetSubtype="0" grpId="1" nodeType="withEffect">
                                  <p:stCondLst>
                                    <p:cond delay="0"/>
                                  </p:stCondLst>
                                  <p:childTnLst>
                                    <p:set>
                                      <p:cBhvr>
                                        <p:cTn id="83" dur="indefinite"/>
                                        <p:tgtEl>
                                          <p:spTgt spid="80"/>
                                        </p:tgtEl>
                                        <p:attrNameLst>
                                          <p:attrName>style.opacity</p:attrName>
                                        </p:attrNameLst>
                                      </p:cBhvr>
                                      <p:to>
                                        <p:strVal val="0.5"/>
                                      </p:to>
                                    </p:set>
                                    <p:animEffect filter="image" prLst="opacity: 0.5">
                                      <p:cBhvr rctx="IE">
                                        <p:cTn id="84" dur="indefinite"/>
                                        <p:tgtEl>
                                          <p:spTgt spid="80"/>
                                        </p:tgtEl>
                                      </p:cBhvr>
                                    </p:animEffect>
                                  </p:childTnLst>
                                </p:cTn>
                              </p:par>
                              <p:par>
                                <p:cTn id="85" presetID="9" presetClass="emph" presetSubtype="0" nodeType="withEffect">
                                  <p:stCondLst>
                                    <p:cond delay="0"/>
                                  </p:stCondLst>
                                  <p:childTnLst>
                                    <p:set>
                                      <p:cBhvr>
                                        <p:cTn id="86" dur="indefinite"/>
                                        <p:tgtEl>
                                          <p:spTgt spid="9"/>
                                        </p:tgtEl>
                                        <p:attrNameLst>
                                          <p:attrName>style.opacity</p:attrName>
                                        </p:attrNameLst>
                                      </p:cBhvr>
                                      <p:to>
                                        <p:strVal val="0.5"/>
                                      </p:to>
                                    </p:set>
                                    <p:animEffect filter="image" prLst="opacity: 0.5">
                                      <p:cBhvr rctx="IE">
                                        <p:cTn id="87" dur="indefinite"/>
                                        <p:tgtEl>
                                          <p:spTgt spid="9"/>
                                        </p:tgtEl>
                                      </p:cBhvr>
                                    </p:animEffect>
                                  </p:childTnLst>
                                </p:cTn>
                              </p:par>
                            </p:childTnLst>
                          </p:cTn>
                        </p:par>
                      </p:childTnLst>
                    </p:cTn>
                  </p:par>
                  <p:par>
                    <p:cTn id="88" fill="hold">
                      <p:stCondLst>
                        <p:cond delay="indefinite"/>
                      </p:stCondLst>
                      <p:childTnLst>
                        <p:par>
                          <p:cTn id="89" fill="hold">
                            <p:stCondLst>
                              <p:cond delay="0"/>
                            </p:stCondLst>
                            <p:childTnLst>
                              <p:par>
                                <p:cTn id="90" presetID="22" presetClass="entr" presetSubtype="8" fill="hold" nodeType="clickEffect">
                                  <p:stCondLst>
                                    <p:cond delay="0"/>
                                  </p:stCondLst>
                                  <p:childTnLst>
                                    <p:set>
                                      <p:cBhvr>
                                        <p:cTn id="91" dur="1" fill="hold">
                                          <p:stCondLst>
                                            <p:cond delay="0"/>
                                          </p:stCondLst>
                                        </p:cTn>
                                        <p:tgtEl>
                                          <p:spTgt spid="120"/>
                                        </p:tgtEl>
                                        <p:attrNameLst>
                                          <p:attrName>style.visibility</p:attrName>
                                        </p:attrNameLst>
                                      </p:cBhvr>
                                      <p:to>
                                        <p:strVal val="visible"/>
                                      </p:to>
                                    </p:set>
                                    <p:animEffect transition="in" filter="wipe(left)">
                                      <p:cBhvr>
                                        <p:cTn id="92" dur="500"/>
                                        <p:tgtEl>
                                          <p:spTgt spid="120"/>
                                        </p:tgtEl>
                                      </p:cBhvr>
                                    </p:animEffect>
                                  </p:childTnLst>
                                </p:cTn>
                              </p:par>
                              <p:par>
                                <p:cTn id="93" presetID="10" presetClass="exit" presetSubtype="0" fill="hold" nodeType="withEffect">
                                  <p:stCondLst>
                                    <p:cond delay="0"/>
                                  </p:stCondLst>
                                  <p:childTnLst>
                                    <p:animEffect transition="out" filter="fade">
                                      <p:cBhvr>
                                        <p:cTn id="94" dur="500"/>
                                        <p:tgtEl>
                                          <p:spTgt spid="26"/>
                                        </p:tgtEl>
                                      </p:cBhvr>
                                    </p:animEffect>
                                    <p:set>
                                      <p:cBhvr>
                                        <p:cTn id="95" dur="1" fill="hold">
                                          <p:stCondLst>
                                            <p:cond delay="499"/>
                                          </p:stCondLst>
                                        </p:cTn>
                                        <p:tgtEl>
                                          <p:spTgt spid="26"/>
                                        </p:tgtEl>
                                        <p:attrNameLst>
                                          <p:attrName>style.visibility</p:attrName>
                                        </p:attrNameLst>
                                      </p:cBhvr>
                                      <p:to>
                                        <p:strVal val="hidden"/>
                                      </p:to>
                                    </p:set>
                                  </p:childTnLst>
                                </p:cTn>
                              </p:par>
                              <p:par>
                                <p:cTn id="96" presetID="10" presetClass="entr" presetSubtype="0" fill="hold" grpId="0" nodeType="withEffect">
                                  <p:stCondLst>
                                    <p:cond delay="0"/>
                                  </p:stCondLst>
                                  <p:childTnLst>
                                    <p:set>
                                      <p:cBhvr>
                                        <p:cTn id="97" dur="1" fill="hold">
                                          <p:stCondLst>
                                            <p:cond delay="0"/>
                                          </p:stCondLst>
                                        </p:cTn>
                                        <p:tgtEl>
                                          <p:spTgt spid="16"/>
                                        </p:tgtEl>
                                        <p:attrNameLst>
                                          <p:attrName>style.visibility</p:attrName>
                                        </p:attrNameLst>
                                      </p:cBhvr>
                                      <p:to>
                                        <p:strVal val="visible"/>
                                      </p:to>
                                    </p:set>
                                    <p:animEffect transition="in" filter="fade">
                                      <p:cBhvr>
                                        <p:cTn id="98" dur="500"/>
                                        <p:tgtEl>
                                          <p:spTgt spid="16"/>
                                        </p:tgtEl>
                                      </p:cBhvr>
                                    </p:animEffect>
                                  </p:childTnLst>
                                </p:cTn>
                              </p:par>
                              <p:par>
                                <p:cTn id="99" presetID="10" presetClass="entr" presetSubtype="0" fill="hold" grpId="0" nodeType="withEffect">
                                  <p:stCondLst>
                                    <p:cond delay="0"/>
                                  </p:stCondLst>
                                  <p:childTnLst>
                                    <p:set>
                                      <p:cBhvr>
                                        <p:cTn id="100" dur="1" fill="hold">
                                          <p:stCondLst>
                                            <p:cond delay="0"/>
                                          </p:stCondLst>
                                        </p:cTn>
                                        <p:tgtEl>
                                          <p:spTgt spid="17"/>
                                        </p:tgtEl>
                                        <p:attrNameLst>
                                          <p:attrName>style.visibility</p:attrName>
                                        </p:attrNameLst>
                                      </p:cBhvr>
                                      <p:to>
                                        <p:strVal val="visible"/>
                                      </p:to>
                                    </p:set>
                                    <p:animEffect transition="in" filter="fade">
                                      <p:cBhvr>
                                        <p:cTn id="101" dur="500"/>
                                        <p:tgtEl>
                                          <p:spTgt spid="17"/>
                                        </p:tgtEl>
                                      </p:cBhvr>
                                    </p:animEffect>
                                  </p:childTnLst>
                                </p:cTn>
                              </p:par>
                            </p:childTnLst>
                          </p:cTn>
                        </p:par>
                        <p:par>
                          <p:cTn id="102" fill="hold">
                            <p:stCondLst>
                              <p:cond delay="500"/>
                            </p:stCondLst>
                            <p:childTnLst>
                              <p:par>
                                <p:cTn id="103" presetID="22" presetClass="entr" presetSubtype="1" fill="hold" nodeType="afterEffect">
                                  <p:stCondLst>
                                    <p:cond delay="0"/>
                                  </p:stCondLst>
                                  <p:childTnLst>
                                    <p:set>
                                      <p:cBhvr>
                                        <p:cTn id="104" dur="1" fill="hold">
                                          <p:stCondLst>
                                            <p:cond delay="0"/>
                                          </p:stCondLst>
                                        </p:cTn>
                                        <p:tgtEl>
                                          <p:spTgt spid="121"/>
                                        </p:tgtEl>
                                        <p:attrNameLst>
                                          <p:attrName>style.visibility</p:attrName>
                                        </p:attrNameLst>
                                      </p:cBhvr>
                                      <p:to>
                                        <p:strVal val="visible"/>
                                      </p:to>
                                    </p:set>
                                    <p:animEffect transition="in" filter="wipe(up)">
                                      <p:cBhvr>
                                        <p:cTn id="105" dur="500"/>
                                        <p:tgtEl>
                                          <p:spTgt spid="1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5" grpId="0" animBg="1"/>
      <p:bldP spid="2" grpId="0"/>
      <p:bldP spid="71" grpId="0" animBg="1"/>
      <p:bldP spid="7" grpId="0" animBg="1"/>
      <p:bldP spid="16" grpId="0" animBg="1"/>
      <p:bldP spid="17" grpId="0" animBg="1"/>
      <p:bldP spid="6" grpId="0" animBg="1"/>
      <p:bldP spid="21" grpId="0" animBg="1"/>
      <p:bldP spid="9" grpId="0" animBg="1"/>
      <p:bldP spid="24" grpId="0" animBg="1"/>
      <p:bldP spid="24" grpId="1" animBg="1"/>
      <p:bldP spid="25" grpId="0" animBg="1"/>
      <p:bldP spid="25" grpId="1" animBg="1"/>
      <p:bldP spid="80" grpId="0" animBg="1"/>
      <p:bldP spid="80" grpId="1" animBg="1"/>
      <p:bldP spid="81" grpId="0" animBg="1"/>
      <p:bldP spid="81" grpId="1" animBg="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FDEBE8-E81F-4B46-8FF5-2022D3DF8C70}"/>
              </a:ext>
            </a:extLst>
          </p:cNvPr>
          <p:cNvSpPr>
            <a:spLocks noGrp="1"/>
          </p:cNvSpPr>
          <p:nvPr>
            <p:ph type="title"/>
          </p:nvPr>
        </p:nvSpPr>
        <p:spPr>
          <a:xfrm>
            <a:off x="291905" y="187583"/>
            <a:ext cx="4586201" cy="2585323"/>
          </a:xfrm>
        </p:spPr>
        <p:txBody>
          <a:bodyPr/>
          <a:lstStyle/>
          <a:p>
            <a:r>
              <a:rPr lang="en-US" dirty="0"/>
              <a:t>SQL Server 2019</a:t>
            </a:r>
            <a:br>
              <a:rPr lang="en-US" dirty="0"/>
            </a:br>
            <a:br>
              <a:rPr lang="en-US" dirty="0"/>
            </a:br>
            <a:r>
              <a:rPr lang="en-US" dirty="0"/>
              <a:t>Always On Availability Groups on Kubernetes</a:t>
            </a:r>
            <a:br>
              <a:rPr lang="en-US" dirty="0"/>
            </a:br>
            <a:endParaRPr lang="en-US" sz="2400" dirty="0"/>
          </a:p>
        </p:txBody>
      </p:sp>
      <p:sp>
        <p:nvSpPr>
          <p:cNvPr id="6" name="Text Placeholder 5"/>
          <p:cNvSpPr>
            <a:spLocks noGrp="1"/>
          </p:cNvSpPr>
          <p:nvPr>
            <p:ph type="body" sz="quarter" idx="10"/>
          </p:nvPr>
        </p:nvSpPr>
        <p:spPr>
          <a:xfrm>
            <a:off x="354052" y="3013697"/>
            <a:ext cx="4461211" cy="2400598"/>
          </a:xfrm>
        </p:spPr>
        <p:txBody>
          <a:bodyPr/>
          <a:lstStyle/>
          <a:p>
            <a:r>
              <a:rPr lang="en-US" dirty="0"/>
              <a:t>SQL Server/k8s failover integration</a:t>
            </a:r>
          </a:p>
          <a:p>
            <a:r>
              <a:rPr lang="en-US" dirty="0"/>
              <a:t>Operator deployment</a:t>
            </a:r>
          </a:p>
          <a:p>
            <a:r>
              <a:rPr lang="en-US" dirty="0"/>
              <a:t>AG concepts all apply</a:t>
            </a:r>
          </a:p>
          <a:p>
            <a:r>
              <a:rPr lang="en-US" dirty="0"/>
              <a:t>Load Balancer for Primary App</a:t>
            </a:r>
          </a:p>
          <a:p>
            <a:r>
              <a:rPr lang="en-US" dirty="0"/>
              <a:t>Load Balancer for Secondary Replica Readers</a:t>
            </a:r>
          </a:p>
        </p:txBody>
      </p:sp>
      <p:sp>
        <p:nvSpPr>
          <p:cNvPr id="83" name="Rectangle 82">
            <a:extLst>
              <a:ext uri="{FF2B5EF4-FFF2-40B4-BE49-F238E27FC236}">
                <a16:creationId xmlns:a16="http://schemas.microsoft.com/office/drawing/2014/main" id="{5564784B-08F8-4831-B00E-C3844517542C}"/>
              </a:ext>
            </a:extLst>
          </p:cNvPr>
          <p:cNvSpPr/>
          <p:nvPr/>
        </p:nvSpPr>
        <p:spPr>
          <a:xfrm>
            <a:off x="5175247" y="278845"/>
            <a:ext cx="6735745" cy="6220212"/>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800" dirty="0">
              <a:solidFill>
                <a:srgbClr val="F4F4F4"/>
              </a:solidFill>
              <a:latin typeface="Segoe UI"/>
            </a:endParaRPr>
          </a:p>
        </p:txBody>
      </p:sp>
      <p:sp>
        <p:nvSpPr>
          <p:cNvPr id="90" name="TextBox 89">
            <a:extLst>
              <a:ext uri="{FF2B5EF4-FFF2-40B4-BE49-F238E27FC236}">
                <a16:creationId xmlns:a16="http://schemas.microsoft.com/office/drawing/2014/main" id="{CD8DBA00-65A1-45DF-9926-6C69A0EB32E3}"/>
              </a:ext>
            </a:extLst>
          </p:cNvPr>
          <p:cNvSpPr txBox="1"/>
          <p:nvPr/>
        </p:nvSpPr>
        <p:spPr>
          <a:xfrm>
            <a:off x="5784757" y="610134"/>
            <a:ext cx="5506956" cy="346521"/>
          </a:xfrm>
          <a:prstGeom prst="rect">
            <a:avLst/>
          </a:prstGeom>
          <a:noFill/>
        </p:spPr>
        <p:txBody>
          <a:bodyPr wrap="square" lIns="91427" tIns="45713" rIns="91427" bIns="45713" rtlCol="0">
            <a:spAutoFit/>
          </a:bodyPr>
          <a:lstStyle>
            <a:defPPr>
              <a:defRPr lang="en-US"/>
            </a:defPPr>
            <a:lvl1pPr defTabSz="914400">
              <a:lnSpc>
                <a:spcPct val="90000"/>
              </a:lnSpc>
              <a:spcAft>
                <a:spcPts val="600"/>
              </a:spcAft>
              <a:defRPr sz="1800" kern="0">
                <a:solidFill>
                  <a:srgbClr val="0078D7"/>
                </a:solidFill>
                <a:latin typeface="Segoe UI Semibold" panose="020B0702040204020203" pitchFamily="34" charset="0"/>
                <a:ea typeface="MS PGothic" charset="0"/>
                <a:cs typeface="Segoe UI Semibold" panose="020B0702040204020203" pitchFamily="34" charset="0"/>
              </a:defRPr>
            </a:lvl1pPr>
          </a:lstStyle>
          <a:p>
            <a:pPr algn="ctr" defTabSz="914225"/>
            <a:r>
              <a:rPr lang="en-US" dirty="0"/>
              <a:t>Availability groups on Kubernetes </a:t>
            </a:r>
          </a:p>
        </p:txBody>
      </p:sp>
      <p:sp>
        <p:nvSpPr>
          <p:cNvPr id="91" name="Rectangle 90">
            <a:extLst>
              <a:ext uri="{FF2B5EF4-FFF2-40B4-BE49-F238E27FC236}">
                <a16:creationId xmlns:a16="http://schemas.microsoft.com/office/drawing/2014/main" id="{16123BC8-4832-40A9-AD9B-1E8222751F0F}"/>
              </a:ext>
            </a:extLst>
          </p:cNvPr>
          <p:cNvSpPr/>
          <p:nvPr/>
        </p:nvSpPr>
        <p:spPr>
          <a:xfrm>
            <a:off x="6015120" y="3673812"/>
            <a:ext cx="5029551" cy="588061"/>
          </a:xfrm>
          <a:prstGeom prst="rect">
            <a:avLst/>
          </a:prstGeom>
          <a:solidFill>
            <a:schemeClr val="accent1">
              <a:alpha val="10000"/>
            </a:schemeClr>
          </a:solidFill>
          <a:ln w="1270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27" tIns="45713" rIns="91427" bIns="45713" numCol="1" spcCol="0" rtlCol="0" fromWordArt="0" anchor="t" anchorCtr="1" forceAA="0" compatLnSpc="1">
            <a:prstTxWarp prst="textNoShape">
              <a:avLst/>
            </a:prstTxWarp>
            <a:noAutofit/>
          </a:bodyPr>
          <a:lstStyle/>
          <a:p>
            <a:pPr algn="ctr" defTabSz="609468">
              <a:defRPr/>
            </a:pPr>
            <a:r>
              <a:rPr lang="en-US" sz="1000" b="1" dirty="0">
                <a:solidFill>
                  <a:srgbClr val="000000"/>
                </a:solidFill>
                <a:latin typeface="Segoe UI"/>
              </a:rPr>
              <a:t>AG</a:t>
            </a:r>
          </a:p>
        </p:txBody>
      </p:sp>
      <p:grpSp>
        <p:nvGrpSpPr>
          <p:cNvPr id="92" name="Group 91">
            <a:extLst>
              <a:ext uri="{FF2B5EF4-FFF2-40B4-BE49-F238E27FC236}">
                <a16:creationId xmlns:a16="http://schemas.microsoft.com/office/drawing/2014/main" id="{9259D00A-1910-4025-A730-26537D232806}"/>
              </a:ext>
            </a:extLst>
          </p:cNvPr>
          <p:cNvGrpSpPr/>
          <p:nvPr/>
        </p:nvGrpSpPr>
        <p:grpSpPr>
          <a:xfrm>
            <a:off x="6335564" y="1442571"/>
            <a:ext cx="1401770" cy="1177310"/>
            <a:chOff x="7929992" y="1937589"/>
            <a:chExt cx="1335176" cy="1177477"/>
          </a:xfrm>
        </p:grpSpPr>
        <p:sp>
          <p:nvSpPr>
            <p:cNvPr id="93" name="Rectangle 92">
              <a:extLst>
                <a:ext uri="{FF2B5EF4-FFF2-40B4-BE49-F238E27FC236}">
                  <a16:creationId xmlns:a16="http://schemas.microsoft.com/office/drawing/2014/main" id="{22D33F8A-7255-4333-B83D-E3B547A2C1E4}"/>
                </a:ext>
              </a:extLst>
            </p:cNvPr>
            <p:cNvSpPr/>
            <p:nvPr/>
          </p:nvSpPr>
          <p:spPr bwMode="auto">
            <a:xfrm>
              <a:off x="7929992" y="2221899"/>
              <a:ext cx="1335176" cy="893167"/>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12"/>
              <a:endParaRPr lang="en-US" sz="1730" dirty="0">
                <a:solidFill>
                  <a:prstClr val="white"/>
                </a:solidFill>
                <a:latin typeface="Segoe UI" panose="020B0502040204020203" pitchFamily="34" charset="0"/>
                <a:cs typeface="Segoe UI" panose="020B0502040204020203" pitchFamily="34" charset="0"/>
              </a:endParaRPr>
            </a:p>
          </p:txBody>
        </p:sp>
        <p:sp>
          <p:nvSpPr>
            <p:cNvPr id="94" name="TextBox 93">
              <a:extLst>
                <a:ext uri="{FF2B5EF4-FFF2-40B4-BE49-F238E27FC236}">
                  <a16:creationId xmlns:a16="http://schemas.microsoft.com/office/drawing/2014/main" id="{EE21CD5F-023C-4482-9E0B-02A4F98B17F2}"/>
                </a:ext>
              </a:extLst>
            </p:cNvPr>
            <p:cNvSpPr txBox="1"/>
            <p:nvPr/>
          </p:nvSpPr>
          <p:spPr>
            <a:xfrm>
              <a:off x="7929992" y="1937589"/>
              <a:ext cx="540734" cy="280718"/>
            </a:xfrm>
            <a:prstGeom prst="rect">
              <a:avLst/>
            </a:prstGeom>
            <a:noFill/>
          </p:spPr>
          <p:txBody>
            <a:bodyPr wrap="none" lIns="91427" tIns="45713" rIns="91427" bIns="45713" rtlCol="0">
              <a:spAutoFit/>
            </a:bodyPr>
            <a:lstStyle/>
            <a:p>
              <a:pPr defTabSz="914192">
                <a:defRPr/>
              </a:pPr>
              <a:r>
                <a:rPr lang="en-US" sz="1200" dirty="0">
                  <a:gradFill>
                    <a:gsLst>
                      <a:gs pos="2917">
                        <a:srgbClr val="1A1A1A"/>
                      </a:gs>
                      <a:gs pos="30000">
                        <a:srgbClr val="1A1A1A"/>
                      </a:gs>
                    </a:gsLst>
                    <a:lin ang="5400000" scaled="0"/>
                  </a:gradFill>
                  <a:latin typeface="Segoe UI"/>
                </a:rPr>
                <a:t>Node</a:t>
              </a:r>
            </a:p>
          </p:txBody>
        </p:sp>
        <p:sp>
          <p:nvSpPr>
            <p:cNvPr id="95" name="Rectangle 94">
              <a:extLst>
                <a:ext uri="{FF2B5EF4-FFF2-40B4-BE49-F238E27FC236}">
                  <a16:creationId xmlns:a16="http://schemas.microsoft.com/office/drawing/2014/main" id="{0C2EFD28-9D4E-41BD-8694-9923D7DB5ED2}"/>
                </a:ext>
              </a:extLst>
            </p:cNvPr>
            <p:cNvSpPr/>
            <p:nvPr/>
          </p:nvSpPr>
          <p:spPr bwMode="auto">
            <a:xfrm>
              <a:off x="8018486" y="2344783"/>
              <a:ext cx="1176668" cy="619413"/>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112"/>
              <a:r>
                <a:rPr lang="en-US" sz="1000" b="1" dirty="0">
                  <a:solidFill>
                    <a:srgbClr val="0078D7"/>
                  </a:solidFill>
                  <a:latin typeface="Segoe UI Light"/>
                  <a:cs typeface="Segoe UI" panose="020B0502040204020203" pitchFamily="34" charset="0"/>
                </a:rPr>
                <a:t>Pod</a:t>
              </a:r>
            </a:p>
          </p:txBody>
        </p:sp>
        <p:sp>
          <p:nvSpPr>
            <p:cNvPr id="96" name="Rectangle 95">
              <a:extLst>
                <a:ext uri="{FF2B5EF4-FFF2-40B4-BE49-F238E27FC236}">
                  <a16:creationId xmlns:a16="http://schemas.microsoft.com/office/drawing/2014/main" id="{CE81383B-8706-4338-B1CD-7C035FCA3BD8}"/>
                </a:ext>
              </a:extLst>
            </p:cNvPr>
            <p:cNvSpPr/>
            <p:nvPr/>
          </p:nvSpPr>
          <p:spPr bwMode="auto">
            <a:xfrm>
              <a:off x="8211334" y="2609165"/>
              <a:ext cx="740148" cy="249299"/>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112"/>
              <a:r>
                <a:rPr lang="en-US" sz="1000" dirty="0">
                  <a:solidFill>
                    <a:srgbClr val="505050"/>
                  </a:solidFill>
                  <a:latin typeface="Segoe UI" panose="020B0502040204020203" pitchFamily="34" charset="0"/>
                  <a:cs typeface="Segoe UI" panose="020B0502040204020203" pitchFamily="34" charset="0"/>
                </a:rPr>
                <a:t>Operator</a:t>
              </a:r>
            </a:p>
          </p:txBody>
        </p:sp>
      </p:grpSp>
      <p:sp>
        <p:nvSpPr>
          <p:cNvPr id="98" name="TextBox 97">
            <a:extLst>
              <a:ext uri="{FF2B5EF4-FFF2-40B4-BE49-F238E27FC236}">
                <a16:creationId xmlns:a16="http://schemas.microsoft.com/office/drawing/2014/main" id="{C2AE80A8-EC33-4C92-8A9B-72C6B5DF3E32}"/>
              </a:ext>
            </a:extLst>
          </p:cNvPr>
          <p:cNvSpPr txBox="1"/>
          <p:nvPr/>
        </p:nvSpPr>
        <p:spPr>
          <a:xfrm>
            <a:off x="11250870" y="2307664"/>
            <a:ext cx="561051" cy="307777"/>
          </a:xfrm>
          <a:prstGeom prst="rect">
            <a:avLst/>
          </a:prstGeom>
          <a:noFill/>
        </p:spPr>
        <p:txBody>
          <a:bodyPr wrap="none" lIns="0" tIns="0" rIns="0" bIns="0" rtlCol="0">
            <a:spAutoFit/>
          </a:bodyPr>
          <a:lstStyle/>
          <a:p>
            <a:pPr algn="ctr" defTabSz="914192">
              <a:defRPr/>
            </a:pPr>
            <a:r>
              <a:rPr lang="en-US" sz="1000" dirty="0">
                <a:gradFill>
                  <a:gsLst>
                    <a:gs pos="2917">
                      <a:srgbClr val="1A1A1A"/>
                    </a:gs>
                    <a:gs pos="30000">
                      <a:srgbClr val="1A1A1A"/>
                    </a:gs>
                  </a:gsLst>
                  <a:lin ang="5400000" scaled="0"/>
                </a:gradFill>
                <a:latin typeface="Segoe UI Light"/>
              </a:rPr>
              <a:t>Reporting </a:t>
            </a:r>
            <a:br>
              <a:rPr lang="en-US" sz="1000" dirty="0">
                <a:gradFill>
                  <a:gsLst>
                    <a:gs pos="2917">
                      <a:srgbClr val="1A1A1A"/>
                    </a:gs>
                    <a:gs pos="30000">
                      <a:srgbClr val="1A1A1A"/>
                    </a:gs>
                  </a:gsLst>
                  <a:lin ang="5400000" scaled="0"/>
                </a:gradFill>
                <a:latin typeface="Segoe UI Light"/>
              </a:rPr>
            </a:br>
            <a:r>
              <a:rPr lang="en-US" sz="1000" dirty="0">
                <a:gradFill>
                  <a:gsLst>
                    <a:gs pos="2917">
                      <a:srgbClr val="1A1A1A"/>
                    </a:gs>
                    <a:gs pos="30000">
                      <a:srgbClr val="1A1A1A"/>
                    </a:gs>
                  </a:gsLst>
                  <a:lin ang="5400000" scaled="0"/>
                </a:gradFill>
                <a:latin typeface="Segoe UI Light"/>
              </a:rPr>
              <a:t>app</a:t>
            </a:r>
          </a:p>
        </p:txBody>
      </p:sp>
      <p:sp>
        <p:nvSpPr>
          <p:cNvPr id="99" name="TextBox 98">
            <a:extLst>
              <a:ext uri="{FF2B5EF4-FFF2-40B4-BE49-F238E27FC236}">
                <a16:creationId xmlns:a16="http://schemas.microsoft.com/office/drawing/2014/main" id="{D5630FEB-C658-40F3-A8EB-EA94FC9D785E}"/>
              </a:ext>
            </a:extLst>
          </p:cNvPr>
          <p:cNvSpPr txBox="1"/>
          <p:nvPr/>
        </p:nvSpPr>
        <p:spPr>
          <a:xfrm>
            <a:off x="5228864" y="5858067"/>
            <a:ext cx="570735" cy="307777"/>
          </a:xfrm>
          <a:prstGeom prst="rect">
            <a:avLst/>
          </a:prstGeom>
          <a:noFill/>
        </p:spPr>
        <p:txBody>
          <a:bodyPr wrap="square" lIns="0" tIns="0" rIns="0" bIns="0" rtlCol="0">
            <a:spAutoFit/>
          </a:bodyPr>
          <a:lstStyle/>
          <a:p>
            <a:pPr algn="ctr" defTabSz="914192">
              <a:defRPr/>
            </a:pPr>
            <a:r>
              <a:rPr lang="en-US" sz="1000" dirty="0">
                <a:gradFill>
                  <a:gsLst>
                    <a:gs pos="2917">
                      <a:srgbClr val="1A1A1A"/>
                    </a:gs>
                    <a:gs pos="30000">
                      <a:srgbClr val="1A1A1A"/>
                    </a:gs>
                  </a:gsLst>
                  <a:lin ang="5400000" scaled="0"/>
                </a:gradFill>
                <a:latin typeface="Segoe UI Light"/>
              </a:rPr>
              <a:t>Primary</a:t>
            </a:r>
            <a:br>
              <a:rPr lang="en-US" sz="1000" dirty="0">
                <a:gradFill>
                  <a:gsLst>
                    <a:gs pos="2917">
                      <a:srgbClr val="1A1A1A"/>
                    </a:gs>
                    <a:gs pos="30000">
                      <a:srgbClr val="1A1A1A"/>
                    </a:gs>
                  </a:gsLst>
                  <a:lin ang="5400000" scaled="0"/>
                </a:gradFill>
                <a:latin typeface="Segoe UI Light"/>
              </a:rPr>
            </a:br>
            <a:r>
              <a:rPr lang="en-US" sz="1000" dirty="0">
                <a:gradFill>
                  <a:gsLst>
                    <a:gs pos="2917">
                      <a:srgbClr val="1A1A1A"/>
                    </a:gs>
                    <a:gs pos="30000">
                      <a:srgbClr val="1A1A1A"/>
                    </a:gs>
                  </a:gsLst>
                  <a:lin ang="5400000" scaled="0"/>
                </a:gradFill>
                <a:latin typeface="Segoe UI Light"/>
              </a:rPr>
              <a:t>app</a:t>
            </a:r>
          </a:p>
        </p:txBody>
      </p:sp>
      <p:sp>
        <p:nvSpPr>
          <p:cNvPr id="100" name="Rectangle 99">
            <a:extLst>
              <a:ext uri="{FF2B5EF4-FFF2-40B4-BE49-F238E27FC236}">
                <a16:creationId xmlns:a16="http://schemas.microsoft.com/office/drawing/2014/main" id="{6D147554-F5C1-4FCE-A556-5D20C1BFCD21}"/>
              </a:ext>
            </a:extLst>
          </p:cNvPr>
          <p:cNvSpPr/>
          <p:nvPr/>
        </p:nvSpPr>
        <p:spPr bwMode="auto">
          <a:xfrm>
            <a:off x="6351029" y="3127981"/>
            <a:ext cx="1370843" cy="167770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12"/>
            <a:endParaRPr lang="en-US" sz="1730" dirty="0">
              <a:solidFill>
                <a:prstClr val="white"/>
              </a:solidFill>
              <a:latin typeface="Segoe UI" panose="020B0502040204020203" pitchFamily="34" charset="0"/>
              <a:cs typeface="Segoe UI" panose="020B0502040204020203" pitchFamily="34" charset="0"/>
            </a:endParaRPr>
          </a:p>
        </p:txBody>
      </p:sp>
      <p:sp>
        <p:nvSpPr>
          <p:cNvPr id="101" name="TextBox 100">
            <a:extLst>
              <a:ext uri="{FF2B5EF4-FFF2-40B4-BE49-F238E27FC236}">
                <a16:creationId xmlns:a16="http://schemas.microsoft.com/office/drawing/2014/main" id="{4D1877ED-F3B9-4369-8CA8-82F2D97138ED}"/>
              </a:ext>
            </a:extLst>
          </p:cNvPr>
          <p:cNvSpPr txBox="1"/>
          <p:nvPr/>
        </p:nvSpPr>
        <p:spPr>
          <a:xfrm>
            <a:off x="6347180" y="3111991"/>
            <a:ext cx="567703" cy="280678"/>
          </a:xfrm>
          <a:prstGeom prst="rect">
            <a:avLst/>
          </a:prstGeom>
          <a:noFill/>
        </p:spPr>
        <p:txBody>
          <a:bodyPr wrap="none" lIns="91427" tIns="45713" rIns="91427" bIns="45713" rtlCol="0">
            <a:spAutoFit/>
          </a:bodyPr>
          <a:lstStyle/>
          <a:p>
            <a:pPr defTabSz="914192">
              <a:defRPr/>
            </a:pPr>
            <a:r>
              <a:rPr lang="en-US" sz="1200" dirty="0">
                <a:gradFill>
                  <a:gsLst>
                    <a:gs pos="2917">
                      <a:srgbClr val="1A1A1A"/>
                    </a:gs>
                    <a:gs pos="30000">
                      <a:srgbClr val="1A1A1A"/>
                    </a:gs>
                  </a:gsLst>
                  <a:lin ang="5400000" scaled="0"/>
                </a:gradFill>
                <a:latin typeface="Segoe UI"/>
              </a:rPr>
              <a:t>Node</a:t>
            </a:r>
          </a:p>
        </p:txBody>
      </p:sp>
      <p:sp>
        <p:nvSpPr>
          <p:cNvPr id="102" name="Rectangle 101">
            <a:extLst>
              <a:ext uri="{FF2B5EF4-FFF2-40B4-BE49-F238E27FC236}">
                <a16:creationId xmlns:a16="http://schemas.microsoft.com/office/drawing/2014/main" id="{45E70290-08D1-418C-A67A-81E8A5AC1902}"/>
              </a:ext>
            </a:extLst>
          </p:cNvPr>
          <p:cNvSpPr/>
          <p:nvPr/>
        </p:nvSpPr>
        <p:spPr bwMode="auto">
          <a:xfrm>
            <a:off x="6440973" y="3416819"/>
            <a:ext cx="1190954" cy="1291443"/>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112"/>
            <a:r>
              <a:rPr lang="en-US" sz="1000" b="1" dirty="0">
                <a:solidFill>
                  <a:srgbClr val="0078D7"/>
                </a:solidFill>
                <a:latin typeface="Segoe UI Light"/>
                <a:cs typeface="Segoe UI" panose="020B0502040204020203" pitchFamily="34" charset="0"/>
              </a:rPr>
              <a:t>Pod</a:t>
            </a:r>
          </a:p>
        </p:txBody>
      </p:sp>
      <p:sp>
        <p:nvSpPr>
          <p:cNvPr id="103" name="Rectangle 102">
            <a:extLst>
              <a:ext uri="{FF2B5EF4-FFF2-40B4-BE49-F238E27FC236}">
                <a16:creationId xmlns:a16="http://schemas.microsoft.com/office/drawing/2014/main" id="{24148D7A-5C3E-456B-8ACA-BC74766014D5}"/>
              </a:ext>
            </a:extLst>
          </p:cNvPr>
          <p:cNvSpPr/>
          <p:nvPr/>
        </p:nvSpPr>
        <p:spPr bwMode="auto">
          <a:xfrm>
            <a:off x="6516189" y="3761853"/>
            <a:ext cx="1040523" cy="406208"/>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lIns="319994" rtlCol="0" anchor="ctr">
            <a:spAutoFit/>
          </a:bodyPr>
          <a:lstStyle/>
          <a:p>
            <a:pPr defTabSz="457112"/>
            <a:r>
              <a:rPr lang="en-US" sz="1000" dirty="0">
                <a:solidFill>
                  <a:srgbClr val="505050"/>
                </a:solidFill>
                <a:latin typeface="Segoe UI" panose="020B0502040204020203" pitchFamily="34" charset="0"/>
                <a:cs typeface="Segoe UI" panose="020B0502040204020203" pitchFamily="34" charset="0"/>
              </a:rPr>
              <a:t>SQL Server primary</a:t>
            </a:r>
          </a:p>
        </p:txBody>
      </p:sp>
      <p:sp>
        <p:nvSpPr>
          <p:cNvPr id="104" name="Rectangle 103">
            <a:extLst>
              <a:ext uri="{FF2B5EF4-FFF2-40B4-BE49-F238E27FC236}">
                <a16:creationId xmlns:a16="http://schemas.microsoft.com/office/drawing/2014/main" id="{A35784A0-D12C-4B9F-A772-7039033F2756}"/>
              </a:ext>
            </a:extLst>
          </p:cNvPr>
          <p:cNvSpPr/>
          <p:nvPr/>
        </p:nvSpPr>
        <p:spPr bwMode="auto">
          <a:xfrm>
            <a:off x="6533987" y="4342922"/>
            <a:ext cx="1004925" cy="249264"/>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112"/>
            <a:r>
              <a:rPr lang="en-US" sz="1000" dirty="0">
                <a:solidFill>
                  <a:srgbClr val="505050"/>
                </a:solidFill>
                <a:latin typeface="Segoe UI" panose="020B0502040204020203" pitchFamily="34" charset="0"/>
                <a:cs typeface="Segoe UI" panose="020B0502040204020203" pitchFamily="34" charset="0"/>
              </a:rPr>
              <a:t>AG agent</a:t>
            </a:r>
          </a:p>
        </p:txBody>
      </p:sp>
      <p:sp>
        <p:nvSpPr>
          <p:cNvPr id="105" name="Freeform 63">
            <a:extLst>
              <a:ext uri="{FF2B5EF4-FFF2-40B4-BE49-F238E27FC236}">
                <a16:creationId xmlns:a16="http://schemas.microsoft.com/office/drawing/2014/main" id="{F5E297A2-9F72-44C4-B996-5BFAEE5329A0}"/>
              </a:ext>
            </a:extLst>
          </p:cNvPr>
          <p:cNvSpPr/>
          <p:nvPr/>
        </p:nvSpPr>
        <p:spPr bwMode="auto">
          <a:xfrm>
            <a:off x="6599280" y="3861493"/>
            <a:ext cx="180550" cy="22309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6" name="Rectangle 105">
            <a:extLst>
              <a:ext uri="{FF2B5EF4-FFF2-40B4-BE49-F238E27FC236}">
                <a16:creationId xmlns:a16="http://schemas.microsoft.com/office/drawing/2014/main" id="{E77F5D78-C250-41C0-B3F7-F4D7FA297B5B}"/>
              </a:ext>
            </a:extLst>
          </p:cNvPr>
          <p:cNvSpPr/>
          <p:nvPr/>
        </p:nvSpPr>
        <p:spPr bwMode="auto">
          <a:xfrm>
            <a:off x="5904442" y="1168722"/>
            <a:ext cx="5203735" cy="5020672"/>
          </a:xfrm>
          <a:prstGeom prst="rect">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dirty="0">
              <a:gradFill>
                <a:gsLst>
                  <a:gs pos="40075">
                    <a:srgbClr val="FFFFFF"/>
                  </a:gs>
                  <a:gs pos="30000">
                    <a:srgbClr val="FFFFFF"/>
                  </a:gs>
                </a:gsLst>
                <a:lin ang="5400000" scaled="0"/>
              </a:gradFill>
              <a:latin typeface="Segoe UI"/>
            </a:endParaRPr>
          </a:p>
        </p:txBody>
      </p:sp>
      <p:sp>
        <p:nvSpPr>
          <p:cNvPr id="107" name="TextBox 106">
            <a:extLst>
              <a:ext uri="{FF2B5EF4-FFF2-40B4-BE49-F238E27FC236}">
                <a16:creationId xmlns:a16="http://schemas.microsoft.com/office/drawing/2014/main" id="{37E0A022-7421-4AE5-A1DC-927B714E70D2}"/>
              </a:ext>
            </a:extLst>
          </p:cNvPr>
          <p:cNvSpPr txBox="1"/>
          <p:nvPr/>
        </p:nvSpPr>
        <p:spPr>
          <a:xfrm>
            <a:off x="5964362" y="1203696"/>
            <a:ext cx="2326613" cy="184666"/>
          </a:xfrm>
          <a:prstGeom prst="rect">
            <a:avLst/>
          </a:prstGeom>
          <a:noFill/>
        </p:spPr>
        <p:txBody>
          <a:bodyPr wrap="square" lIns="0" tIns="0" rIns="0" bIns="0" rtlCol="0">
            <a:spAutoFit/>
          </a:bodyPr>
          <a:lstStyle/>
          <a:p>
            <a:pPr defTabSz="914192">
              <a:defRPr/>
            </a:pPr>
            <a:r>
              <a:rPr lang="en-US" sz="1200" b="1" dirty="0">
                <a:gradFill>
                  <a:gsLst>
                    <a:gs pos="2917">
                      <a:srgbClr val="1A1A1A"/>
                    </a:gs>
                    <a:gs pos="30000">
                      <a:srgbClr val="1A1A1A"/>
                    </a:gs>
                  </a:gsLst>
                  <a:lin ang="5400000" scaled="0"/>
                </a:gradFill>
                <a:latin typeface="Segoe UI Semibold" panose="020B0502040204020203" pitchFamily="34" charset="0"/>
                <a:cs typeface="Segoe UI Semibold" panose="020B0502040204020203" pitchFamily="34" charset="0"/>
              </a:rPr>
              <a:t>Kubernetes cluster</a:t>
            </a:r>
          </a:p>
        </p:txBody>
      </p:sp>
      <p:cxnSp>
        <p:nvCxnSpPr>
          <p:cNvPr id="108" name="Straight Arrow Connector 107">
            <a:extLst>
              <a:ext uri="{FF2B5EF4-FFF2-40B4-BE49-F238E27FC236}">
                <a16:creationId xmlns:a16="http://schemas.microsoft.com/office/drawing/2014/main" id="{F07CCC4D-CC2A-400C-859F-52FBDEACF6CF}"/>
              </a:ext>
            </a:extLst>
          </p:cNvPr>
          <p:cNvCxnSpPr>
            <a:cxnSpLocks/>
            <a:stCxn id="142" idx="1"/>
            <a:endCxn id="146" idx="3"/>
          </p:cNvCxnSpPr>
          <p:nvPr/>
        </p:nvCxnSpPr>
        <p:spPr>
          <a:xfrm flipH="1">
            <a:off x="10898610" y="2059971"/>
            <a:ext cx="415385" cy="3516"/>
          </a:xfrm>
          <a:prstGeom prst="straightConnector1">
            <a:avLst/>
          </a:prstGeom>
          <a:ln w="1270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9" name="Straight Arrow Connector 108">
            <a:extLst>
              <a:ext uri="{FF2B5EF4-FFF2-40B4-BE49-F238E27FC236}">
                <a16:creationId xmlns:a16="http://schemas.microsoft.com/office/drawing/2014/main" id="{0AE6C04D-63BE-4808-8B31-9D4943F43F3A}"/>
              </a:ext>
            </a:extLst>
          </p:cNvPr>
          <p:cNvCxnSpPr>
            <a:cxnSpLocks/>
          </p:cNvCxnSpPr>
          <p:nvPr/>
        </p:nvCxnSpPr>
        <p:spPr>
          <a:xfrm flipH="1" flipV="1">
            <a:off x="7040296" y="4805683"/>
            <a:ext cx="5854" cy="646161"/>
          </a:xfrm>
          <a:prstGeom prst="straightConnector1">
            <a:avLst/>
          </a:prstGeom>
          <a:ln w="12700">
            <a:solidFill>
              <a:srgbClr val="0078D7"/>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a16="http://schemas.microsoft.com/office/drawing/2014/main" id="{96C1D9D2-2D3F-473F-A4FB-762FBDD1AE64}"/>
              </a:ext>
            </a:extLst>
          </p:cNvPr>
          <p:cNvCxnSpPr>
            <a:cxnSpLocks/>
          </p:cNvCxnSpPr>
          <p:nvPr/>
        </p:nvCxnSpPr>
        <p:spPr>
          <a:xfrm>
            <a:off x="10605760" y="2246039"/>
            <a:ext cx="7427" cy="881942"/>
          </a:xfrm>
          <a:prstGeom prst="straightConnector1">
            <a:avLst/>
          </a:prstGeom>
          <a:ln w="12700">
            <a:solidFill>
              <a:srgbClr val="0078D7"/>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009769F-843C-48F2-B578-63D561720555}"/>
              </a:ext>
            </a:extLst>
          </p:cNvPr>
          <p:cNvCxnSpPr>
            <a:cxnSpLocks/>
            <a:stCxn id="93" idx="2"/>
            <a:endCxn id="100" idx="0"/>
          </p:cNvCxnSpPr>
          <p:nvPr/>
        </p:nvCxnSpPr>
        <p:spPr>
          <a:xfrm>
            <a:off x="7036450" y="2619880"/>
            <a:ext cx="1" cy="508100"/>
          </a:xfrm>
          <a:prstGeom prst="line">
            <a:avLst/>
          </a:prstGeom>
          <a:ln w="12700">
            <a:solidFill>
              <a:srgbClr val="0078D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2" name="Rectangle 111">
            <a:extLst>
              <a:ext uri="{FF2B5EF4-FFF2-40B4-BE49-F238E27FC236}">
                <a16:creationId xmlns:a16="http://schemas.microsoft.com/office/drawing/2014/main" id="{7CFDCB43-98CC-4812-9CB7-7B76ABE6C3D3}"/>
              </a:ext>
            </a:extLst>
          </p:cNvPr>
          <p:cNvSpPr/>
          <p:nvPr/>
        </p:nvSpPr>
        <p:spPr bwMode="auto">
          <a:xfrm>
            <a:off x="6565614" y="5449356"/>
            <a:ext cx="931320" cy="406208"/>
          </a:xfrm>
          <a:prstGeom prst="rect">
            <a:avLst/>
          </a:prstGeom>
          <a:noFill/>
          <a:ln w="19050">
            <a:solidFill>
              <a:schemeClr val="accent2">
                <a:lumMod val="90000"/>
                <a:lumOff val="10000"/>
              </a:schemeClr>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112"/>
            <a:r>
              <a:rPr lang="en-US" sz="1000" dirty="0">
                <a:solidFill>
                  <a:srgbClr val="505050"/>
                </a:solidFill>
                <a:latin typeface="Segoe UI" panose="020B0502040204020203" pitchFamily="34" charset="0"/>
                <a:cs typeface="Segoe UI" panose="020B0502040204020203" pitchFamily="34" charset="0"/>
              </a:rPr>
              <a:t>Load balancer</a:t>
            </a:r>
          </a:p>
        </p:txBody>
      </p:sp>
      <p:sp>
        <p:nvSpPr>
          <p:cNvPr id="113" name="Rectangle 112">
            <a:extLst>
              <a:ext uri="{FF2B5EF4-FFF2-40B4-BE49-F238E27FC236}">
                <a16:creationId xmlns:a16="http://schemas.microsoft.com/office/drawing/2014/main" id="{9C2CFCE9-7A15-4EDB-95B2-9736AF32D81E}"/>
              </a:ext>
            </a:extLst>
          </p:cNvPr>
          <p:cNvSpPr/>
          <p:nvPr/>
        </p:nvSpPr>
        <p:spPr bwMode="auto">
          <a:xfrm>
            <a:off x="7957341" y="3127981"/>
            <a:ext cx="1370843" cy="167770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12"/>
            <a:endParaRPr lang="en-US" sz="1730" dirty="0">
              <a:solidFill>
                <a:prstClr val="white"/>
              </a:solidFill>
              <a:latin typeface="Segoe UI" panose="020B0502040204020203" pitchFamily="34" charset="0"/>
              <a:cs typeface="Segoe UI" panose="020B0502040204020203" pitchFamily="34" charset="0"/>
            </a:endParaRPr>
          </a:p>
        </p:txBody>
      </p:sp>
      <p:sp>
        <p:nvSpPr>
          <p:cNvPr id="114" name="TextBox 113">
            <a:extLst>
              <a:ext uri="{FF2B5EF4-FFF2-40B4-BE49-F238E27FC236}">
                <a16:creationId xmlns:a16="http://schemas.microsoft.com/office/drawing/2014/main" id="{E0A9696F-4D7A-4F54-AAAD-C93899178552}"/>
              </a:ext>
            </a:extLst>
          </p:cNvPr>
          <p:cNvSpPr txBox="1"/>
          <p:nvPr/>
        </p:nvSpPr>
        <p:spPr>
          <a:xfrm>
            <a:off x="7954481" y="3111991"/>
            <a:ext cx="567703" cy="280678"/>
          </a:xfrm>
          <a:prstGeom prst="rect">
            <a:avLst/>
          </a:prstGeom>
          <a:noFill/>
        </p:spPr>
        <p:txBody>
          <a:bodyPr wrap="none" lIns="91427" tIns="45713" rIns="91427" bIns="45713" rtlCol="0">
            <a:spAutoFit/>
          </a:bodyPr>
          <a:lstStyle/>
          <a:p>
            <a:pPr defTabSz="914192">
              <a:defRPr/>
            </a:pPr>
            <a:r>
              <a:rPr lang="en-US" sz="1200" dirty="0">
                <a:gradFill>
                  <a:gsLst>
                    <a:gs pos="2917">
                      <a:srgbClr val="1A1A1A"/>
                    </a:gs>
                    <a:gs pos="30000">
                      <a:srgbClr val="1A1A1A"/>
                    </a:gs>
                  </a:gsLst>
                  <a:lin ang="5400000" scaled="0"/>
                </a:gradFill>
                <a:latin typeface="Segoe UI"/>
              </a:rPr>
              <a:t>Node</a:t>
            </a:r>
          </a:p>
        </p:txBody>
      </p:sp>
      <p:sp>
        <p:nvSpPr>
          <p:cNvPr id="115" name="Rectangle 114">
            <a:extLst>
              <a:ext uri="{FF2B5EF4-FFF2-40B4-BE49-F238E27FC236}">
                <a16:creationId xmlns:a16="http://schemas.microsoft.com/office/drawing/2014/main" id="{8AEBE0A4-CA0C-4642-9E88-8019234E5DA7}"/>
              </a:ext>
            </a:extLst>
          </p:cNvPr>
          <p:cNvSpPr/>
          <p:nvPr/>
        </p:nvSpPr>
        <p:spPr bwMode="auto">
          <a:xfrm>
            <a:off x="8047285" y="3416819"/>
            <a:ext cx="1190954" cy="1291443"/>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112"/>
            <a:r>
              <a:rPr lang="en-US" sz="1000" b="1" dirty="0">
                <a:solidFill>
                  <a:srgbClr val="0078D7"/>
                </a:solidFill>
                <a:latin typeface="Segoe UI Light"/>
                <a:cs typeface="Segoe UI" panose="020B0502040204020203" pitchFamily="34" charset="0"/>
              </a:rPr>
              <a:t>Pod</a:t>
            </a:r>
          </a:p>
        </p:txBody>
      </p:sp>
      <p:sp>
        <p:nvSpPr>
          <p:cNvPr id="116" name="Rectangle 115">
            <a:extLst>
              <a:ext uri="{FF2B5EF4-FFF2-40B4-BE49-F238E27FC236}">
                <a16:creationId xmlns:a16="http://schemas.microsoft.com/office/drawing/2014/main" id="{1C678564-8C44-4B40-AB45-999B82F087B9}"/>
              </a:ext>
            </a:extLst>
          </p:cNvPr>
          <p:cNvSpPr/>
          <p:nvPr/>
        </p:nvSpPr>
        <p:spPr bwMode="auto">
          <a:xfrm>
            <a:off x="8122501" y="3761853"/>
            <a:ext cx="1040523" cy="406208"/>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lIns="319994" rtlCol="0" anchor="ctr">
            <a:spAutoFit/>
          </a:bodyPr>
          <a:lstStyle/>
          <a:p>
            <a:pPr defTabSz="457112"/>
            <a:r>
              <a:rPr lang="en-US" sz="1000" dirty="0">
                <a:solidFill>
                  <a:srgbClr val="505050"/>
                </a:solidFill>
                <a:latin typeface="Segoe UI" panose="020B0502040204020203" pitchFamily="34" charset="0"/>
                <a:cs typeface="Segoe UI" panose="020B0502040204020203" pitchFamily="34" charset="0"/>
              </a:rPr>
              <a:t>SQL Server secondary</a:t>
            </a:r>
          </a:p>
        </p:txBody>
      </p:sp>
      <p:sp>
        <p:nvSpPr>
          <p:cNvPr id="117" name="Rectangle 116">
            <a:extLst>
              <a:ext uri="{FF2B5EF4-FFF2-40B4-BE49-F238E27FC236}">
                <a16:creationId xmlns:a16="http://schemas.microsoft.com/office/drawing/2014/main" id="{AD8B03C3-6E84-4DEE-8155-53C0B851F5DF}"/>
              </a:ext>
            </a:extLst>
          </p:cNvPr>
          <p:cNvSpPr/>
          <p:nvPr/>
        </p:nvSpPr>
        <p:spPr bwMode="auto">
          <a:xfrm>
            <a:off x="8140299" y="4342922"/>
            <a:ext cx="1004925" cy="249264"/>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112"/>
            <a:r>
              <a:rPr lang="en-US" sz="1000" dirty="0">
                <a:solidFill>
                  <a:srgbClr val="505050"/>
                </a:solidFill>
                <a:latin typeface="Segoe UI" panose="020B0502040204020203" pitchFamily="34" charset="0"/>
                <a:cs typeface="Segoe UI" panose="020B0502040204020203" pitchFamily="34" charset="0"/>
              </a:rPr>
              <a:t>AG agent</a:t>
            </a:r>
          </a:p>
        </p:txBody>
      </p:sp>
      <p:sp>
        <p:nvSpPr>
          <p:cNvPr id="118" name="Rectangle 117">
            <a:extLst>
              <a:ext uri="{FF2B5EF4-FFF2-40B4-BE49-F238E27FC236}">
                <a16:creationId xmlns:a16="http://schemas.microsoft.com/office/drawing/2014/main" id="{1C386814-8C38-45B6-BEE3-7525C94E4EC0}"/>
              </a:ext>
            </a:extLst>
          </p:cNvPr>
          <p:cNvSpPr/>
          <p:nvPr/>
        </p:nvSpPr>
        <p:spPr bwMode="auto">
          <a:xfrm>
            <a:off x="9590154" y="3120362"/>
            <a:ext cx="1370843" cy="1685319"/>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12"/>
            <a:endParaRPr lang="en-US" sz="1730" dirty="0">
              <a:solidFill>
                <a:prstClr val="white"/>
              </a:solidFill>
              <a:latin typeface="Segoe UI" panose="020B0502040204020203" pitchFamily="34" charset="0"/>
              <a:cs typeface="Segoe UI" panose="020B0502040204020203" pitchFamily="34" charset="0"/>
            </a:endParaRPr>
          </a:p>
        </p:txBody>
      </p:sp>
      <p:sp>
        <p:nvSpPr>
          <p:cNvPr id="119" name="TextBox 118">
            <a:extLst>
              <a:ext uri="{FF2B5EF4-FFF2-40B4-BE49-F238E27FC236}">
                <a16:creationId xmlns:a16="http://schemas.microsoft.com/office/drawing/2014/main" id="{856547AB-DFCA-4AAC-A453-B2E586018CF3}"/>
              </a:ext>
            </a:extLst>
          </p:cNvPr>
          <p:cNvSpPr txBox="1"/>
          <p:nvPr/>
        </p:nvSpPr>
        <p:spPr>
          <a:xfrm>
            <a:off x="9596214" y="3111991"/>
            <a:ext cx="567703" cy="280678"/>
          </a:xfrm>
          <a:prstGeom prst="rect">
            <a:avLst/>
          </a:prstGeom>
          <a:noFill/>
        </p:spPr>
        <p:txBody>
          <a:bodyPr wrap="none" lIns="91427" tIns="45713" rIns="91427" bIns="45713" rtlCol="0">
            <a:spAutoFit/>
          </a:bodyPr>
          <a:lstStyle/>
          <a:p>
            <a:pPr defTabSz="914192">
              <a:defRPr/>
            </a:pPr>
            <a:r>
              <a:rPr lang="en-US" sz="1200" dirty="0">
                <a:gradFill>
                  <a:gsLst>
                    <a:gs pos="2917">
                      <a:srgbClr val="1A1A1A"/>
                    </a:gs>
                    <a:gs pos="30000">
                      <a:srgbClr val="1A1A1A"/>
                    </a:gs>
                  </a:gsLst>
                  <a:lin ang="5400000" scaled="0"/>
                </a:gradFill>
                <a:latin typeface="Segoe UI"/>
              </a:rPr>
              <a:t>Node</a:t>
            </a:r>
          </a:p>
        </p:txBody>
      </p:sp>
      <p:sp>
        <p:nvSpPr>
          <p:cNvPr id="120" name="Rectangle 119">
            <a:extLst>
              <a:ext uri="{FF2B5EF4-FFF2-40B4-BE49-F238E27FC236}">
                <a16:creationId xmlns:a16="http://schemas.microsoft.com/office/drawing/2014/main" id="{78E87748-DA1E-4532-B0E2-1C79A04E0919}"/>
              </a:ext>
            </a:extLst>
          </p:cNvPr>
          <p:cNvSpPr/>
          <p:nvPr/>
        </p:nvSpPr>
        <p:spPr bwMode="auto">
          <a:xfrm>
            <a:off x="9680099" y="3416819"/>
            <a:ext cx="1190954" cy="1291443"/>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112"/>
            <a:r>
              <a:rPr lang="en-US" sz="1000" b="1" dirty="0">
                <a:solidFill>
                  <a:srgbClr val="0078D7"/>
                </a:solidFill>
                <a:latin typeface="Segoe UI Light"/>
                <a:cs typeface="Segoe UI" panose="020B0502040204020203" pitchFamily="34" charset="0"/>
              </a:rPr>
              <a:t>Pod</a:t>
            </a:r>
          </a:p>
        </p:txBody>
      </p:sp>
      <p:sp>
        <p:nvSpPr>
          <p:cNvPr id="121" name="Rectangle 120">
            <a:extLst>
              <a:ext uri="{FF2B5EF4-FFF2-40B4-BE49-F238E27FC236}">
                <a16:creationId xmlns:a16="http://schemas.microsoft.com/office/drawing/2014/main" id="{A1C8110A-D971-4915-8094-5EE48AF649D4}"/>
              </a:ext>
            </a:extLst>
          </p:cNvPr>
          <p:cNvSpPr/>
          <p:nvPr/>
        </p:nvSpPr>
        <p:spPr bwMode="auto">
          <a:xfrm>
            <a:off x="9742805" y="3761853"/>
            <a:ext cx="1065539" cy="406208"/>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lIns="319994" rtlCol="0" anchor="ctr">
            <a:spAutoFit/>
          </a:bodyPr>
          <a:lstStyle/>
          <a:p>
            <a:pPr defTabSz="457112"/>
            <a:r>
              <a:rPr lang="en-US" sz="1000" dirty="0">
                <a:solidFill>
                  <a:srgbClr val="505050"/>
                </a:solidFill>
                <a:latin typeface="Segoe UI" panose="020B0502040204020203" pitchFamily="34" charset="0"/>
                <a:cs typeface="Segoe UI" panose="020B0502040204020203" pitchFamily="34" charset="0"/>
              </a:rPr>
              <a:t>SQL Server secondary</a:t>
            </a:r>
          </a:p>
        </p:txBody>
      </p:sp>
      <p:sp>
        <p:nvSpPr>
          <p:cNvPr id="122" name="Rectangle 121">
            <a:extLst>
              <a:ext uri="{FF2B5EF4-FFF2-40B4-BE49-F238E27FC236}">
                <a16:creationId xmlns:a16="http://schemas.microsoft.com/office/drawing/2014/main" id="{7070AF64-6DF9-42FA-A3A0-61B56ED26BE8}"/>
              </a:ext>
            </a:extLst>
          </p:cNvPr>
          <p:cNvSpPr/>
          <p:nvPr/>
        </p:nvSpPr>
        <p:spPr bwMode="auto">
          <a:xfrm>
            <a:off x="9773111" y="4342922"/>
            <a:ext cx="1004925" cy="249264"/>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112"/>
            <a:r>
              <a:rPr lang="en-US" sz="1000" dirty="0">
                <a:solidFill>
                  <a:srgbClr val="505050"/>
                </a:solidFill>
                <a:latin typeface="Segoe UI" panose="020B0502040204020203" pitchFamily="34" charset="0"/>
                <a:cs typeface="Segoe UI" panose="020B0502040204020203" pitchFamily="34" charset="0"/>
              </a:rPr>
              <a:t>AG agent</a:t>
            </a:r>
          </a:p>
        </p:txBody>
      </p:sp>
      <p:cxnSp>
        <p:nvCxnSpPr>
          <p:cNvPr id="123" name="Straight Arrow Connector 122">
            <a:extLst>
              <a:ext uri="{FF2B5EF4-FFF2-40B4-BE49-F238E27FC236}">
                <a16:creationId xmlns:a16="http://schemas.microsoft.com/office/drawing/2014/main" id="{C262A910-988B-4B7E-A683-580BDB926FDB}"/>
              </a:ext>
            </a:extLst>
          </p:cNvPr>
          <p:cNvCxnSpPr>
            <a:cxnSpLocks/>
            <a:stCxn id="112" idx="1"/>
          </p:cNvCxnSpPr>
          <p:nvPr/>
        </p:nvCxnSpPr>
        <p:spPr>
          <a:xfrm flipH="1" flipV="1">
            <a:off x="5731632" y="5652459"/>
            <a:ext cx="833982" cy="1"/>
          </a:xfrm>
          <a:prstGeom prst="straightConnector1">
            <a:avLst/>
          </a:prstGeom>
          <a:ln w="1270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4" name="Freeform 63">
            <a:extLst>
              <a:ext uri="{FF2B5EF4-FFF2-40B4-BE49-F238E27FC236}">
                <a16:creationId xmlns:a16="http://schemas.microsoft.com/office/drawing/2014/main" id="{AE877E1D-1E0F-4E99-A2B9-34CA7689D378}"/>
              </a:ext>
            </a:extLst>
          </p:cNvPr>
          <p:cNvSpPr/>
          <p:nvPr/>
        </p:nvSpPr>
        <p:spPr bwMode="auto">
          <a:xfrm>
            <a:off x="8200257" y="3861493"/>
            <a:ext cx="180550" cy="22309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5" name="Freeform 63">
            <a:extLst>
              <a:ext uri="{FF2B5EF4-FFF2-40B4-BE49-F238E27FC236}">
                <a16:creationId xmlns:a16="http://schemas.microsoft.com/office/drawing/2014/main" id="{7C688AAE-4E30-4F49-B30E-8A72DD08E5F2}"/>
              </a:ext>
            </a:extLst>
          </p:cNvPr>
          <p:cNvSpPr/>
          <p:nvPr/>
        </p:nvSpPr>
        <p:spPr bwMode="auto">
          <a:xfrm>
            <a:off x="9809202" y="3861493"/>
            <a:ext cx="180550" cy="22309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6" name="Multiply 3">
            <a:extLst>
              <a:ext uri="{FF2B5EF4-FFF2-40B4-BE49-F238E27FC236}">
                <a16:creationId xmlns:a16="http://schemas.microsoft.com/office/drawing/2014/main" id="{D2A61740-9D8C-434C-B674-7D045925368A}"/>
              </a:ext>
            </a:extLst>
          </p:cNvPr>
          <p:cNvSpPr/>
          <p:nvPr/>
        </p:nvSpPr>
        <p:spPr bwMode="auto">
          <a:xfrm>
            <a:off x="6540986" y="3434790"/>
            <a:ext cx="1070498" cy="1070498"/>
          </a:xfrm>
          <a:prstGeom prst="mathMultiply">
            <a:avLst>
              <a:gd name="adj1" fmla="val 6836"/>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dirty="0">
              <a:gradFill>
                <a:gsLst>
                  <a:gs pos="40075">
                    <a:srgbClr val="FFFFFF"/>
                  </a:gs>
                  <a:gs pos="30000">
                    <a:srgbClr val="FFFFFF"/>
                  </a:gs>
                </a:gsLst>
                <a:lin ang="5400000" scaled="0"/>
              </a:gradFill>
              <a:latin typeface="Segoe UI"/>
            </a:endParaRPr>
          </a:p>
        </p:txBody>
      </p:sp>
      <p:cxnSp>
        <p:nvCxnSpPr>
          <p:cNvPr id="127" name="Connector: Elbow 126">
            <a:extLst>
              <a:ext uri="{FF2B5EF4-FFF2-40B4-BE49-F238E27FC236}">
                <a16:creationId xmlns:a16="http://schemas.microsoft.com/office/drawing/2014/main" id="{D848C250-93B7-4BF9-8CC2-DE4719509C8E}"/>
              </a:ext>
            </a:extLst>
          </p:cNvPr>
          <p:cNvCxnSpPr>
            <a:cxnSpLocks/>
            <a:stCxn id="93" idx="2"/>
            <a:endCxn id="113" idx="0"/>
          </p:cNvCxnSpPr>
          <p:nvPr/>
        </p:nvCxnSpPr>
        <p:spPr>
          <a:xfrm rot="16200000" flipH="1">
            <a:off x="7585555" y="2070775"/>
            <a:ext cx="508100" cy="1606313"/>
          </a:xfrm>
          <a:prstGeom prst="bentConnector3">
            <a:avLst>
              <a:gd name="adj1" fmla="val 50000"/>
            </a:avLst>
          </a:prstGeom>
          <a:ln w="12700">
            <a:solidFill>
              <a:srgbClr val="0078D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 name="Connector: Elbow 127">
            <a:extLst>
              <a:ext uri="{FF2B5EF4-FFF2-40B4-BE49-F238E27FC236}">
                <a16:creationId xmlns:a16="http://schemas.microsoft.com/office/drawing/2014/main" id="{FCE84AD6-2480-4690-A25D-A7D2DA601F1A}"/>
              </a:ext>
            </a:extLst>
          </p:cNvPr>
          <p:cNvCxnSpPr>
            <a:cxnSpLocks/>
            <a:stCxn id="93" idx="2"/>
            <a:endCxn id="118" idx="0"/>
          </p:cNvCxnSpPr>
          <p:nvPr/>
        </p:nvCxnSpPr>
        <p:spPr>
          <a:xfrm rot="16200000" flipH="1">
            <a:off x="8405772" y="1250558"/>
            <a:ext cx="500481" cy="3239127"/>
          </a:xfrm>
          <a:prstGeom prst="bentConnector3">
            <a:avLst>
              <a:gd name="adj1" fmla="val 50000"/>
            </a:avLst>
          </a:prstGeom>
          <a:ln w="12700">
            <a:solidFill>
              <a:srgbClr val="0078D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 name="Connector: Elbow 128">
            <a:extLst>
              <a:ext uri="{FF2B5EF4-FFF2-40B4-BE49-F238E27FC236}">
                <a16:creationId xmlns:a16="http://schemas.microsoft.com/office/drawing/2014/main" id="{9FB12330-BC4A-4B5E-9DCC-7B810A7CCA09}"/>
              </a:ext>
            </a:extLst>
          </p:cNvPr>
          <p:cNvCxnSpPr>
            <a:cxnSpLocks/>
            <a:stCxn id="112" idx="3"/>
            <a:endCxn id="113" idx="2"/>
          </p:cNvCxnSpPr>
          <p:nvPr/>
        </p:nvCxnSpPr>
        <p:spPr>
          <a:xfrm flipV="1">
            <a:off x="7496934" y="4805681"/>
            <a:ext cx="1145829" cy="846779"/>
          </a:xfrm>
          <a:prstGeom prst="bentConnector2">
            <a:avLst/>
          </a:prstGeom>
          <a:ln w="12700">
            <a:solidFill>
              <a:srgbClr val="0078D7"/>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130" name="Group 129">
            <a:extLst>
              <a:ext uri="{FF2B5EF4-FFF2-40B4-BE49-F238E27FC236}">
                <a16:creationId xmlns:a16="http://schemas.microsoft.com/office/drawing/2014/main" id="{041B7E9D-A088-4306-85A8-FBFC32AFB1F7}"/>
              </a:ext>
            </a:extLst>
          </p:cNvPr>
          <p:cNvGrpSpPr/>
          <p:nvPr/>
        </p:nvGrpSpPr>
        <p:grpSpPr>
          <a:xfrm>
            <a:off x="5296833" y="5394896"/>
            <a:ext cx="434799" cy="421259"/>
            <a:chOff x="7157554" y="1735934"/>
            <a:chExt cx="397423" cy="398542"/>
          </a:xfrm>
        </p:grpSpPr>
        <p:grpSp>
          <p:nvGrpSpPr>
            <p:cNvPr id="131" name="Group 130">
              <a:extLst>
                <a:ext uri="{FF2B5EF4-FFF2-40B4-BE49-F238E27FC236}">
                  <a16:creationId xmlns:a16="http://schemas.microsoft.com/office/drawing/2014/main" id="{C91B7B4B-A4A8-44DD-B8B6-F7B1CD1CF4B0}"/>
                </a:ext>
              </a:extLst>
            </p:cNvPr>
            <p:cNvGrpSpPr/>
            <p:nvPr/>
          </p:nvGrpSpPr>
          <p:grpSpPr>
            <a:xfrm>
              <a:off x="7157554" y="1735934"/>
              <a:ext cx="397423" cy="398542"/>
              <a:chOff x="2107244" y="1575258"/>
              <a:chExt cx="310993" cy="264555"/>
            </a:xfrm>
            <a:solidFill>
              <a:srgbClr val="0078D7"/>
            </a:solidFill>
          </p:grpSpPr>
          <p:sp>
            <p:nvSpPr>
              <p:cNvPr id="136" name="Rectangle 9">
                <a:extLst>
                  <a:ext uri="{FF2B5EF4-FFF2-40B4-BE49-F238E27FC236}">
                    <a16:creationId xmlns:a16="http://schemas.microsoft.com/office/drawing/2014/main" id="{F17171C2-19ED-4062-9DA4-50F24C90C79A}"/>
                  </a:ext>
                </a:extLst>
              </p:cNvPr>
              <p:cNvSpPr>
                <a:spLocks noChangeArrowheads="1"/>
              </p:cNvSpPr>
              <p:nvPr/>
            </p:nvSpPr>
            <p:spPr bwMode="auto">
              <a:xfrm>
                <a:off x="2107244" y="1575258"/>
                <a:ext cx="310993" cy="264555"/>
              </a:xfrm>
              <a:prstGeom prst="rect">
                <a:avLst/>
              </a:prstGeom>
              <a:grpFill/>
              <a:ln w="12700" cap="flat">
                <a:no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sz="1800" kern="0" dirty="0">
                  <a:solidFill>
                    <a:srgbClr val="3F3F3F"/>
                  </a:solidFill>
                  <a:latin typeface="Segoe UI"/>
                </a:endParaRPr>
              </a:p>
            </p:txBody>
          </p:sp>
          <p:sp>
            <p:nvSpPr>
              <p:cNvPr id="137" name="Line 10">
                <a:extLst>
                  <a:ext uri="{FF2B5EF4-FFF2-40B4-BE49-F238E27FC236}">
                    <a16:creationId xmlns:a16="http://schemas.microsoft.com/office/drawing/2014/main" id="{CE2BA7A9-E0C5-4AA0-90E3-CD9EA2D3F4BC}"/>
                  </a:ext>
                </a:extLst>
              </p:cNvPr>
              <p:cNvSpPr>
                <a:spLocks noChangeShapeType="1"/>
              </p:cNvSpPr>
              <p:nvPr/>
            </p:nvSpPr>
            <p:spPr bwMode="auto">
              <a:xfrm flipH="1">
                <a:off x="2107244" y="1647026"/>
                <a:ext cx="310993" cy="0"/>
              </a:xfrm>
              <a:prstGeom prst="line">
                <a:avLst/>
              </a:prstGeom>
              <a:grpFill/>
              <a:ln w="19050" cap="flat">
                <a:solidFill>
                  <a:srgbClr val="50E6FF"/>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sz="1800" kern="0" dirty="0">
                  <a:solidFill>
                    <a:srgbClr val="3F3F3F"/>
                  </a:solidFill>
                  <a:latin typeface="Segoe UI"/>
                </a:endParaRPr>
              </a:p>
            </p:txBody>
          </p:sp>
        </p:grpSp>
        <p:grpSp>
          <p:nvGrpSpPr>
            <p:cNvPr id="132" name="Group 131">
              <a:extLst>
                <a:ext uri="{FF2B5EF4-FFF2-40B4-BE49-F238E27FC236}">
                  <a16:creationId xmlns:a16="http://schemas.microsoft.com/office/drawing/2014/main" id="{86F6DDED-2B52-4B8F-B25F-AF0A80A1A21E}"/>
                </a:ext>
              </a:extLst>
            </p:cNvPr>
            <p:cNvGrpSpPr/>
            <p:nvPr/>
          </p:nvGrpSpPr>
          <p:grpSpPr>
            <a:xfrm>
              <a:off x="7255156" y="1903738"/>
              <a:ext cx="191394" cy="180132"/>
              <a:chOff x="2198132" y="1701907"/>
              <a:chExt cx="95690" cy="90061"/>
            </a:xfrm>
            <a:solidFill>
              <a:srgbClr val="50E6FF"/>
            </a:solidFill>
          </p:grpSpPr>
          <p:sp>
            <p:nvSpPr>
              <p:cNvPr id="134" name="Freeform 14">
                <a:extLst>
                  <a:ext uri="{FF2B5EF4-FFF2-40B4-BE49-F238E27FC236}">
                    <a16:creationId xmlns:a16="http://schemas.microsoft.com/office/drawing/2014/main" id="{BA6F548C-59B5-4666-92AD-19CE92AA191A}"/>
                  </a:ext>
                </a:extLst>
              </p:cNvPr>
              <p:cNvSpPr>
                <a:spLocks/>
              </p:cNvSpPr>
              <p:nvPr/>
            </p:nvSpPr>
            <p:spPr bwMode="auto">
              <a:xfrm>
                <a:off x="2198132"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grpFill/>
              <a:ln w="12700" cap="flat">
                <a:solidFill>
                  <a:srgbClr val="0078D7"/>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sz="1800" dirty="0">
                  <a:solidFill>
                    <a:srgbClr val="3F3F3F"/>
                  </a:solidFill>
                  <a:latin typeface="Segoe UI"/>
                </a:endParaRPr>
              </a:p>
            </p:txBody>
          </p:sp>
          <p:sp>
            <p:nvSpPr>
              <p:cNvPr id="135" name="Line 15">
                <a:extLst>
                  <a:ext uri="{FF2B5EF4-FFF2-40B4-BE49-F238E27FC236}">
                    <a16:creationId xmlns:a16="http://schemas.microsoft.com/office/drawing/2014/main" id="{5520BF41-17D5-4E3A-B923-90D9CE2CE795}"/>
                  </a:ext>
                </a:extLst>
              </p:cNvPr>
              <p:cNvSpPr>
                <a:spLocks noChangeShapeType="1"/>
              </p:cNvSpPr>
              <p:nvPr/>
            </p:nvSpPr>
            <p:spPr bwMode="auto">
              <a:xfrm>
                <a:off x="2248542" y="1755381"/>
                <a:ext cx="0" cy="36587"/>
              </a:xfrm>
              <a:prstGeom prst="line">
                <a:avLst/>
              </a:prstGeom>
              <a:grpFill/>
              <a:ln w="12700" cap="flat">
                <a:solidFill>
                  <a:srgbClr val="0078D7"/>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sz="1800" dirty="0">
                  <a:solidFill>
                    <a:srgbClr val="3F3F3F"/>
                  </a:solidFill>
                  <a:latin typeface="Segoe UI"/>
                </a:endParaRPr>
              </a:p>
            </p:txBody>
          </p:sp>
        </p:grpSp>
        <p:sp>
          <p:nvSpPr>
            <p:cNvPr id="133" name="Oval 132">
              <a:extLst>
                <a:ext uri="{FF2B5EF4-FFF2-40B4-BE49-F238E27FC236}">
                  <a16:creationId xmlns:a16="http://schemas.microsoft.com/office/drawing/2014/main" id="{C9BF4C65-4FFA-4048-A086-468184E056D8}"/>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a:extLst/>
          </p:spPr>
          <p:txBody>
            <a:bodyPr wrap="none" rtlCol="0" anchor="ctr"/>
            <a:lstStyle/>
            <a:p>
              <a:pPr defTabSz="914225">
                <a:defRPr/>
              </a:pPr>
              <a:endParaRPr lang="en-US" sz="1800" kern="0" dirty="0">
                <a:solidFill>
                  <a:prstClr val="black"/>
                </a:solidFill>
                <a:latin typeface="Arial" charset="0"/>
                <a:ea typeface="Arial" charset="0"/>
                <a:cs typeface="Arial" charset="0"/>
              </a:endParaRPr>
            </a:p>
          </p:txBody>
        </p:sp>
      </p:grpSp>
      <p:grpSp>
        <p:nvGrpSpPr>
          <p:cNvPr id="138" name="Group 137">
            <a:extLst>
              <a:ext uri="{FF2B5EF4-FFF2-40B4-BE49-F238E27FC236}">
                <a16:creationId xmlns:a16="http://schemas.microsoft.com/office/drawing/2014/main" id="{66EBAA8D-0E87-4DFF-B116-D984B9CEE219}"/>
              </a:ext>
            </a:extLst>
          </p:cNvPr>
          <p:cNvGrpSpPr/>
          <p:nvPr/>
        </p:nvGrpSpPr>
        <p:grpSpPr>
          <a:xfrm>
            <a:off x="11313996" y="1849339"/>
            <a:ext cx="434799" cy="421259"/>
            <a:chOff x="7157554" y="1735934"/>
            <a:chExt cx="397423" cy="398542"/>
          </a:xfrm>
        </p:grpSpPr>
        <p:grpSp>
          <p:nvGrpSpPr>
            <p:cNvPr id="139" name="Group 138">
              <a:extLst>
                <a:ext uri="{FF2B5EF4-FFF2-40B4-BE49-F238E27FC236}">
                  <a16:creationId xmlns:a16="http://schemas.microsoft.com/office/drawing/2014/main" id="{DE86C69B-7287-4502-89DF-04FBE6963697}"/>
                </a:ext>
              </a:extLst>
            </p:cNvPr>
            <p:cNvGrpSpPr/>
            <p:nvPr/>
          </p:nvGrpSpPr>
          <p:grpSpPr>
            <a:xfrm>
              <a:off x="7157554" y="1735934"/>
              <a:ext cx="397423" cy="398542"/>
              <a:chOff x="2107244" y="1575258"/>
              <a:chExt cx="310993" cy="264555"/>
            </a:xfrm>
            <a:solidFill>
              <a:srgbClr val="0078D7"/>
            </a:solidFill>
          </p:grpSpPr>
          <p:sp>
            <p:nvSpPr>
              <p:cNvPr id="142" name="Rectangle 9">
                <a:extLst>
                  <a:ext uri="{FF2B5EF4-FFF2-40B4-BE49-F238E27FC236}">
                    <a16:creationId xmlns:a16="http://schemas.microsoft.com/office/drawing/2014/main" id="{A1B540AF-CCBB-4822-AD5F-DCA1DAC43FBC}"/>
                  </a:ext>
                </a:extLst>
              </p:cNvPr>
              <p:cNvSpPr>
                <a:spLocks noChangeArrowheads="1"/>
              </p:cNvSpPr>
              <p:nvPr/>
            </p:nvSpPr>
            <p:spPr bwMode="auto">
              <a:xfrm>
                <a:off x="2107244" y="1575258"/>
                <a:ext cx="310993" cy="264555"/>
              </a:xfrm>
              <a:prstGeom prst="rect">
                <a:avLst/>
              </a:prstGeom>
              <a:grpFill/>
              <a:ln w="12700" cap="flat">
                <a:noFill/>
                <a:prstDash val="solid"/>
                <a:miter lim="800000"/>
                <a:headEnd/>
                <a:tailEnd/>
              </a:ln>
              <a:extLst/>
            </p:spPr>
            <p:txBody>
              <a:bodyPr vert="horz" wrap="square" lIns="91427" tIns="45713" rIns="91427" bIns="45713" numCol="1" anchor="t" anchorCtr="0" compatLnSpc="1">
                <a:prstTxWarp prst="textNoShape">
                  <a:avLst/>
                </a:prstTxWarp>
              </a:bodyPr>
              <a:lstStyle/>
              <a:p>
                <a:pPr algn="ctr" defTabSz="932563">
                  <a:defRPr/>
                </a:pPr>
                <a:endParaRPr lang="en-US" sz="1800" kern="0" dirty="0">
                  <a:solidFill>
                    <a:srgbClr val="3F3F3F"/>
                  </a:solidFill>
                  <a:latin typeface="Segoe UI"/>
                </a:endParaRPr>
              </a:p>
            </p:txBody>
          </p:sp>
          <p:sp>
            <p:nvSpPr>
              <p:cNvPr id="143" name="Line 10">
                <a:extLst>
                  <a:ext uri="{FF2B5EF4-FFF2-40B4-BE49-F238E27FC236}">
                    <a16:creationId xmlns:a16="http://schemas.microsoft.com/office/drawing/2014/main" id="{39D68F2D-48E2-4472-A4BC-15BA096F7CB1}"/>
                  </a:ext>
                </a:extLst>
              </p:cNvPr>
              <p:cNvSpPr>
                <a:spLocks noChangeShapeType="1"/>
              </p:cNvSpPr>
              <p:nvPr/>
            </p:nvSpPr>
            <p:spPr bwMode="auto">
              <a:xfrm flipH="1">
                <a:off x="2107244" y="1647026"/>
                <a:ext cx="310993" cy="0"/>
              </a:xfrm>
              <a:prstGeom prst="line">
                <a:avLst/>
              </a:prstGeom>
              <a:grpFill/>
              <a:ln w="19050" cap="flat">
                <a:solidFill>
                  <a:srgbClr val="50E6FF"/>
                </a:solidFill>
                <a:prstDash val="solid"/>
                <a:miter lim="800000"/>
                <a:headEnd/>
                <a:tailEnd/>
              </a:ln>
              <a:extLst/>
            </p:spPr>
            <p:txBody>
              <a:bodyPr vert="horz" wrap="square" lIns="91427" tIns="45713" rIns="91427" bIns="45713" numCol="1" anchor="t" anchorCtr="0" compatLnSpc="1">
                <a:prstTxWarp prst="textNoShape">
                  <a:avLst/>
                </a:prstTxWarp>
              </a:bodyPr>
              <a:lstStyle/>
              <a:p>
                <a:pPr algn="ctr" defTabSz="932563">
                  <a:defRPr/>
                </a:pPr>
                <a:endParaRPr lang="en-US" sz="1800" kern="0" dirty="0">
                  <a:solidFill>
                    <a:srgbClr val="3F3F3F"/>
                  </a:solidFill>
                  <a:latin typeface="Segoe UI"/>
                </a:endParaRPr>
              </a:p>
            </p:txBody>
          </p:sp>
        </p:grpSp>
        <p:sp>
          <p:nvSpPr>
            <p:cNvPr id="140" name="Line 15">
              <a:extLst>
                <a:ext uri="{FF2B5EF4-FFF2-40B4-BE49-F238E27FC236}">
                  <a16:creationId xmlns:a16="http://schemas.microsoft.com/office/drawing/2014/main" id="{E3B48B09-0578-435A-BE5A-483477E78E9F}"/>
                </a:ext>
              </a:extLst>
            </p:cNvPr>
            <p:cNvSpPr>
              <a:spLocks noChangeShapeType="1"/>
            </p:cNvSpPr>
            <p:nvPr/>
          </p:nvSpPr>
          <p:spPr bwMode="auto">
            <a:xfrm>
              <a:off x="7365135" y="2010692"/>
              <a:ext cx="0" cy="73178"/>
            </a:xfrm>
            <a:prstGeom prst="line">
              <a:avLst/>
            </a:prstGeom>
            <a:solidFill>
              <a:srgbClr val="50E6FF"/>
            </a:solidFill>
            <a:ln w="12700" cap="flat">
              <a:solidFill>
                <a:srgbClr val="0078D7"/>
              </a:solidFill>
              <a:prstDash val="solid"/>
              <a:miter lim="800000"/>
              <a:headEnd/>
              <a:tailEnd/>
            </a:ln>
            <a:extLst/>
          </p:spPr>
          <p:txBody>
            <a:bodyPr vert="horz" wrap="square" lIns="91427" tIns="45713" rIns="91427" bIns="45713" numCol="1" anchor="t" anchorCtr="0" compatLnSpc="1">
              <a:prstTxWarp prst="textNoShape">
                <a:avLst/>
              </a:prstTxWarp>
            </a:bodyPr>
            <a:lstStyle/>
            <a:p>
              <a:pPr algn="ctr" defTabSz="932563">
                <a:defRPr/>
              </a:pPr>
              <a:endParaRPr lang="en-US" sz="1800" dirty="0">
                <a:solidFill>
                  <a:srgbClr val="3F3F3F"/>
                </a:solidFill>
                <a:latin typeface="Segoe UI"/>
              </a:endParaRPr>
            </a:p>
          </p:txBody>
        </p:sp>
        <p:sp>
          <p:nvSpPr>
            <p:cNvPr id="141" name="Oval 140">
              <a:extLst>
                <a:ext uri="{FF2B5EF4-FFF2-40B4-BE49-F238E27FC236}">
                  <a16:creationId xmlns:a16="http://schemas.microsoft.com/office/drawing/2014/main" id="{723ABECD-9428-4C96-AB49-46AC87463100}"/>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a:extLst/>
          </p:spPr>
          <p:txBody>
            <a:bodyPr wrap="none" rtlCol="0" anchor="ctr"/>
            <a:lstStyle/>
            <a:p>
              <a:pPr algn="ctr" defTabSz="914225">
                <a:defRPr/>
              </a:pPr>
              <a:endParaRPr lang="en-US" sz="1800" kern="0" dirty="0">
                <a:solidFill>
                  <a:prstClr val="black"/>
                </a:solidFill>
                <a:latin typeface="Arial" charset="0"/>
                <a:ea typeface="Arial" charset="0"/>
                <a:cs typeface="Arial" charset="0"/>
              </a:endParaRPr>
            </a:p>
          </p:txBody>
        </p:sp>
      </p:grpSp>
      <p:sp>
        <p:nvSpPr>
          <p:cNvPr id="144" name="Rectangle 143">
            <a:extLst>
              <a:ext uri="{FF2B5EF4-FFF2-40B4-BE49-F238E27FC236}">
                <a16:creationId xmlns:a16="http://schemas.microsoft.com/office/drawing/2014/main" id="{19C615FE-3594-4F7A-B500-40234931D563}"/>
              </a:ext>
            </a:extLst>
          </p:cNvPr>
          <p:cNvSpPr/>
          <p:nvPr/>
        </p:nvSpPr>
        <p:spPr bwMode="auto">
          <a:xfrm>
            <a:off x="8120753" y="3761851"/>
            <a:ext cx="1040523" cy="406208"/>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lIns="319994" rtlCol="0" anchor="ctr">
            <a:spAutoFit/>
          </a:bodyPr>
          <a:lstStyle/>
          <a:p>
            <a:pPr defTabSz="457112"/>
            <a:r>
              <a:rPr lang="en-US" sz="1000" dirty="0">
                <a:solidFill>
                  <a:srgbClr val="505050"/>
                </a:solidFill>
                <a:latin typeface="Segoe UI" panose="020B0502040204020203" pitchFamily="34" charset="0"/>
                <a:cs typeface="Segoe UI" panose="020B0502040204020203" pitchFamily="34" charset="0"/>
              </a:rPr>
              <a:t>SQL Server primary</a:t>
            </a:r>
          </a:p>
        </p:txBody>
      </p:sp>
      <p:sp>
        <p:nvSpPr>
          <p:cNvPr id="145" name="Rectangle 144">
            <a:extLst>
              <a:ext uri="{FF2B5EF4-FFF2-40B4-BE49-F238E27FC236}">
                <a16:creationId xmlns:a16="http://schemas.microsoft.com/office/drawing/2014/main" id="{38C0C978-FDCD-4744-B1F1-065FC57BD070}"/>
              </a:ext>
            </a:extLst>
          </p:cNvPr>
          <p:cNvSpPr/>
          <p:nvPr/>
        </p:nvSpPr>
        <p:spPr bwMode="auto">
          <a:xfrm>
            <a:off x="6517663" y="3763568"/>
            <a:ext cx="1040523" cy="406208"/>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lIns="319994" rtlCol="0" anchor="ctr">
            <a:spAutoFit/>
          </a:bodyPr>
          <a:lstStyle/>
          <a:p>
            <a:pPr defTabSz="457112"/>
            <a:r>
              <a:rPr lang="en-US" sz="1000" dirty="0">
                <a:solidFill>
                  <a:srgbClr val="505050"/>
                </a:solidFill>
                <a:latin typeface="Segoe UI" panose="020B0502040204020203" pitchFamily="34" charset="0"/>
                <a:cs typeface="Segoe UI" panose="020B0502040204020203" pitchFamily="34" charset="0"/>
              </a:rPr>
              <a:t>SQL Server secondary</a:t>
            </a:r>
          </a:p>
        </p:txBody>
      </p:sp>
      <p:sp>
        <p:nvSpPr>
          <p:cNvPr id="146" name="Rectangle 145">
            <a:extLst>
              <a:ext uri="{FF2B5EF4-FFF2-40B4-BE49-F238E27FC236}">
                <a16:creationId xmlns:a16="http://schemas.microsoft.com/office/drawing/2014/main" id="{FF7661F4-054E-432C-BB86-310E70464B3B}"/>
              </a:ext>
            </a:extLst>
          </p:cNvPr>
          <p:cNvSpPr/>
          <p:nvPr/>
        </p:nvSpPr>
        <p:spPr bwMode="auto">
          <a:xfrm>
            <a:off x="9967290" y="1860382"/>
            <a:ext cx="931320" cy="406208"/>
          </a:xfrm>
          <a:prstGeom prst="rect">
            <a:avLst/>
          </a:prstGeom>
          <a:noFill/>
          <a:ln w="19050">
            <a:solidFill>
              <a:schemeClr val="accent2">
                <a:lumMod val="90000"/>
                <a:lumOff val="10000"/>
              </a:schemeClr>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112"/>
            <a:r>
              <a:rPr lang="en-US" sz="1000" dirty="0">
                <a:solidFill>
                  <a:srgbClr val="505050"/>
                </a:solidFill>
                <a:latin typeface="Segoe UI" panose="020B0502040204020203" pitchFamily="34" charset="0"/>
                <a:cs typeface="Segoe UI" panose="020B0502040204020203" pitchFamily="34" charset="0"/>
              </a:rPr>
              <a:t>Load balancer</a:t>
            </a:r>
          </a:p>
        </p:txBody>
      </p:sp>
      <p:grpSp>
        <p:nvGrpSpPr>
          <p:cNvPr id="147" name="Group 146">
            <a:extLst>
              <a:ext uri="{FF2B5EF4-FFF2-40B4-BE49-F238E27FC236}">
                <a16:creationId xmlns:a16="http://schemas.microsoft.com/office/drawing/2014/main" id="{7306F072-4B38-4579-A30D-4400CF62BACC}"/>
              </a:ext>
            </a:extLst>
          </p:cNvPr>
          <p:cNvGrpSpPr/>
          <p:nvPr/>
        </p:nvGrpSpPr>
        <p:grpSpPr>
          <a:xfrm>
            <a:off x="7233304" y="2266589"/>
            <a:ext cx="3199647" cy="845403"/>
            <a:chOff x="7233465" y="2266423"/>
            <a:chExt cx="3200101" cy="845523"/>
          </a:xfrm>
        </p:grpSpPr>
        <p:cxnSp>
          <p:nvCxnSpPr>
            <p:cNvPr id="148" name="Connector: Elbow 147">
              <a:extLst>
                <a:ext uri="{FF2B5EF4-FFF2-40B4-BE49-F238E27FC236}">
                  <a16:creationId xmlns:a16="http://schemas.microsoft.com/office/drawing/2014/main" id="{0592F195-E733-4C5C-AFC2-B96EF3120362}"/>
                </a:ext>
              </a:extLst>
            </p:cNvPr>
            <p:cNvCxnSpPr>
              <a:cxnSpLocks/>
              <a:stCxn id="146" idx="2"/>
            </p:cNvCxnSpPr>
            <p:nvPr/>
          </p:nvCxnSpPr>
          <p:spPr>
            <a:xfrm rot="5400000">
              <a:off x="8607385" y="892506"/>
              <a:ext cx="452263" cy="3200098"/>
            </a:xfrm>
            <a:prstGeom prst="bentConnector2">
              <a:avLst/>
            </a:prstGeom>
            <a:ln>
              <a:solidFill>
                <a:srgbClr val="0078D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9" name="Straight Arrow Connector 148">
              <a:extLst>
                <a:ext uri="{FF2B5EF4-FFF2-40B4-BE49-F238E27FC236}">
                  <a16:creationId xmlns:a16="http://schemas.microsoft.com/office/drawing/2014/main" id="{4B6E43BE-E280-4C37-A5A6-9A4F1694C9EB}"/>
                </a:ext>
              </a:extLst>
            </p:cNvPr>
            <p:cNvCxnSpPr>
              <a:cxnSpLocks/>
            </p:cNvCxnSpPr>
            <p:nvPr/>
          </p:nvCxnSpPr>
          <p:spPr>
            <a:xfrm flipH="1">
              <a:off x="7233465" y="2718687"/>
              <a:ext cx="2" cy="393259"/>
            </a:xfrm>
            <a:prstGeom prst="straightConnector1">
              <a:avLst/>
            </a:prstGeom>
            <a:ln w="12700">
              <a:solidFill>
                <a:srgbClr val="0078D7"/>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grpSp>
        <p:nvGrpSpPr>
          <p:cNvPr id="150" name="Group 149">
            <a:extLst>
              <a:ext uri="{FF2B5EF4-FFF2-40B4-BE49-F238E27FC236}">
                <a16:creationId xmlns:a16="http://schemas.microsoft.com/office/drawing/2014/main" id="{6653D781-3CD3-4570-BE82-19A017547F8F}"/>
              </a:ext>
            </a:extLst>
          </p:cNvPr>
          <p:cNvGrpSpPr/>
          <p:nvPr/>
        </p:nvGrpSpPr>
        <p:grpSpPr>
          <a:xfrm>
            <a:off x="8839614" y="2261547"/>
            <a:ext cx="1591525" cy="856849"/>
            <a:chOff x="8840003" y="2261380"/>
            <a:chExt cx="1591750" cy="856971"/>
          </a:xfrm>
        </p:grpSpPr>
        <p:cxnSp>
          <p:nvCxnSpPr>
            <p:cNvPr id="151" name="Straight Arrow Connector 150">
              <a:extLst>
                <a:ext uri="{FF2B5EF4-FFF2-40B4-BE49-F238E27FC236}">
                  <a16:creationId xmlns:a16="http://schemas.microsoft.com/office/drawing/2014/main" id="{0D1CBDE0-DC69-496F-9F2F-CD3DE8A1F700}"/>
                </a:ext>
              </a:extLst>
            </p:cNvPr>
            <p:cNvCxnSpPr>
              <a:cxnSpLocks/>
            </p:cNvCxnSpPr>
            <p:nvPr/>
          </p:nvCxnSpPr>
          <p:spPr>
            <a:xfrm flipH="1">
              <a:off x="8840003" y="2725092"/>
              <a:ext cx="2" cy="393259"/>
            </a:xfrm>
            <a:prstGeom prst="straightConnector1">
              <a:avLst/>
            </a:prstGeom>
            <a:ln w="12700">
              <a:solidFill>
                <a:srgbClr val="0078D7"/>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52" name="Connector: Elbow 151">
              <a:extLst>
                <a:ext uri="{FF2B5EF4-FFF2-40B4-BE49-F238E27FC236}">
                  <a16:creationId xmlns:a16="http://schemas.microsoft.com/office/drawing/2014/main" id="{B8BC09C5-E33D-411B-A8AD-F111B6675867}"/>
                </a:ext>
              </a:extLst>
            </p:cNvPr>
            <p:cNvCxnSpPr>
              <a:cxnSpLocks/>
            </p:cNvCxnSpPr>
            <p:nvPr/>
          </p:nvCxnSpPr>
          <p:spPr>
            <a:xfrm rot="10800000" flipV="1">
              <a:off x="8848971" y="2261380"/>
              <a:ext cx="1582782" cy="464546"/>
            </a:xfrm>
            <a:prstGeom prst="bentConnector3">
              <a:avLst>
                <a:gd name="adj1" fmla="val 316"/>
              </a:avLst>
            </a:prstGeom>
            <a:ln>
              <a:solidFill>
                <a:srgbClr val="0078D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346122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0"/>
                                        </p:tgtEl>
                                        <p:attrNameLst>
                                          <p:attrName>style.visibility</p:attrName>
                                        </p:attrNameLst>
                                      </p:cBhvr>
                                      <p:to>
                                        <p:strVal val="visible"/>
                                      </p:to>
                                    </p:set>
                                  </p:childTnLst>
                                </p:cTn>
                              </p:par>
                              <p:par>
                                <p:cTn id="7" presetID="1" presetClass="entr" presetSubtype="0" fill="hold" grpId="1" nodeType="withEffect">
                                  <p:stCondLst>
                                    <p:cond delay="0"/>
                                  </p:stCondLst>
                                  <p:childTnLst>
                                    <p:set>
                                      <p:cBhvr>
                                        <p:cTn id="8" dur="1" fill="hold">
                                          <p:stCondLst>
                                            <p:cond delay="0"/>
                                          </p:stCondLst>
                                        </p:cTn>
                                        <p:tgtEl>
                                          <p:spTgt spid="116"/>
                                        </p:tgtEl>
                                        <p:attrNameLst>
                                          <p:attrName>style.visibility</p:attrName>
                                        </p:attrNameLst>
                                      </p:cBhvr>
                                      <p:to>
                                        <p:strVal val="visible"/>
                                      </p:to>
                                    </p:set>
                                  </p:childTnLst>
                                </p:cTn>
                              </p:par>
                              <p:par>
                                <p:cTn id="9" presetID="1" presetClass="entr" presetSubtype="0" fill="hold" grpId="1" nodeType="withEffect">
                                  <p:stCondLst>
                                    <p:cond delay="0"/>
                                  </p:stCondLst>
                                  <p:childTnLst>
                                    <p:set>
                                      <p:cBhvr>
                                        <p:cTn id="10" dur="1" fill="hold">
                                          <p:stCondLst>
                                            <p:cond delay="0"/>
                                          </p:stCondLst>
                                        </p:cTn>
                                        <p:tgtEl>
                                          <p:spTgt spid="10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1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1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1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1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19"/>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20"/>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21"/>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22"/>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11"/>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27"/>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28"/>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05"/>
                                        </p:tgtEl>
                                        <p:attrNameLst>
                                          <p:attrName>style.visibility</p:attrName>
                                        </p:attrNameLst>
                                      </p:cBhvr>
                                      <p:to>
                                        <p:strVal val="visible"/>
                                      </p:to>
                                    </p:set>
                                  </p:childTnLst>
                                </p:cTn>
                              </p:par>
                            </p:childTnLst>
                          </p:cTn>
                        </p:par>
                        <p:par>
                          <p:cTn id="47" fill="hold">
                            <p:stCondLst>
                              <p:cond delay="0"/>
                            </p:stCondLst>
                            <p:childTnLst>
                              <p:par>
                                <p:cTn id="48" presetID="1" presetClass="entr" presetSubtype="0" fill="hold" grpId="0" nodeType="afterEffect">
                                  <p:stCondLst>
                                    <p:cond delay="500"/>
                                  </p:stCondLst>
                                  <p:childTnLst>
                                    <p:set>
                                      <p:cBhvr>
                                        <p:cTn id="49" dur="1" fill="hold">
                                          <p:stCondLst>
                                            <p:cond delay="0"/>
                                          </p:stCondLst>
                                        </p:cTn>
                                        <p:tgtEl>
                                          <p:spTgt spid="125"/>
                                        </p:tgtEl>
                                        <p:attrNameLst>
                                          <p:attrName>style.visibility</p:attrName>
                                        </p:attrNameLst>
                                      </p:cBhvr>
                                      <p:to>
                                        <p:strVal val="visible"/>
                                      </p:to>
                                    </p:set>
                                  </p:childTnLst>
                                </p:cTn>
                              </p:par>
                              <p:par>
                                <p:cTn id="50" presetID="1" presetClass="entr" presetSubtype="0" fill="hold" grpId="0" nodeType="withEffect">
                                  <p:stCondLst>
                                    <p:cond delay="500"/>
                                  </p:stCondLst>
                                  <p:childTnLst>
                                    <p:set>
                                      <p:cBhvr>
                                        <p:cTn id="51" dur="1" fill="hold">
                                          <p:stCondLst>
                                            <p:cond delay="0"/>
                                          </p:stCondLst>
                                        </p:cTn>
                                        <p:tgtEl>
                                          <p:spTgt spid="124"/>
                                        </p:tgtEl>
                                        <p:attrNameLst>
                                          <p:attrName>style.visibility</p:attrName>
                                        </p:attrNameLst>
                                      </p:cBhvr>
                                      <p:to>
                                        <p:strVal val="visible"/>
                                      </p:to>
                                    </p:set>
                                  </p:childTnLst>
                                </p:cTn>
                              </p:par>
                            </p:childTnLst>
                          </p:cTn>
                        </p:par>
                      </p:childTnLst>
                    </p:cTn>
                  </p:par>
                  <p:par>
                    <p:cTn id="52" fill="hold">
                      <p:stCondLst>
                        <p:cond delay="indefinite"/>
                      </p:stCondLst>
                      <p:childTnLst>
                        <p:par>
                          <p:cTn id="53" fill="hold">
                            <p:stCondLst>
                              <p:cond delay="0"/>
                            </p:stCondLst>
                            <p:childTnLst>
                              <p:par>
                                <p:cTn id="54" presetID="1" presetClass="entr" presetSubtype="0" fill="hold" nodeType="clickEffect">
                                  <p:stCondLst>
                                    <p:cond delay="0"/>
                                  </p:stCondLst>
                                  <p:childTnLst>
                                    <p:set>
                                      <p:cBhvr>
                                        <p:cTn id="55" dur="1" fill="hold">
                                          <p:stCondLst>
                                            <p:cond delay="0"/>
                                          </p:stCondLst>
                                        </p:cTn>
                                        <p:tgtEl>
                                          <p:spTgt spid="130"/>
                                        </p:tgtEl>
                                        <p:attrNameLst>
                                          <p:attrName>style.visibility</p:attrName>
                                        </p:attrNameLst>
                                      </p:cBhvr>
                                      <p:to>
                                        <p:strVal val="visible"/>
                                      </p:to>
                                    </p:set>
                                  </p:childTnLst>
                                </p:cTn>
                              </p:par>
                              <p:par>
                                <p:cTn id="56" presetID="1" presetClass="entr" presetSubtype="0" fill="hold" grpId="0" nodeType="withEffect">
                                  <p:stCondLst>
                                    <p:cond delay="0"/>
                                  </p:stCondLst>
                                  <p:childTnLst>
                                    <p:set>
                                      <p:cBhvr>
                                        <p:cTn id="57" dur="1" fill="hold">
                                          <p:stCondLst>
                                            <p:cond delay="0"/>
                                          </p:stCondLst>
                                        </p:cTn>
                                        <p:tgtEl>
                                          <p:spTgt spid="99"/>
                                        </p:tgtEl>
                                        <p:attrNameLst>
                                          <p:attrName>style.visibility</p:attrName>
                                        </p:attrNameLst>
                                      </p:cBhvr>
                                      <p:to>
                                        <p:strVal val="visible"/>
                                      </p:to>
                                    </p:set>
                                  </p:childTnLst>
                                </p:cTn>
                              </p:par>
                              <p:par>
                                <p:cTn id="58" presetID="1" presetClass="entr" presetSubtype="0" fill="hold" nodeType="withEffect">
                                  <p:stCondLst>
                                    <p:cond delay="0"/>
                                  </p:stCondLst>
                                  <p:childTnLst>
                                    <p:set>
                                      <p:cBhvr>
                                        <p:cTn id="59" dur="1" fill="hold">
                                          <p:stCondLst>
                                            <p:cond delay="0"/>
                                          </p:stCondLst>
                                        </p:cTn>
                                        <p:tgtEl>
                                          <p:spTgt spid="123"/>
                                        </p:tgtEl>
                                        <p:attrNameLst>
                                          <p:attrName>style.visibility</p:attrName>
                                        </p:attrNameLst>
                                      </p:cBhvr>
                                      <p:to>
                                        <p:strVal val="visible"/>
                                      </p:to>
                                    </p:set>
                                  </p:childTnLst>
                                </p:cTn>
                              </p:par>
                              <p:par>
                                <p:cTn id="60" presetID="1" presetClass="entr" presetSubtype="0" fill="hold" grpId="0" nodeType="withEffect">
                                  <p:stCondLst>
                                    <p:cond delay="0"/>
                                  </p:stCondLst>
                                  <p:childTnLst>
                                    <p:set>
                                      <p:cBhvr>
                                        <p:cTn id="61" dur="1" fill="hold">
                                          <p:stCondLst>
                                            <p:cond delay="0"/>
                                          </p:stCondLst>
                                        </p:cTn>
                                        <p:tgtEl>
                                          <p:spTgt spid="112"/>
                                        </p:tgtEl>
                                        <p:attrNameLst>
                                          <p:attrName>style.visibility</p:attrName>
                                        </p:attrNameLst>
                                      </p:cBhvr>
                                      <p:to>
                                        <p:strVal val="visible"/>
                                      </p:to>
                                    </p:set>
                                  </p:childTnLst>
                                </p:cTn>
                              </p:par>
                              <p:par>
                                <p:cTn id="62" presetID="1" presetClass="entr" presetSubtype="0" fill="hold" nodeType="withEffect">
                                  <p:stCondLst>
                                    <p:cond delay="0"/>
                                  </p:stCondLst>
                                  <p:childTnLst>
                                    <p:set>
                                      <p:cBhvr>
                                        <p:cTn id="63" dur="1" fill="hold">
                                          <p:stCondLst>
                                            <p:cond delay="0"/>
                                          </p:stCondLst>
                                        </p:cTn>
                                        <p:tgtEl>
                                          <p:spTgt spid="109"/>
                                        </p:tgtEl>
                                        <p:attrNameLst>
                                          <p:attrName>style.visibility</p:attrName>
                                        </p:attrNameLst>
                                      </p:cBhvr>
                                      <p:to>
                                        <p:strVal val="visible"/>
                                      </p:to>
                                    </p:set>
                                  </p:childTnLst>
                                </p:cTn>
                              </p:par>
                            </p:childTnLst>
                          </p:cTn>
                        </p:par>
                      </p:childTnLst>
                    </p:cTn>
                  </p:par>
                  <p:par>
                    <p:cTn id="64" fill="hold">
                      <p:stCondLst>
                        <p:cond delay="indefinite"/>
                      </p:stCondLst>
                      <p:childTnLst>
                        <p:par>
                          <p:cTn id="65" fill="hold">
                            <p:stCondLst>
                              <p:cond delay="0"/>
                            </p:stCondLst>
                            <p:childTnLst>
                              <p:par>
                                <p:cTn id="66" presetID="1" presetClass="entr" presetSubtype="0" fill="hold" grpId="0" nodeType="clickEffect">
                                  <p:stCondLst>
                                    <p:cond delay="0"/>
                                  </p:stCondLst>
                                  <p:childTnLst>
                                    <p:set>
                                      <p:cBhvr>
                                        <p:cTn id="67" dur="1" fill="hold">
                                          <p:stCondLst>
                                            <p:cond delay="0"/>
                                          </p:stCondLst>
                                        </p:cTn>
                                        <p:tgtEl>
                                          <p:spTgt spid="146"/>
                                        </p:tgtEl>
                                        <p:attrNameLst>
                                          <p:attrName>style.visibility</p:attrName>
                                        </p:attrNameLst>
                                      </p:cBhvr>
                                      <p:to>
                                        <p:strVal val="visible"/>
                                      </p:to>
                                    </p:set>
                                  </p:childTnLst>
                                </p:cTn>
                              </p:par>
                              <p:par>
                                <p:cTn id="68" presetID="1" presetClass="entr" presetSubtype="0" fill="hold" nodeType="withEffect">
                                  <p:stCondLst>
                                    <p:cond delay="0"/>
                                  </p:stCondLst>
                                  <p:childTnLst>
                                    <p:set>
                                      <p:cBhvr>
                                        <p:cTn id="69" dur="1" fill="hold">
                                          <p:stCondLst>
                                            <p:cond delay="0"/>
                                          </p:stCondLst>
                                        </p:cTn>
                                        <p:tgtEl>
                                          <p:spTgt spid="108"/>
                                        </p:tgtEl>
                                        <p:attrNameLst>
                                          <p:attrName>style.visibility</p:attrName>
                                        </p:attrNameLst>
                                      </p:cBhvr>
                                      <p:to>
                                        <p:strVal val="visible"/>
                                      </p:to>
                                    </p:set>
                                  </p:childTnLst>
                                </p:cTn>
                              </p:par>
                              <p:par>
                                <p:cTn id="70" presetID="1" presetClass="entr" presetSubtype="0" fill="hold" nodeType="withEffect">
                                  <p:stCondLst>
                                    <p:cond delay="0"/>
                                  </p:stCondLst>
                                  <p:childTnLst>
                                    <p:set>
                                      <p:cBhvr>
                                        <p:cTn id="71" dur="1" fill="hold">
                                          <p:stCondLst>
                                            <p:cond delay="0"/>
                                          </p:stCondLst>
                                        </p:cTn>
                                        <p:tgtEl>
                                          <p:spTgt spid="138"/>
                                        </p:tgtEl>
                                        <p:attrNameLst>
                                          <p:attrName>style.visibility</p:attrName>
                                        </p:attrNameLst>
                                      </p:cBhvr>
                                      <p:to>
                                        <p:strVal val="visible"/>
                                      </p:to>
                                    </p:set>
                                  </p:childTnLst>
                                </p:cTn>
                              </p:par>
                              <p:par>
                                <p:cTn id="72" presetID="1" presetClass="entr" presetSubtype="0" fill="hold" grpId="0" nodeType="withEffect">
                                  <p:stCondLst>
                                    <p:cond delay="0"/>
                                  </p:stCondLst>
                                  <p:childTnLst>
                                    <p:set>
                                      <p:cBhvr>
                                        <p:cTn id="73" dur="1" fill="hold">
                                          <p:stCondLst>
                                            <p:cond delay="0"/>
                                          </p:stCondLst>
                                        </p:cTn>
                                        <p:tgtEl>
                                          <p:spTgt spid="98"/>
                                        </p:tgtEl>
                                        <p:attrNameLst>
                                          <p:attrName>style.visibility</p:attrName>
                                        </p:attrNameLst>
                                      </p:cBhvr>
                                      <p:to>
                                        <p:strVal val="visible"/>
                                      </p:to>
                                    </p:set>
                                  </p:childTnLst>
                                </p:cTn>
                              </p:par>
                              <p:par>
                                <p:cTn id="74" presetID="1" presetClass="entr" presetSubtype="0" fill="hold" nodeType="withEffect">
                                  <p:stCondLst>
                                    <p:cond delay="0"/>
                                  </p:stCondLst>
                                  <p:childTnLst>
                                    <p:set>
                                      <p:cBhvr>
                                        <p:cTn id="75" dur="1" fill="hold">
                                          <p:stCondLst>
                                            <p:cond delay="0"/>
                                          </p:stCondLst>
                                        </p:cTn>
                                        <p:tgtEl>
                                          <p:spTgt spid="110"/>
                                        </p:tgtEl>
                                        <p:attrNameLst>
                                          <p:attrName>style.visibility</p:attrName>
                                        </p:attrNameLst>
                                      </p:cBhvr>
                                      <p:to>
                                        <p:strVal val="visible"/>
                                      </p:to>
                                    </p:set>
                                  </p:childTnLst>
                                </p:cTn>
                              </p:par>
                              <p:par>
                                <p:cTn id="76" presetID="1" presetClass="entr" presetSubtype="0" fill="hold" nodeType="withEffect">
                                  <p:stCondLst>
                                    <p:cond delay="0"/>
                                  </p:stCondLst>
                                  <p:childTnLst>
                                    <p:set>
                                      <p:cBhvr>
                                        <p:cTn id="77" dur="1" fill="hold">
                                          <p:stCondLst>
                                            <p:cond delay="0"/>
                                          </p:stCondLst>
                                        </p:cTn>
                                        <p:tgtEl>
                                          <p:spTgt spid="150"/>
                                        </p:tgtEl>
                                        <p:attrNameLst>
                                          <p:attrName>style.visibility</p:attrName>
                                        </p:attrNameLst>
                                      </p:cBhvr>
                                      <p:to>
                                        <p:strVal val="visible"/>
                                      </p:to>
                                    </p:se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126"/>
                                        </p:tgtEl>
                                        <p:attrNameLst>
                                          <p:attrName>style.visibility</p:attrName>
                                        </p:attrNameLst>
                                      </p:cBhvr>
                                      <p:to>
                                        <p:strVal val="visible"/>
                                      </p:to>
                                    </p:set>
                                    <p:animEffect transition="in" filter="fade">
                                      <p:cBhvr>
                                        <p:cTn id="82" dur="500"/>
                                        <p:tgtEl>
                                          <p:spTgt spid="126"/>
                                        </p:tgtEl>
                                      </p:cBhvr>
                                    </p:animEffect>
                                  </p:childTnLst>
                                </p:cTn>
                              </p:par>
                              <p:par>
                                <p:cTn id="83" presetID="7" presetClass="emph" presetSubtype="2" fill="hold" nodeType="withEffect">
                                  <p:stCondLst>
                                    <p:cond delay="0"/>
                                  </p:stCondLst>
                                  <p:childTnLst>
                                    <p:animClr clrSpc="rgb" dir="cw">
                                      <p:cBhvr>
                                        <p:cTn id="84" dur="500" fill="hold"/>
                                        <p:tgtEl>
                                          <p:spTgt spid="100"/>
                                        </p:tgtEl>
                                        <p:attrNameLst>
                                          <p:attrName>stroke.color</p:attrName>
                                        </p:attrNameLst>
                                      </p:cBhvr>
                                      <p:to>
                                        <a:srgbClr val="D83B01"/>
                                      </p:to>
                                    </p:animClr>
                                    <p:set>
                                      <p:cBhvr>
                                        <p:cTn id="85" dur="500" fill="hold"/>
                                        <p:tgtEl>
                                          <p:spTgt spid="100"/>
                                        </p:tgtEl>
                                        <p:attrNameLst>
                                          <p:attrName>stroke.on</p:attrName>
                                        </p:attrNameLst>
                                      </p:cBhvr>
                                      <p:to>
                                        <p:strVal val="true"/>
                                      </p:to>
                                    </p:set>
                                  </p:childTnLst>
                                </p:cTn>
                              </p:par>
                            </p:childTnLst>
                          </p:cTn>
                        </p:par>
                      </p:childTnLst>
                    </p:cTn>
                  </p:par>
                  <p:par>
                    <p:cTn id="86" fill="hold">
                      <p:stCondLst>
                        <p:cond delay="indefinite"/>
                      </p:stCondLst>
                      <p:childTnLst>
                        <p:par>
                          <p:cTn id="87" fill="hold">
                            <p:stCondLst>
                              <p:cond delay="0"/>
                            </p:stCondLst>
                            <p:childTnLst>
                              <p:par>
                                <p:cTn id="88" presetID="10" presetClass="exit" presetSubtype="0" fill="hold" grpId="0" nodeType="clickEffect">
                                  <p:stCondLst>
                                    <p:cond delay="0"/>
                                  </p:stCondLst>
                                  <p:childTnLst>
                                    <p:animEffect transition="out" filter="fade">
                                      <p:cBhvr>
                                        <p:cTn id="89" dur="500"/>
                                        <p:tgtEl>
                                          <p:spTgt spid="116"/>
                                        </p:tgtEl>
                                      </p:cBhvr>
                                    </p:animEffect>
                                    <p:set>
                                      <p:cBhvr>
                                        <p:cTn id="90" dur="1" fill="hold">
                                          <p:stCondLst>
                                            <p:cond delay="499"/>
                                          </p:stCondLst>
                                        </p:cTn>
                                        <p:tgtEl>
                                          <p:spTgt spid="116"/>
                                        </p:tgtEl>
                                        <p:attrNameLst>
                                          <p:attrName>style.visibility</p:attrName>
                                        </p:attrNameLst>
                                      </p:cBhvr>
                                      <p:to>
                                        <p:strVal val="hidden"/>
                                      </p:to>
                                    </p:set>
                                  </p:childTnLst>
                                </p:cTn>
                              </p:par>
                              <p:par>
                                <p:cTn id="91" presetID="10" presetClass="entr" presetSubtype="0" fill="hold" grpId="0" nodeType="withEffect">
                                  <p:stCondLst>
                                    <p:cond delay="0"/>
                                  </p:stCondLst>
                                  <p:childTnLst>
                                    <p:set>
                                      <p:cBhvr>
                                        <p:cTn id="92" dur="1" fill="hold">
                                          <p:stCondLst>
                                            <p:cond delay="0"/>
                                          </p:stCondLst>
                                        </p:cTn>
                                        <p:tgtEl>
                                          <p:spTgt spid="144"/>
                                        </p:tgtEl>
                                        <p:attrNameLst>
                                          <p:attrName>style.visibility</p:attrName>
                                        </p:attrNameLst>
                                      </p:cBhvr>
                                      <p:to>
                                        <p:strVal val="visible"/>
                                      </p:to>
                                    </p:set>
                                    <p:animEffect transition="in" filter="fade">
                                      <p:cBhvr>
                                        <p:cTn id="93" dur="500"/>
                                        <p:tgtEl>
                                          <p:spTgt spid="144"/>
                                        </p:tgtEl>
                                      </p:cBhvr>
                                    </p:animEffect>
                                  </p:childTnLst>
                                </p:cTn>
                              </p:par>
                            </p:childTnLst>
                          </p:cTn>
                        </p:par>
                        <p:par>
                          <p:cTn id="94" fill="hold">
                            <p:stCondLst>
                              <p:cond delay="500"/>
                            </p:stCondLst>
                            <p:childTnLst>
                              <p:par>
                                <p:cTn id="95" presetID="10" presetClass="exit" presetSubtype="0" fill="hold" nodeType="afterEffect">
                                  <p:stCondLst>
                                    <p:cond delay="0"/>
                                  </p:stCondLst>
                                  <p:childTnLst>
                                    <p:animEffect transition="out" filter="fade">
                                      <p:cBhvr>
                                        <p:cTn id="96" dur="500"/>
                                        <p:tgtEl>
                                          <p:spTgt spid="109"/>
                                        </p:tgtEl>
                                      </p:cBhvr>
                                    </p:animEffect>
                                    <p:set>
                                      <p:cBhvr>
                                        <p:cTn id="97" dur="1" fill="hold">
                                          <p:stCondLst>
                                            <p:cond delay="499"/>
                                          </p:stCondLst>
                                        </p:cTn>
                                        <p:tgtEl>
                                          <p:spTgt spid="109"/>
                                        </p:tgtEl>
                                        <p:attrNameLst>
                                          <p:attrName>style.visibility</p:attrName>
                                        </p:attrNameLst>
                                      </p:cBhvr>
                                      <p:to>
                                        <p:strVal val="hidden"/>
                                      </p:to>
                                    </p:set>
                                  </p:childTnLst>
                                </p:cTn>
                              </p:par>
                              <p:par>
                                <p:cTn id="98" presetID="22" presetClass="entr" presetSubtype="8" fill="hold" nodeType="withEffect">
                                  <p:stCondLst>
                                    <p:cond delay="0"/>
                                  </p:stCondLst>
                                  <p:childTnLst>
                                    <p:set>
                                      <p:cBhvr>
                                        <p:cTn id="99" dur="1" fill="hold">
                                          <p:stCondLst>
                                            <p:cond delay="0"/>
                                          </p:stCondLst>
                                        </p:cTn>
                                        <p:tgtEl>
                                          <p:spTgt spid="129"/>
                                        </p:tgtEl>
                                        <p:attrNameLst>
                                          <p:attrName>style.visibility</p:attrName>
                                        </p:attrNameLst>
                                      </p:cBhvr>
                                      <p:to>
                                        <p:strVal val="visible"/>
                                      </p:to>
                                    </p:set>
                                    <p:animEffect transition="in" filter="wipe(left)">
                                      <p:cBhvr>
                                        <p:cTn id="100" dur="500"/>
                                        <p:tgtEl>
                                          <p:spTgt spid="129"/>
                                        </p:tgtEl>
                                      </p:cBhvr>
                                    </p:animEffect>
                                  </p:childTnLst>
                                </p:cTn>
                              </p:par>
                            </p:childTnLst>
                          </p:cTn>
                        </p:par>
                      </p:childTnLst>
                    </p:cTn>
                  </p:par>
                  <p:par>
                    <p:cTn id="101" fill="hold">
                      <p:stCondLst>
                        <p:cond delay="indefinite"/>
                      </p:stCondLst>
                      <p:childTnLst>
                        <p:par>
                          <p:cTn id="102" fill="hold">
                            <p:stCondLst>
                              <p:cond delay="0"/>
                            </p:stCondLst>
                            <p:childTnLst>
                              <p:par>
                                <p:cTn id="103" presetID="10" presetClass="exit" presetSubtype="0" fill="hold" grpId="1" nodeType="clickEffect">
                                  <p:stCondLst>
                                    <p:cond delay="0"/>
                                  </p:stCondLst>
                                  <p:childTnLst>
                                    <p:animEffect transition="out" filter="fade">
                                      <p:cBhvr>
                                        <p:cTn id="104" dur="500"/>
                                        <p:tgtEl>
                                          <p:spTgt spid="126"/>
                                        </p:tgtEl>
                                      </p:cBhvr>
                                    </p:animEffect>
                                    <p:set>
                                      <p:cBhvr>
                                        <p:cTn id="105" dur="1" fill="hold">
                                          <p:stCondLst>
                                            <p:cond delay="499"/>
                                          </p:stCondLst>
                                        </p:cTn>
                                        <p:tgtEl>
                                          <p:spTgt spid="126"/>
                                        </p:tgtEl>
                                        <p:attrNameLst>
                                          <p:attrName>style.visibility</p:attrName>
                                        </p:attrNameLst>
                                      </p:cBhvr>
                                      <p:to>
                                        <p:strVal val="hidden"/>
                                      </p:to>
                                    </p:set>
                                  </p:childTnLst>
                                </p:cTn>
                              </p:par>
                              <p:par>
                                <p:cTn id="106" presetID="7" presetClass="emph" presetSubtype="2" fill="hold" nodeType="withEffect">
                                  <p:stCondLst>
                                    <p:cond delay="0"/>
                                  </p:stCondLst>
                                  <p:childTnLst>
                                    <p:animClr clrSpc="rgb" dir="cw">
                                      <p:cBhvr>
                                        <p:cTn id="107" dur="500" fill="hold"/>
                                        <p:tgtEl>
                                          <p:spTgt spid="100"/>
                                        </p:tgtEl>
                                        <p:attrNameLst>
                                          <p:attrName>stroke.color</p:attrName>
                                        </p:attrNameLst>
                                      </p:cBhvr>
                                      <p:to>
                                        <a:srgbClr val="737373"/>
                                      </p:to>
                                    </p:animClr>
                                    <p:set>
                                      <p:cBhvr>
                                        <p:cTn id="108" dur="500" fill="hold"/>
                                        <p:tgtEl>
                                          <p:spTgt spid="100"/>
                                        </p:tgtEl>
                                        <p:attrNameLst>
                                          <p:attrName>stroke.on</p:attrName>
                                        </p:attrNameLst>
                                      </p:cBhvr>
                                      <p:to>
                                        <p:strVal val="true"/>
                                      </p:to>
                                    </p:set>
                                  </p:childTnLst>
                                </p:cTn>
                              </p:par>
                              <p:par>
                                <p:cTn id="109" presetID="10" presetClass="entr" presetSubtype="0" fill="hold" grpId="0" nodeType="withEffect">
                                  <p:stCondLst>
                                    <p:cond delay="0"/>
                                  </p:stCondLst>
                                  <p:childTnLst>
                                    <p:set>
                                      <p:cBhvr>
                                        <p:cTn id="110" dur="1" fill="hold">
                                          <p:stCondLst>
                                            <p:cond delay="0"/>
                                          </p:stCondLst>
                                        </p:cTn>
                                        <p:tgtEl>
                                          <p:spTgt spid="145"/>
                                        </p:tgtEl>
                                        <p:attrNameLst>
                                          <p:attrName>style.visibility</p:attrName>
                                        </p:attrNameLst>
                                      </p:cBhvr>
                                      <p:to>
                                        <p:strVal val="visible"/>
                                      </p:to>
                                    </p:set>
                                    <p:animEffect transition="in" filter="fade">
                                      <p:cBhvr>
                                        <p:cTn id="111" dur="500"/>
                                        <p:tgtEl>
                                          <p:spTgt spid="145"/>
                                        </p:tgtEl>
                                      </p:cBhvr>
                                    </p:animEffect>
                                  </p:childTnLst>
                                </p:cTn>
                              </p:par>
                              <p:par>
                                <p:cTn id="112" presetID="10" presetClass="exit" presetSubtype="0" fill="hold" grpId="0" nodeType="withEffect">
                                  <p:stCondLst>
                                    <p:cond delay="0"/>
                                  </p:stCondLst>
                                  <p:childTnLst>
                                    <p:animEffect transition="out" filter="fade">
                                      <p:cBhvr>
                                        <p:cTn id="113" dur="500"/>
                                        <p:tgtEl>
                                          <p:spTgt spid="103"/>
                                        </p:tgtEl>
                                      </p:cBhvr>
                                    </p:animEffect>
                                    <p:set>
                                      <p:cBhvr>
                                        <p:cTn id="114" dur="1" fill="hold">
                                          <p:stCondLst>
                                            <p:cond delay="499"/>
                                          </p:stCondLst>
                                        </p:cTn>
                                        <p:tgtEl>
                                          <p:spTgt spid="103"/>
                                        </p:tgtEl>
                                        <p:attrNameLst>
                                          <p:attrName>style.visibility</p:attrName>
                                        </p:attrNameLst>
                                      </p:cBhvr>
                                      <p:to>
                                        <p:strVal val="hidden"/>
                                      </p:to>
                                    </p:set>
                                  </p:childTnLst>
                                </p:cTn>
                              </p:par>
                            </p:childTnLst>
                          </p:cTn>
                        </p:par>
                        <p:par>
                          <p:cTn id="115" fill="hold">
                            <p:stCondLst>
                              <p:cond delay="500"/>
                            </p:stCondLst>
                            <p:childTnLst>
                              <p:par>
                                <p:cTn id="116" presetID="1" presetClass="exit" presetSubtype="0" fill="hold" nodeType="afterEffect">
                                  <p:stCondLst>
                                    <p:cond delay="0"/>
                                  </p:stCondLst>
                                  <p:childTnLst>
                                    <p:set>
                                      <p:cBhvr>
                                        <p:cTn id="117" dur="1" fill="hold">
                                          <p:stCondLst>
                                            <p:cond delay="0"/>
                                          </p:stCondLst>
                                        </p:cTn>
                                        <p:tgtEl>
                                          <p:spTgt spid="150"/>
                                        </p:tgtEl>
                                        <p:attrNameLst>
                                          <p:attrName>style.visibility</p:attrName>
                                        </p:attrNameLst>
                                      </p:cBhvr>
                                      <p:to>
                                        <p:strVal val="hidden"/>
                                      </p:to>
                                    </p:set>
                                  </p:childTnLst>
                                </p:cTn>
                              </p:par>
                            </p:childTnLst>
                          </p:cTn>
                        </p:par>
                        <p:par>
                          <p:cTn id="118" fill="hold">
                            <p:stCondLst>
                              <p:cond delay="500"/>
                            </p:stCondLst>
                            <p:childTnLst>
                              <p:par>
                                <p:cTn id="119" presetID="1" presetClass="entr" presetSubtype="0" fill="hold" nodeType="afterEffect">
                                  <p:stCondLst>
                                    <p:cond delay="0"/>
                                  </p:stCondLst>
                                  <p:childTnLst>
                                    <p:set>
                                      <p:cBhvr>
                                        <p:cTn id="120" dur="1" fill="hold">
                                          <p:stCondLst>
                                            <p:cond delay="0"/>
                                          </p:stCondLst>
                                        </p:cTn>
                                        <p:tgtEl>
                                          <p:spTgt spid="14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1" grpId="0" animBg="1"/>
      <p:bldP spid="98" grpId="0"/>
      <p:bldP spid="99" grpId="0"/>
      <p:bldP spid="100" grpId="0" animBg="1"/>
      <p:bldP spid="101" grpId="0"/>
      <p:bldP spid="102" grpId="0" animBg="1"/>
      <p:bldP spid="103" grpId="0" animBg="1"/>
      <p:bldP spid="103" grpId="1" animBg="1"/>
      <p:bldP spid="104" grpId="0" animBg="1"/>
      <p:bldP spid="105" grpId="0" animBg="1"/>
      <p:bldP spid="112" grpId="0" animBg="1"/>
      <p:bldP spid="113" grpId="0" animBg="1"/>
      <p:bldP spid="114" grpId="0"/>
      <p:bldP spid="115" grpId="0" animBg="1"/>
      <p:bldP spid="116" grpId="0" animBg="1"/>
      <p:bldP spid="116" grpId="1" animBg="1"/>
      <p:bldP spid="117" grpId="0" animBg="1"/>
      <p:bldP spid="118" grpId="0" animBg="1"/>
      <p:bldP spid="119" grpId="0"/>
      <p:bldP spid="120" grpId="0" animBg="1"/>
      <p:bldP spid="121" grpId="0" animBg="1"/>
      <p:bldP spid="122" grpId="0" animBg="1"/>
      <p:bldP spid="124" grpId="0" animBg="1"/>
      <p:bldP spid="125" grpId="0" animBg="1"/>
      <p:bldP spid="126" grpId="0" animBg="1"/>
      <p:bldP spid="126" grpId="1" animBg="1"/>
      <p:bldP spid="144" grpId="0" animBg="1"/>
      <p:bldP spid="145" grpId="0" animBg="1"/>
      <p:bldP spid="146" grpId="0" animBg="1"/>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DE104-D85B-43D4-AC99-58903696A798}"/>
              </a:ext>
            </a:extLst>
          </p:cNvPr>
          <p:cNvSpPr>
            <a:spLocks noGrp="1"/>
          </p:cNvSpPr>
          <p:nvPr>
            <p:ph type="title"/>
          </p:nvPr>
        </p:nvSpPr>
        <p:spPr>
          <a:xfrm>
            <a:off x="585216" y="2537210"/>
            <a:ext cx="6400800" cy="997196"/>
          </a:xfrm>
        </p:spPr>
        <p:txBody>
          <a:bodyPr/>
          <a:lstStyle/>
          <a:p>
            <a:r>
              <a:rPr lang="en-US" dirty="0"/>
              <a:t>Module 8: SQL Server Data Virtualization</a:t>
            </a:r>
          </a:p>
        </p:txBody>
      </p:sp>
    </p:spTree>
    <p:extLst>
      <p:ext uri="{BB962C8B-B14F-4D97-AF65-F5344CB8AC3E}">
        <p14:creationId xmlns:p14="http://schemas.microsoft.com/office/powerpoint/2010/main" val="4126442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3506570-22B4-7840-A296-CEB77D113F47}"/>
              </a:ext>
            </a:extLst>
          </p:cNvPr>
          <p:cNvSpPr/>
          <p:nvPr/>
        </p:nvSpPr>
        <p:spPr bwMode="auto">
          <a:xfrm>
            <a:off x="457200" y="4677045"/>
            <a:ext cx="2457450" cy="1620749"/>
          </a:xfrm>
          <a:prstGeom prst="rect">
            <a:avLst/>
          </a:prstGeom>
          <a:noFill/>
          <a:ln w="12700">
            <a:solidFill>
              <a:srgbClr val="75757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74" name="Rectangle 73">
            <a:extLst>
              <a:ext uri="{FF2B5EF4-FFF2-40B4-BE49-F238E27FC236}">
                <a16:creationId xmlns:a16="http://schemas.microsoft.com/office/drawing/2014/main" id="{552CB91D-C53E-7E4F-BEDF-C18D7F199B37}"/>
              </a:ext>
            </a:extLst>
          </p:cNvPr>
          <p:cNvSpPr/>
          <p:nvPr/>
        </p:nvSpPr>
        <p:spPr bwMode="auto">
          <a:xfrm>
            <a:off x="3394075" y="4677045"/>
            <a:ext cx="2457450" cy="1620749"/>
          </a:xfrm>
          <a:prstGeom prst="rect">
            <a:avLst/>
          </a:prstGeom>
          <a:noFill/>
          <a:ln w="12700">
            <a:solidFill>
              <a:srgbClr val="75757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75" name="Rectangle 74">
            <a:extLst>
              <a:ext uri="{FF2B5EF4-FFF2-40B4-BE49-F238E27FC236}">
                <a16:creationId xmlns:a16="http://schemas.microsoft.com/office/drawing/2014/main" id="{39109736-3F0A-7643-8179-8AA4880E26FE}"/>
              </a:ext>
            </a:extLst>
          </p:cNvPr>
          <p:cNvSpPr/>
          <p:nvPr/>
        </p:nvSpPr>
        <p:spPr bwMode="auto">
          <a:xfrm>
            <a:off x="6330950" y="4677045"/>
            <a:ext cx="2457450" cy="1620749"/>
          </a:xfrm>
          <a:prstGeom prst="rect">
            <a:avLst/>
          </a:prstGeom>
          <a:noFill/>
          <a:ln w="12700">
            <a:solidFill>
              <a:srgbClr val="75757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76" name="Rectangle 75">
            <a:extLst>
              <a:ext uri="{FF2B5EF4-FFF2-40B4-BE49-F238E27FC236}">
                <a16:creationId xmlns:a16="http://schemas.microsoft.com/office/drawing/2014/main" id="{E706D88A-53E8-FF49-AAA2-1E248698E5D3}"/>
              </a:ext>
            </a:extLst>
          </p:cNvPr>
          <p:cNvSpPr/>
          <p:nvPr/>
        </p:nvSpPr>
        <p:spPr bwMode="auto">
          <a:xfrm>
            <a:off x="9267824" y="4677045"/>
            <a:ext cx="2457450" cy="1620749"/>
          </a:xfrm>
          <a:prstGeom prst="rect">
            <a:avLst/>
          </a:prstGeom>
          <a:noFill/>
          <a:ln w="12700">
            <a:solidFill>
              <a:srgbClr val="75757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 name="Rectangle 2">
            <a:extLst>
              <a:ext uri="{FF2B5EF4-FFF2-40B4-BE49-F238E27FC236}">
                <a16:creationId xmlns:a16="http://schemas.microsoft.com/office/drawing/2014/main" id="{F3EEC614-BD9A-4F2E-BFF8-48F22CC19F2A}"/>
              </a:ext>
            </a:extLst>
          </p:cNvPr>
          <p:cNvSpPr/>
          <p:nvPr/>
        </p:nvSpPr>
        <p:spPr bwMode="auto">
          <a:xfrm>
            <a:off x="7048500" y="2960864"/>
            <a:ext cx="3479800" cy="1182136"/>
          </a:xfrm>
          <a:prstGeom prst="rect">
            <a:avLst/>
          </a:prstGeom>
          <a:noFill/>
          <a:ln w="12700">
            <a:solidFill>
              <a:srgbClr val="757575"/>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QL Server</a:t>
            </a:r>
          </a:p>
        </p:txBody>
      </p:sp>
      <p:sp>
        <p:nvSpPr>
          <p:cNvPr id="5" name="TextBox 4">
            <a:extLst>
              <a:ext uri="{FF2B5EF4-FFF2-40B4-BE49-F238E27FC236}">
                <a16:creationId xmlns:a16="http://schemas.microsoft.com/office/drawing/2014/main" id="{8861FE07-AD06-424E-B109-C665AB32B066}"/>
              </a:ext>
            </a:extLst>
          </p:cNvPr>
          <p:cNvSpPr txBox="1"/>
          <p:nvPr/>
        </p:nvSpPr>
        <p:spPr>
          <a:xfrm>
            <a:off x="8190961" y="2477045"/>
            <a:ext cx="1194879" cy="244682"/>
          </a:xfrm>
          <a:prstGeom prst="rect">
            <a:avLst/>
          </a:prstGeom>
          <a:noFill/>
        </p:spPr>
        <p:txBody>
          <a:bodyPr wrap="square" lIns="91440" tIns="45720" rIns="91440" bIns="45720" rtlCol="0">
            <a:spAutoFit/>
          </a:bodyPr>
          <a:lstStyle>
            <a:defPPr>
              <a:defRPr lang="en-US"/>
            </a:defPPr>
            <a:lvl1pPr marR="0" lvl="0" indent="0" algn="ctr" defTabSz="931326" fontAlgn="auto">
              <a:lnSpc>
                <a:spcPct val="90000"/>
              </a:lnSpc>
              <a:spcBef>
                <a:spcPts val="0"/>
              </a:spcBef>
              <a:spcAft>
                <a:spcPts val="600"/>
              </a:spcAft>
              <a:buClrTx/>
              <a:buSzTx/>
              <a:buFontTx/>
              <a:buNone/>
              <a:tabLst/>
              <a:defRPr kumimoji="0" sz="1100" b="0" i="0" u="none" strike="noStrike" kern="0" cap="none" spc="0" normalizeH="0" baseline="0">
                <a:ln>
                  <a:noFill/>
                </a:ln>
                <a:solidFill>
                  <a:srgbClr val="0078D7"/>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1326" rtl="0"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T-SQL</a:t>
            </a:r>
          </a:p>
        </p:txBody>
      </p:sp>
      <p:cxnSp>
        <p:nvCxnSpPr>
          <p:cNvPr id="18" name="Connector: Elbow 17">
            <a:extLst>
              <a:ext uri="{FF2B5EF4-FFF2-40B4-BE49-F238E27FC236}">
                <a16:creationId xmlns:a16="http://schemas.microsoft.com/office/drawing/2014/main" id="{6D2498FF-9E32-4BE3-80FF-8FFB1A8DF0AF}"/>
              </a:ext>
            </a:extLst>
          </p:cNvPr>
          <p:cNvCxnSpPr>
            <a:cxnSpLocks/>
          </p:cNvCxnSpPr>
          <p:nvPr/>
        </p:nvCxnSpPr>
        <p:spPr>
          <a:xfrm>
            <a:off x="7894496" y="2243939"/>
            <a:ext cx="897041" cy="182880"/>
          </a:xfrm>
          <a:prstGeom prst="bentConnector2">
            <a:avLst/>
          </a:prstGeom>
          <a:ln w="12700">
            <a:solidFill>
              <a:schemeClr val="tx1"/>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38096AE3-D814-41FA-9BC2-21E1A433BAEC}"/>
              </a:ext>
            </a:extLst>
          </p:cNvPr>
          <p:cNvSpPr txBox="1"/>
          <p:nvPr/>
        </p:nvSpPr>
        <p:spPr>
          <a:xfrm>
            <a:off x="6893888" y="2456660"/>
            <a:ext cx="979374" cy="244682"/>
          </a:xfrm>
          <a:prstGeom prst="rect">
            <a:avLst/>
          </a:prstGeom>
          <a:noFill/>
        </p:spPr>
        <p:txBody>
          <a:bodyPr wrap="square" lIns="91440" tIns="45720" rIns="91440" bIns="45720" rtlCol="0">
            <a:spAutoFit/>
          </a:bodyPr>
          <a:lstStyle>
            <a:defPPr>
              <a:defRPr lang="en-US"/>
            </a:defPPr>
            <a:lvl1pPr marR="0" lvl="0" indent="0" algn="ctr" defTabSz="931326" fontAlgn="auto">
              <a:lnSpc>
                <a:spcPct val="90000"/>
              </a:lnSpc>
              <a:spcBef>
                <a:spcPts val="0"/>
              </a:spcBef>
              <a:spcAft>
                <a:spcPts val="600"/>
              </a:spcAft>
              <a:buClrTx/>
              <a:buSzTx/>
              <a:buFontTx/>
              <a:buNone/>
              <a:tabLst/>
              <a:defRPr kumimoji="0" sz="1100" b="0" i="0" u="none" strike="noStrike" kern="0" cap="none" spc="0" normalizeH="0" baseline="0">
                <a:ln>
                  <a:noFill/>
                </a:ln>
                <a:solidFill>
                  <a:srgbClr val="0078D7"/>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1326" rtl="0"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Analytics</a:t>
            </a:r>
          </a:p>
        </p:txBody>
      </p:sp>
      <p:sp>
        <p:nvSpPr>
          <p:cNvPr id="24" name="TextBox 23">
            <a:extLst>
              <a:ext uri="{FF2B5EF4-FFF2-40B4-BE49-F238E27FC236}">
                <a16:creationId xmlns:a16="http://schemas.microsoft.com/office/drawing/2014/main" id="{FDE06252-C7AD-4608-84BB-7C035BC30E64}"/>
              </a:ext>
            </a:extLst>
          </p:cNvPr>
          <p:cNvSpPr txBox="1"/>
          <p:nvPr/>
        </p:nvSpPr>
        <p:spPr>
          <a:xfrm>
            <a:off x="9882546" y="2456660"/>
            <a:ext cx="626434" cy="244682"/>
          </a:xfrm>
          <a:prstGeom prst="rect">
            <a:avLst/>
          </a:prstGeom>
          <a:noFill/>
        </p:spPr>
        <p:txBody>
          <a:bodyPr wrap="square" lIns="91440" tIns="45720" rIns="91440" bIns="45720" rtlCol="0">
            <a:spAutoFit/>
          </a:bodyPr>
          <a:lstStyle>
            <a:defPPr>
              <a:defRPr lang="en-US"/>
            </a:defPPr>
            <a:lvl1pPr marR="0" lvl="0" indent="0" algn="ctr" defTabSz="931326" fontAlgn="auto">
              <a:lnSpc>
                <a:spcPct val="90000"/>
              </a:lnSpc>
              <a:spcBef>
                <a:spcPts val="0"/>
              </a:spcBef>
              <a:spcAft>
                <a:spcPts val="600"/>
              </a:spcAft>
              <a:buClrTx/>
              <a:buSzTx/>
              <a:buFontTx/>
              <a:buNone/>
              <a:tabLst/>
              <a:defRPr kumimoji="0" sz="1100" b="0" i="0" u="none" strike="noStrike" kern="0" cap="none" spc="0" normalizeH="0" baseline="0">
                <a:ln>
                  <a:noFill/>
                </a:ln>
                <a:solidFill>
                  <a:srgbClr val="0078D7"/>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1326" rtl="0"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Apps</a:t>
            </a:r>
          </a:p>
        </p:txBody>
      </p:sp>
      <p:cxnSp>
        <p:nvCxnSpPr>
          <p:cNvPr id="25" name="Connector: Elbow 24">
            <a:extLst>
              <a:ext uri="{FF2B5EF4-FFF2-40B4-BE49-F238E27FC236}">
                <a16:creationId xmlns:a16="http://schemas.microsoft.com/office/drawing/2014/main" id="{E67437A9-7E50-46DE-88D5-B97A01452A90}"/>
              </a:ext>
            </a:extLst>
          </p:cNvPr>
          <p:cNvCxnSpPr>
            <a:cxnSpLocks/>
          </p:cNvCxnSpPr>
          <p:nvPr/>
        </p:nvCxnSpPr>
        <p:spPr>
          <a:xfrm flipH="1">
            <a:off x="8791536" y="2243939"/>
            <a:ext cx="897041" cy="182880"/>
          </a:xfrm>
          <a:prstGeom prst="bentConnector2">
            <a:avLst/>
          </a:prstGeom>
          <a:ln w="12700">
            <a:solidFill>
              <a:schemeClr val="tx1"/>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51A6639F-E72F-4870-A5D4-8767D87E77DF}"/>
              </a:ext>
            </a:extLst>
          </p:cNvPr>
          <p:cNvSpPr txBox="1"/>
          <p:nvPr/>
        </p:nvSpPr>
        <p:spPr>
          <a:xfrm>
            <a:off x="628651" y="4790428"/>
            <a:ext cx="2118288" cy="244682"/>
          </a:xfrm>
          <a:prstGeom prst="rect">
            <a:avLst/>
          </a:prstGeom>
          <a:noFill/>
        </p:spPr>
        <p:txBody>
          <a:bodyPr wrap="square" lIns="91440" tIns="45720" rIns="91440" bIns="45720" rtlCol="0">
            <a:spAutoFit/>
          </a:bodyPr>
          <a:lstStyle>
            <a:defPPr>
              <a:defRPr lang="en-US"/>
            </a:defPPr>
            <a:lvl1pPr marR="0" lvl="0" indent="0" algn="ctr" defTabSz="931326" fontAlgn="auto">
              <a:lnSpc>
                <a:spcPct val="90000"/>
              </a:lnSpc>
              <a:spcBef>
                <a:spcPts val="0"/>
              </a:spcBef>
              <a:spcAft>
                <a:spcPts val="600"/>
              </a:spcAft>
              <a:buClrTx/>
              <a:buSzTx/>
              <a:buFontTx/>
              <a:buNone/>
              <a:tabLst/>
              <a:defRPr kumimoji="0" sz="1100" b="0" i="0" u="none" strike="noStrike" kern="0" cap="none" spc="0" normalizeH="0" baseline="0">
                <a:ln>
                  <a:noFill/>
                </a:ln>
                <a:solidFill>
                  <a:srgbClr val="0078D7"/>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1326" rtl="0"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ODBC</a:t>
            </a:r>
          </a:p>
        </p:txBody>
      </p:sp>
      <p:pic>
        <p:nvPicPr>
          <p:cNvPr id="10244" name="Picture 4">
            <a:extLst>
              <a:ext uri="{FF2B5EF4-FFF2-40B4-BE49-F238E27FC236}">
                <a16:creationId xmlns:a16="http://schemas.microsoft.com/office/drawing/2014/main" id="{607A8381-4EA2-4A8C-B04E-52D4A2C24C0F}"/>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bwMode="auto">
          <a:xfrm>
            <a:off x="3594476" y="5379693"/>
            <a:ext cx="970331" cy="262734"/>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A8197B8D-1A07-4CA9-8F7B-098A840755B5}"/>
              </a:ext>
            </a:extLst>
          </p:cNvPr>
          <p:cNvSpPr txBox="1"/>
          <p:nvPr/>
        </p:nvSpPr>
        <p:spPr>
          <a:xfrm>
            <a:off x="4030417" y="4790427"/>
            <a:ext cx="1321516" cy="244682"/>
          </a:xfrm>
          <a:prstGeom prst="rect">
            <a:avLst/>
          </a:prstGeom>
          <a:noFill/>
        </p:spPr>
        <p:txBody>
          <a:bodyPr wrap="square" lIns="91440" tIns="45720" rIns="91440" bIns="45720" rtlCol="0">
            <a:spAutoFit/>
          </a:bodyPr>
          <a:lstStyle>
            <a:defPPr>
              <a:defRPr lang="en-US"/>
            </a:defPPr>
            <a:lvl1pPr marR="0" lvl="0" indent="0" algn="ctr" defTabSz="931326" fontAlgn="auto">
              <a:lnSpc>
                <a:spcPct val="90000"/>
              </a:lnSpc>
              <a:spcBef>
                <a:spcPts val="0"/>
              </a:spcBef>
              <a:spcAft>
                <a:spcPts val="600"/>
              </a:spcAft>
              <a:buClrTx/>
              <a:buSzTx/>
              <a:buFontTx/>
              <a:buNone/>
              <a:tabLst/>
              <a:defRPr kumimoji="0" sz="1100" b="0" i="0" u="none" strike="noStrike" kern="0" cap="none" spc="0" normalizeH="0" baseline="0">
                <a:ln>
                  <a:noFill/>
                </a:ln>
                <a:solidFill>
                  <a:srgbClr val="0078D7"/>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1326" rtl="0"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NoSQL</a:t>
            </a:r>
          </a:p>
        </p:txBody>
      </p:sp>
      <p:pic>
        <p:nvPicPr>
          <p:cNvPr id="10248" name="Picture 8">
            <a:extLst>
              <a:ext uri="{FF2B5EF4-FFF2-40B4-BE49-F238E27FC236}">
                <a16:creationId xmlns:a16="http://schemas.microsoft.com/office/drawing/2014/main" id="{BE063223-2DEC-4419-928B-A26A778274CB}"/>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1177107" y="5840178"/>
            <a:ext cx="930390" cy="271674"/>
          </a:xfrm>
          <a:prstGeom prst="rect">
            <a:avLst/>
          </a:prstGeom>
          <a:noFill/>
          <a:extLst>
            <a:ext uri="{909E8E84-426E-40DD-AFC4-6F175D3DCCD1}">
              <a14:hiddenFill xmlns:a14="http://schemas.microsoft.com/office/drawing/2010/main">
                <a:solidFill>
                  <a:srgbClr val="FFFFFF"/>
                </a:solidFill>
              </a14:hiddenFill>
            </a:ext>
          </a:extLst>
        </p:spPr>
      </p:pic>
      <p:sp>
        <p:nvSpPr>
          <p:cNvPr id="32" name="TextBox 31">
            <a:extLst>
              <a:ext uri="{FF2B5EF4-FFF2-40B4-BE49-F238E27FC236}">
                <a16:creationId xmlns:a16="http://schemas.microsoft.com/office/drawing/2014/main" id="{0CC5DABB-863D-4D54-8262-26C0D38AB560}"/>
              </a:ext>
            </a:extLst>
          </p:cNvPr>
          <p:cNvSpPr txBox="1"/>
          <p:nvPr/>
        </p:nvSpPr>
        <p:spPr>
          <a:xfrm>
            <a:off x="6726696" y="4790428"/>
            <a:ext cx="1683797" cy="244682"/>
          </a:xfrm>
          <a:prstGeom prst="rect">
            <a:avLst/>
          </a:prstGeom>
          <a:noFill/>
        </p:spPr>
        <p:txBody>
          <a:bodyPr wrap="square" lIns="91440" tIns="45720" rIns="91440" bIns="45720" rtlCol="0">
            <a:spAutoFit/>
          </a:bodyPr>
          <a:lstStyle>
            <a:defPPr>
              <a:defRPr lang="en-US"/>
            </a:defPPr>
            <a:lvl1pPr marR="0" lvl="0" indent="0" algn="ctr" defTabSz="931326" fontAlgn="auto">
              <a:lnSpc>
                <a:spcPct val="90000"/>
              </a:lnSpc>
              <a:spcBef>
                <a:spcPts val="0"/>
              </a:spcBef>
              <a:spcAft>
                <a:spcPts val="600"/>
              </a:spcAft>
              <a:buClrTx/>
              <a:buSzTx/>
              <a:buFontTx/>
              <a:buNone/>
              <a:tabLst/>
              <a:defRPr kumimoji="0" sz="1100" b="0" i="0" u="none" strike="noStrike" kern="0" cap="none" spc="0" normalizeH="0" baseline="0">
                <a:ln>
                  <a:noFill/>
                </a:ln>
                <a:solidFill>
                  <a:srgbClr val="0078D7"/>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1326" rtl="0"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Relational databases</a:t>
            </a:r>
          </a:p>
        </p:txBody>
      </p:sp>
      <p:pic>
        <p:nvPicPr>
          <p:cNvPr id="10254" name="Picture 14" descr="Image result for Oracle">
            <a:extLst>
              <a:ext uri="{FF2B5EF4-FFF2-40B4-BE49-F238E27FC236}">
                <a16:creationId xmlns:a16="http://schemas.microsoft.com/office/drawing/2014/main" id="{7E776A23-CB5D-43AB-BD7E-D28816128CE1}"/>
              </a:ext>
            </a:extLst>
          </p:cNvPr>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7155909" y="5845097"/>
            <a:ext cx="932452" cy="132462"/>
          </a:xfrm>
          <a:prstGeom prst="rect">
            <a:avLst/>
          </a:prstGeom>
          <a:noFill/>
          <a:extLst>
            <a:ext uri="{909E8E84-426E-40DD-AFC4-6F175D3DCCD1}">
              <a14:hiddenFill xmlns:a14="http://schemas.microsoft.com/office/drawing/2010/main">
                <a:solidFill>
                  <a:srgbClr val="FFFFFF"/>
                </a:solidFill>
              </a14:hiddenFill>
            </a:ext>
          </a:extLst>
        </p:spPr>
      </p:pic>
      <p:pic>
        <p:nvPicPr>
          <p:cNvPr id="10264" name="Picture 24" descr="Image result for Teradata logo">
            <a:extLst>
              <a:ext uri="{FF2B5EF4-FFF2-40B4-BE49-F238E27FC236}">
                <a16:creationId xmlns:a16="http://schemas.microsoft.com/office/drawing/2014/main" id="{F7454ECB-D11D-4B52-A948-A098293060E4}"/>
              </a:ext>
            </a:extLst>
          </p:cNvPr>
          <p:cNvPicPr>
            <a:picLocks noChangeAspect="1" noChangeArrowheads="1"/>
          </p:cNvPicPr>
          <p:nvPr/>
        </p:nvPicPr>
        <p:blipFill rotWithShape="1">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t="20490" b="20490"/>
          <a:stretch/>
        </p:blipFill>
        <p:spPr bwMode="auto">
          <a:xfrm>
            <a:off x="6506535" y="5289944"/>
            <a:ext cx="994403" cy="334926"/>
          </a:xfrm>
          <a:prstGeom prst="rect">
            <a:avLst/>
          </a:prstGeom>
          <a:noFill/>
          <a:extLst>
            <a:ext uri="{909E8E84-426E-40DD-AFC4-6F175D3DCCD1}">
              <a14:hiddenFill xmlns:a14="http://schemas.microsoft.com/office/drawing/2010/main">
                <a:solidFill>
                  <a:srgbClr val="FFFFFF"/>
                </a:solidFill>
              </a14:hiddenFill>
            </a:ext>
          </a:extLst>
        </p:spPr>
      </p:pic>
      <p:sp>
        <p:nvSpPr>
          <p:cNvPr id="40" name="TextBox 39">
            <a:extLst>
              <a:ext uri="{FF2B5EF4-FFF2-40B4-BE49-F238E27FC236}">
                <a16:creationId xmlns:a16="http://schemas.microsoft.com/office/drawing/2014/main" id="{CAF706FE-1D77-4E87-8021-1C05FD566461}"/>
              </a:ext>
            </a:extLst>
          </p:cNvPr>
          <p:cNvSpPr txBox="1"/>
          <p:nvPr/>
        </p:nvSpPr>
        <p:spPr>
          <a:xfrm>
            <a:off x="9873783" y="4790428"/>
            <a:ext cx="1265062" cy="244682"/>
          </a:xfrm>
          <a:prstGeom prst="rect">
            <a:avLst/>
          </a:prstGeom>
          <a:noFill/>
        </p:spPr>
        <p:txBody>
          <a:bodyPr wrap="square" lIns="91440" tIns="45720" rIns="91440" bIns="45720" rtlCol="0">
            <a:spAutoFit/>
          </a:bodyPr>
          <a:lstStyle>
            <a:defPPr>
              <a:defRPr lang="en-US"/>
            </a:defPPr>
            <a:lvl1pPr marR="0" lvl="0" indent="0" algn="ctr" defTabSz="931326" fontAlgn="auto">
              <a:lnSpc>
                <a:spcPct val="90000"/>
              </a:lnSpc>
              <a:spcBef>
                <a:spcPts val="0"/>
              </a:spcBef>
              <a:spcAft>
                <a:spcPts val="600"/>
              </a:spcAft>
              <a:buClrTx/>
              <a:buSzTx/>
              <a:buFontTx/>
              <a:buNone/>
              <a:tabLst/>
              <a:defRPr kumimoji="0" sz="1100" b="0" i="0" u="none" strike="noStrike" kern="0" cap="none" spc="0" normalizeH="0" baseline="0">
                <a:ln>
                  <a:noFill/>
                </a:ln>
                <a:solidFill>
                  <a:srgbClr val="0078D7"/>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1326" rtl="0"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Big data</a:t>
            </a:r>
          </a:p>
        </p:txBody>
      </p:sp>
      <p:pic>
        <p:nvPicPr>
          <p:cNvPr id="10268" name="Picture 28" descr="Image result for Cloudera">
            <a:extLst>
              <a:ext uri="{FF2B5EF4-FFF2-40B4-BE49-F238E27FC236}">
                <a16:creationId xmlns:a16="http://schemas.microsoft.com/office/drawing/2014/main" id="{601582BB-27A9-49A4-B669-B2DF5AABB372}"/>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513231" y="5421570"/>
            <a:ext cx="983588" cy="238521"/>
          </a:xfrm>
          <a:prstGeom prst="rect">
            <a:avLst/>
          </a:prstGeom>
          <a:noFill/>
          <a:extLst>
            <a:ext uri="{909E8E84-426E-40DD-AFC4-6F175D3DCCD1}">
              <a14:hiddenFill xmlns:a14="http://schemas.microsoft.com/office/drawing/2010/main">
                <a:solidFill>
                  <a:srgbClr val="FFFFFF"/>
                </a:solidFill>
              </a14:hiddenFill>
            </a:ext>
          </a:extLst>
        </p:spPr>
      </p:pic>
      <p:pic>
        <p:nvPicPr>
          <p:cNvPr id="10272" name="Picture 32">
            <a:extLst>
              <a:ext uri="{FF2B5EF4-FFF2-40B4-BE49-F238E27FC236}">
                <a16:creationId xmlns:a16="http://schemas.microsoft.com/office/drawing/2014/main" id="{DAD814D1-33C1-4FE0-B1CA-9FDCCA26443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bwMode="auto">
          <a:xfrm>
            <a:off x="10659038" y="5394264"/>
            <a:ext cx="904017" cy="318718"/>
          </a:xfrm>
          <a:prstGeom prst="rect">
            <a:avLst/>
          </a:prstGeom>
          <a:noFill/>
          <a:extLst>
            <a:ext uri="{909E8E84-426E-40DD-AFC4-6F175D3DCCD1}">
              <a14:hiddenFill xmlns:a14="http://schemas.microsoft.com/office/drawing/2010/main">
                <a:solidFill>
                  <a:srgbClr val="FFFFFF"/>
                </a:solidFill>
              </a14:hiddenFill>
            </a:ext>
          </a:extLst>
        </p:spPr>
      </p:pic>
      <p:cxnSp>
        <p:nvCxnSpPr>
          <p:cNvPr id="33" name="Straight Connector 32">
            <a:extLst>
              <a:ext uri="{FF2B5EF4-FFF2-40B4-BE49-F238E27FC236}">
                <a16:creationId xmlns:a16="http://schemas.microsoft.com/office/drawing/2014/main" id="{F1808012-CF92-4C32-8F50-416E15D8EF0D}"/>
              </a:ext>
            </a:extLst>
          </p:cNvPr>
          <p:cNvCxnSpPr>
            <a:cxnSpLocks/>
            <a:stCxn id="50" idx="2"/>
          </p:cNvCxnSpPr>
          <p:nvPr/>
        </p:nvCxnSpPr>
        <p:spPr>
          <a:xfrm>
            <a:off x="8791536" y="3922537"/>
            <a:ext cx="0" cy="474925"/>
          </a:xfrm>
          <a:prstGeom prst="line">
            <a:avLst/>
          </a:prstGeom>
          <a:ln w="12700">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5B90C636-F8A5-4EC7-B979-5D3C7A21BA82}"/>
              </a:ext>
            </a:extLst>
          </p:cNvPr>
          <p:cNvCxnSpPr>
            <a:cxnSpLocks/>
            <a:stCxn id="5" idx="2"/>
            <a:endCxn id="50" idx="0"/>
          </p:cNvCxnSpPr>
          <p:nvPr/>
        </p:nvCxnSpPr>
        <p:spPr>
          <a:xfrm>
            <a:off x="8788401" y="2721727"/>
            <a:ext cx="3135" cy="711513"/>
          </a:xfrm>
          <a:prstGeom prst="straightConnector1">
            <a:avLst/>
          </a:prstGeom>
          <a:ln w="127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066FA5A1-5CE9-DF4C-9779-46CA70B46520}"/>
              </a:ext>
            </a:extLst>
          </p:cNvPr>
          <p:cNvGrpSpPr/>
          <p:nvPr/>
        </p:nvGrpSpPr>
        <p:grpSpPr>
          <a:xfrm>
            <a:off x="1676398" y="4397462"/>
            <a:ext cx="8839204" cy="202732"/>
            <a:chOff x="1676398" y="4254967"/>
            <a:chExt cx="8839204" cy="315371"/>
          </a:xfrm>
        </p:grpSpPr>
        <p:cxnSp>
          <p:nvCxnSpPr>
            <p:cNvPr id="42" name="Straight Arrow Connector 41">
              <a:extLst>
                <a:ext uri="{FF2B5EF4-FFF2-40B4-BE49-F238E27FC236}">
                  <a16:creationId xmlns:a16="http://schemas.microsoft.com/office/drawing/2014/main" id="{88AF7423-16AA-4E9A-8A53-26A5A8A33982}"/>
                </a:ext>
              </a:extLst>
            </p:cNvPr>
            <p:cNvCxnSpPr/>
            <p:nvPr/>
          </p:nvCxnSpPr>
          <p:spPr>
            <a:xfrm>
              <a:off x="4701909" y="4262895"/>
              <a:ext cx="0" cy="297215"/>
            </a:xfrm>
            <a:prstGeom prst="straightConnector1">
              <a:avLst/>
            </a:prstGeom>
            <a:ln w="12700">
              <a:solidFill>
                <a:schemeClr val="tx1"/>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79" name="Right Bracket 78">
              <a:extLst>
                <a:ext uri="{FF2B5EF4-FFF2-40B4-BE49-F238E27FC236}">
                  <a16:creationId xmlns:a16="http://schemas.microsoft.com/office/drawing/2014/main" id="{756FEFB2-2C46-4FFE-AA80-CA04C1BA7ECA}"/>
                </a:ext>
              </a:extLst>
            </p:cNvPr>
            <p:cNvSpPr/>
            <p:nvPr/>
          </p:nvSpPr>
          <p:spPr>
            <a:xfrm rot="16200000">
              <a:off x="5939465" y="-5799"/>
              <a:ext cx="313070" cy="8839204"/>
            </a:xfrm>
            <a:prstGeom prst="rightBracket">
              <a:avLst>
                <a:gd name="adj" fmla="val 0"/>
              </a:avLst>
            </a:prstGeom>
            <a:ln w="12700">
              <a:solidFill>
                <a:schemeClr val="tx1"/>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Segoe UI"/>
                <a:ea typeface="+mn-ea"/>
                <a:cs typeface="+mn-cs"/>
              </a:endParaRPr>
            </a:p>
          </p:txBody>
        </p:sp>
        <p:cxnSp>
          <p:nvCxnSpPr>
            <p:cNvPr id="82" name="Straight Arrow Connector 81">
              <a:extLst>
                <a:ext uri="{FF2B5EF4-FFF2-40B4-BE49-F238E27FC236}">
                  <a16:creationId xmlns:a16="http://schemas.microsoft.com/office/drawing/2014/main" id="{6C5FE357-200A-4676-A518-8558F5DFDD3F}"/>
                </a:ext>
              </a:extLst>
            </p:cNvPr>
            <p:cNvCxnSpPr/>
            <p:nvPr/>
          </p:nvCxnSpPr>
          <p:spPr>
            <a:xfrm>
              <a:off x="7482055" y="4254967"/>
              <a:ext cx="0" cy="313071"/>
            </a:xfrm>
            <a:prstGeom prst="straightConnector1">
              <a:avLst/>
            </a:prstGeom>
            <a:ln w="12700">
              <a:solidFill>
                <a:schemeClr val="tx1"/>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34" name="TextBox 33">
            <a:extLst>
              <a:ext uri="{FF2B5EF4-FFF2-40B4-BE49-F238E27FC236}">
                <a16:creationId xmlns:a16="http://schemas.microsoft.com/office/drawing/2014/main" id="{99C59346-4072-4AA3-9FEB-D6F3D2712964}"/>
              </a:ext>
            </a:extLst>
          </p:cNvPr>
          <p:cNvSpPr txBox="1"/>
          <p:nvPr/>
        </p:nvSpPr>
        <p:spPr>
          <a:xfrm>
            <a:off x="1822015" y="5540831"/>
            <a:ext cx="494046" cy="244682"/>
          </a:xfrm>
          <a:prstGeom prst="rect">
            <a:avLst/>
          </a:prstGeom>
          <a:noFill/>
        </p:spPr>
        <p:txBody>
          <a:bodyPr wrap="none" lIns="91440" tIns="45720" rIns="91440" bIns="45720" rtlCol="0" anchor="ctr">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Excel</a:t>
            </a:r>
          </a:p>
        </p:txBody>
      </p:sp>
      <p:pic>
        <p:nvPicPr>
          <p:cNvPr id="3074" name="Picture 2" descr="http://www.bojanglesmuseum.com/wp-content/uploads/2017/07/Cool-Microsoft-Sql-Server-Logo-98-On-Create-A-Free-Logo-with-Microsoft-Sql-Server-Logo.jpg">
            <a:extLst>
              <a:ext uri="{FF2B5EF4-FFF2-40B4-BE49-F238E27FC236}">
                <a16:creationId xmlns:a16="http://schemas.microsoft.com/office/drawing/2014/main" id="{E900CC5F-6337-4614-AB69-1BBF7BD20140}"/>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609365" y="5152839"/>
            <a:ext cx="1004304" cy="507252"/>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D4859E2E-D1FC-4466-B475-718D6A576AB6}"/>
              </a:ext>
            </a:extLst>
          </p:cNvPr>
          <p:cNvPicPr>
            <a:picLocks noChangeAspect="1" noChangeArrowheads="1"/>
          </p:cNvPicPr>
          <p:nvPr/>
        </p:nvPicPr>
        <p:blipFill>
          <a:blip r:embed="rId15">
            <a:extLst>
              <a:ext uri="{28A0092B-C50C-407E-A947-70E740481C1C}">
                <a14:useLocalDpi xmlns:a14="http://schemas.microsoft.com/office/drawing/2010/main" val="0"/>
              </a:ext>
            </a:extLst>
          </a:blip>
          <a:stretch>
            <a:fillRect/>
          </a:stretch>
        </p:blipFill>
        <p:spPr bwMode="auto">
          <a:xfrm>
            <a:off x="1067173" y="5137327"/>
            <a:ext cx="486648" cy="484732"/>
          </a:xfrm>
          <a:prstGeom prst="rect">
            <a:avLst/>
          </a:prstGeom>
          <a:noFill/>
          <a:extLst>
            <a:ext uri="{909E8E84-426E-40DD-AFC4-6F175D3DCCD1}">
              <a14:hiddenFill xmlns:a14="http://schemas.microsoft.com/office/drawing/2010/main">
                <a:solidFill>
                  <a:srgbClr val="FFFFFF"/>
                </a:solidFill>
              </a14:hiddenFill>
            </a:ext>
          </a:extLst>
        </p:spPr>
      </p:pic>
      <p:sp>
        <p:nvSpPr>
          <p:cNvPr id="115" name="Freeform 96">
            <a:extLst>
              <a:ext uri="{FF2B5EF4-FFF2-40B4-BE49-F238E27FC236}">
                <a16:creationId xmlns:a16="http://schemas.microsoft.com/office/drawing/2014/main" id="{8A082CF6-5439-4FDE-9378-09FBE5F547DA}"/>
              </a:ext>
            </a:extLst>
          </p:cNvPr>
          <p:cNvSpPr>
            <a:spLocks noChangeAspect="1"/>
          </p:cNvSpPr>
          <p:nvPr/>
        </p:nvSpPr>
        <p:spPr bwMode="auto">
          <a:xfrm>
            <a:off x="1868107" y="5111235"/>
            <a:ext cx="401861" cy="401993"/>
          </a:xfrm>
          <a:custGeom>
            <a:avLst/>
            <a:gdLst>
              <a:gd name="connsiteX0" fmla="*/ 4566081 w 6281717"/>
              <a:gd name="connsiteY0" fmla="*/ 4418235 h 6283779"/>
              <a:gd name="connsiteX1" fmla="*/ 5564846 w 6281717"/>
              <a:gd name="connsiteY1" fmla="*/ 4418235 h 6283779"/>
              <a:gd name="connsiteX2" fmla="*/ 5564846 w 6281717"/>
              <a:gd name="connsiteY2" fmla="*/ 4921699 h 6283779"/>
              <a:gd name="connsiteX3" fmla="*/ 4566081 w 6281717"/>
              <a:gd name="connsiteY3" fmla="*/ 4921699 h 6283779"/>
              <a:gd name="connsiteX4" fmla="*/ 4566082 w 6281717"/>
              <a:gd name="connsiteY4" fmla="*/ 3634805 h 6283779"/>
              <a:gd name="connsiteX5" fmla="*/ 5564847 w 6281717"/>
              <a:gd name="connsiteY5" fmla="*/ 3634805 h 6283779"/>
              <a:gd name="connsiteX6" fmla="*/ 5564847 w 6281717"/>
              <a:gd name="connsiteY6" fmla="*/ 4138269 h 6283779"/>
              <a:gd name="connsiteX7" fmla="*/ 4566082 w 6281717"/>
              <a:gd name="connsiteY7" fmla="*/ 4138269 h 6283779"/>
              <a:gd name="connsiteX8" fmla="*/ 4566083 w 6281717"/>
              <a:gd name="connsiteY8" fmla="*/ 2851375 h 6283779"/>
              <a:gd name="connsiteX9" fmla="*/ 5564848 w 6281717"/>
              <a:gd name="connsiteY9" fmla="*/ 2851375 h 6283779"/>
              <a:gd name="connsiteX10" fmla="*/ 5564848 w 6281717"/>
              <a:gd name="connsiteY10" fmla="*/ 3354839 h 6283779"/>
              <a:gd name="connsiteX11" fmla="*/ 4566083 w 6281717"/>
              <a:gd name="connsiteY11" fmla="*/ 3354839 h 6283779"/>
              <a:gd name="connsiteX12" fmla="*/ 4566084 w 6281717"/>
              <a:gd name="connsiteY12" fmla="*/ 2067945 h 6283779"/>
              <a:gd name="connsiteX13" fmla="*/ 5564849 w 6281717"/>
              <a:gd name="connsiteY13" fmla="*/ 2067945 h 6283779"/>
              <a:gd name="connsiteX14" fmla="*/ 5564849 w 6281717"/>
              <a:gd name="connsiteY14" fmla="*/ 2571409 h 6283779"/>
              <a:gd name="connsiteX15" fmla="*/ 4566084 w 6281717"/>
              <a:gd name="connsiteY15" fmla="*/ 2571409 h 6283779"/>
              <a:gd name="connsiteX16" fmla="*/ 2593051 w 6281717"/>
              <a:gd name="connsiteY16" fmla="*/ 1921329 h 6283779"/>
              <a:gd name="connsiteX17" fmla="*/ 2111358 w 6281717"/>
              <a:gd name="connsiteY17" fmla="*/ 1951265 h 6283779"/>
              <a:gd name="connsiteX18" fmla="*/ 1752129 w 6281717"/>
              <a:gd name="connsiteY18" fmla="*/ 2822122 h 6283779"/>
              <a:gd name="connsiteX19" fmla="*/ 1450051 w 6281717"/>
              <a:gd name="connsiteY19" fmla="*/ 1994808 h 6283779"/>
              <a:gd name="connsiteX20" fmla="*/ 971079 w 6281717"/>
              <a:gd name="connsiteY20" fmla="*/ 2022022 h 6283779"/>
              <a:gd name="connsiteX21" fmla="*/ 1485429 w 6281717"/>
              <a:gd name="connsiteY21" fmla="*/ 3107872 h 6283779"/>
              <a:gd name="connsiteX22" fmla="*/ 924815 w 6281717"/>
              <a:gd name="connsiteY22" fmla="*/ 4191001 h 6283779"/>
              <a:gd name="connsiteX23" fmla="*/ 1398344 w 6281717"/>
              <a:gd name="connsiteY23" fmla="*/ 4207329 h 6283779"/>
              <a:gd name="connsiteX24" fmla="*/ 1738522 w 6281717"/>
              <a:gd name="connsiteY24" fmla="*/ 3360965 h 6283779"/>
              <a:gd name="connsiteX25" fmla="*/ 2100472 w 6281717"/>
              <a:gd name="connsiteY25" fmla="*/ 4253593 h 6283779"/>
              <a:gd name="connsiteX26" fmla="*/ 2614822 w 6281717"/>
              <a:gd name="connsiteY26" fmla="*/ 4288972 h 6283779"/>
              <a:gd name="connsiteX27" fmla="*/ 2024272 w 6281717"/>
              <a:gd name="connsiteY27" fmla="*/ 3094265 h 6283779"/>
              <a:gd name="connsiteX28" fmla="*/ 4566084 w 6281717"/>
              <a:gd name="connsiteY28" fmla="*/ 1284515 h 6283779"/>
              <a:gd name="connsiteX29" fmla="*/ 5564849 w 6281717"/>
              <a:gd name="connsiteY29" fmla="*/ 1284515 h 6283779"/>
              <a:gd name="connsiteX30" fmla="*/ 5564849 w 6281717"/>
              <a:gd name="connsiteY30" fmla="*/ 1787979 h 6283779"/>
              <a:gd name="connsiteX31" fmla="*/ 4566084 w 6281717"/>
              <a:gd name="connsiteY31" fmla="*/ 1787979 h 6283779"/>
              <a:gd name="connsiteX32" fmla="*/ 3705209 w 6281717"/>
              <a:gd name="connsiteY32" fmla="*/ 851808 h 6283779"/>
              <a:gd name="connsiteX33" fmla="*/ 3705209 w 6281717"/>
              <a:gd name="connsiteY33" fmla="*/ 1283836 h 6283779"/>
              <a:gd name="connsiteX34" fmla="*/ 4280335 w 6281717"/>
              <a:gd name="connsiteY34" fmla="*/ 1283836 h 6283779"/>
              <a:gd name="connsiteX35" fmla="*/ 4280335 w 6281717"/>
              <a:gd name="connsiteY35" fmla="*/ 1787300 h 6283779"/>
              <a:gd name="connsiteX36" fmla="*/ 3705209 w 6281717"/>
              <a:gd name="connsiteY36" fmla="*/ 1787300 h 6283779"/>
              <a:gd name="connsiteX37" fmla="*/ 3705209 w 6281717"/>
              <a:gd name="connsiteY37" fmla="*/ 2067266 h 6283779"/>
              <a:gd name="connsiteX38" fmla="*/ 4280335 w 6281717"/>
              <a:gd name="connsiteY38" fmla="*/ 2067266 h 6283779"/>
              <a:gd name="connsiteX39" fmla="*/ 4280335 w 6281717"/>
              <a:gd name="connsiteY39" fmla="*/ 2570730 h 6283779"/>
              <a:gd name="connsiteX40" fmla="*/ 3705209 w 6281717"/>
              <a:gd name="connsiteY40" fmla="*/ 2570730 h 6283779"/>
              <a:gd name="connsiteX41" fmla="*/ 3705209 w 6281717"/>
              <a:gd name="connsiteY41" fmla="*/ 2850696 h 6283779"/>
              <a:gd name="connsiteX42" fmla="*/ 4280334 w 6281717"/>
              <a:gd name="connsiteY42" fmla="*/ 2850696 h 6283779"/>
              <a:gd name="connsiteX43" fmla="*/ 4280334 w 6281717"/>
              <a:gd name="connsiteY43" fmla="*/ 3354160 h 6283779"/>
              <a:gd name="connsiteX44" fmla="*/ 3705209 w 6281717"/>
              <a:gd name="connsiteY44" fmla="*/ 3354160 h 6283779"/>
              <a:gd name="connsiteX45" fmla="*/ 3705209 w 6281717"/>
              <a:gd name="connsiteY45" fmla="*/ 3634126 h 6283779"/>
              <a:gd name="connsiteX46" fmla="*/ 4280333 w 6281717"/>
              <a:gd name="connsiteY46" fmla="*/ 3634126 h 6283779"/>
              <a:gd name="connsiteX47" fmla="*/ 4280333 w 6281717"/>
              <a:gd name="connsiteY47" fmla="*/ 4137590 h 6283779"/>
              <a:gd name="connsiteX48" fmla="*/ 3705209 w 6281717"/>
              <a:gd name="connsiteY48" fmla="*/ 4137590 h 6283779"/>
              <a:gd name="connsiteX49" fmla="*/ 3705209 w 6281717"/>
              <a:gd name="connsiteY49" fmla="*/ 4417556 h 6283779"/>
              <a:gd name="connsiteX50" fmla="*/ 4280332 w 6281717"/>
              <a:gd name="connsiteY50" fmla="*/ 4417556 h 6283779"/>
              <a:gd name="connsiteX51" fmla="*/ 4280332 w 6281717"/>
              <a:gd name="connsiteY51" fmla="*/ 4921020 h 6283779"/>
              <a:gd name="connsiteX52" fmla="*/ 3705209 w 6281717"/>
              <a:gd name="connsiteY52" fmla="*/ 4921020 h 6283779"/>
              <a:gd name="connsiteX53" fmla="*/ 3705209 w 6281717"/>
              <a:gd name="connsiteY53" fmla="*/ 5355772 h 6283779"/>
              <a:gd name="connsiteX54" fmla="*/ 6068315 w 6281717"/>
              <a:gd name="connsiteY54" fmla="*/ 5355772 h 6283779"/>
              <a:gd name="connsiteX55" fmla="*/ 6068315 w 6281717"/>
              <a:gd name="connsiteY55" fmla="*/ 851808 h 6283779"/>
              <a:gd name="connsiteX56" fmla="*/ 3705209 w 6281717"/>
              <a:gd name="connsiteY56" fmla="*/ 0 h 6283779"/>
              <a:gd name="connsiteX57" fmla="*/ 3705209 w 6281717"/>
              <a:gd name="connsiteY57" fmla="*/ 642257 h 6283779"/>
              <a:gd name="connsiteX58" fmla="*/ 6032964 w 6281717"/>
              <a:gd name="connsiteY58" fmla="*/ 642257 h 6283779"/>
              <a:gd name="connsiteX59" fmla="*/ 6281717 w 6281717"/>
              <a:gd name="connsiteY59" fmla="*/ 891010 h 6283779"/>
              <a:gd name="connsiteX60" fmla="*/ 6281717 w 6281717"/>
              <a:gd name="connsiteY60" fmla="*/ 5313847 h 6283779"/>
              <a:gd name="connsiteX61" fmla="*/ 6032964 w 6281717"/>
              <a:gd name="connsiteY61" fmla="*/ 5562600 h 6283779"/>
              <a:gd name="connsiteX62" fmla="*/ 3705209 w 6281717"/>
              <a:gd name="connsiteY62" fmla="*/ 5562600 h 6283779"/>
              <a:gd name="connsiteX63" fmla="*/ 3705209 w 6281717"/>
              <a:gd name="connsiteY63" fmla="*/ 6283779 h 6283779"/>
              <a:gd name="connsiteX64" fmla="*/ 0 w 6281717"/>
              <a:gd name="connsiteY64" fmla="*/ 5641407 h 6283779"/>
              <a:gd name="connsiteX65" fmla="*/ 0 w 6281717"/>
              <a:gd name="connsiteY65" fmla="*/ 642372 h 6283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6281717" h="6283779">
                <a:moveTo>
                  <a:pt x="4566081" y="4418235"/>
                </a:moveTo>
                <a:lnTo>
                  <a:pt x="5564846" y="4418235"/>
                </a:lnTo>
                <a:lnTo>
                  <a:pt x="5564846" y="4921699"/>
                </a:lnTo>
                <a:lnTo>
                  <a:pt x="4566081" y="4921699"/>
                </a:lnTo>
                <a:close/>
                <a:moveTo>
                  <a:pt x="4566082" y="3634805"/>
                </a:moveTo>
                <a:lnTo>
                  <a:pt x="5564847" y="3634805"/>
                </a:lnTo>
                <a:lnTo>
                  <a:pt x="5564847" y="4138269"/>
                </a:lnTo>
                <a:lnTo>
                  <a:pt x="4566082" y="4138269"/>
                </a:lnTo>
                <a:close/>
                <a:moveTo>
                  <a:pt x="4566083" y="2851375"/>
                </a:moveTo>
                <a:lnTo>
                  <a:pt x="5564848" y="2851375"/>
                </a:lnTo>
                <a:lnTo>
                  <a:pt x="5564848" y="3354839"/>
                </a:lnTo>
                <a:lnTo>
                  <a:pt x="4566083" y="3354839"/>
                </a:lnTo>
                <a:close/>
                <a:moveTo>
                  <a:pt x="4566084" y="2067945"/>
                </a:moveTo>
                <a:lnTo>
                  <a:pt x="5564849" y="2067945"/>
                </a:lnTo>
                <a:lnTo>
                  <a:pt x="5564849" y="2571409"/>
                </a:lnTo>
                <a:lnTo>
                  <a:pt x="4566084" y="2571409"/>
                </a:lnTo>
                <a:close/>
                <a:moveTo>
                  <a:pt x="2593051" y="1921329"/>
                </a:moveTo>
                <a:lnTo>
                  <a:pt x="2111358" y="1951265"/>
                </a:lnTo>
                <a:lnTo>
                  <a:pt x="1752129" y="2822122"/>
                </a:lnTo>
                <a:lnTo>
                  <a:pt x="1450051" y="1994808"/>
                </a:lnTo>
                <a:lnTo>
                  <a:pt x="971079" y="2022022"/>
                </a:lnTo>
                <a:lnTo>
                  <a:pt x="1485429" y="3107872"/>
                </a:lnTo>
                <a:lnTo>
                  <a:pt x="924815" y="4191001"/>
                </a:lnTo>
                <a:lnTo>
                  <a:pt x="1398344" y="4207329"/>
                </a:lnTo>
                <a:lnTo>
                  <a:pt x="1738522" y="3360965"/>
                </a:lnTo>
                <a:lnTo>
                  <a:pt x="2100472" y="4253593"/>
                </a:lnTo>
                <a:lnTo>
                  <a:pt x="2614822" y="4288972"/>
                </a:lnTo>
                <a:lnTo>
                  <a:pt x="2024272" y="3094265"/>
                </a:lnTo>
                <a:close/>
                <a:moveTo>
                  <a:pt x="4566084" y="1284515"/>
                </a:moveTo>
                <a:lnTo>
                  <a:pt x="5564849" y="1284515"/>
                </a:lnTo>
                <a:lnTo>
                  <a:pt x="5564849" y="1787979"/>
                </a:lnTo>
                <a:lnTo>
                  <a:pt x="4566084" y="1787979"/>
                </a:lnTo>
                <a:close/>
                <a:moveTo>
                  <a:pt x="3705209" y="851808"/>
                </a:moveTo>
                <a:lnTo>
                  <a:pt x="3705209" y="1283836"/>
                </a:lnTo>
                <a:lnTo>
                  <a:pt x="4280335" y="1283836"/>
                </a:lnTo>
                <a:lnTo>
                  <a:pt x="4280335" y="1787300"/>
                </a:lnTo>
                <a:lnTo>
                  <a:pt x="3705209" y="1787300"/>
                </a:lnTo>
                <a:lnTo>
                  <a:pt x="3705209" y="2067266"/>
                </a:lnTo>
                <a:lnTo>
                  <a:pt x="4280335" y="2067266"/>
                </a:lnTo>
                <a:lnTo>
                  <a:pt x="4280335" y="2570730"/>
                </a:lnTo>
                <a:lnTo>
                  <a:pt x="3705209" y="2570730"/>
                </a:lnTo>
                <a:lnTo>
                  <a:pt x="3705209" y="2850696"/>
                </a:lnTo>
                <a:lnTo>
                  <a:pt x="4280334" y="2850696"/>
                </a:lnTo>
                <a:lnTo>
                  <a:pt x="4280334" y="3354160"/>
                </a:lnTo>
                <a:lnTo>
                  <a:pt x="3705209" y="3354160"/>
                </a:lnTo>
                <a:lnTo>
                  <a:pt x="3705209" y="3634126"/>
                </a:lnTo>
                <a:lnTo>
                  <a:pt x="4280333" y="3634126"/>
                </a:lnTo>
                <a:lnTo>
                  <a:pt x="4280333" y="4137590"/>
                </a:lnTo>
                <a:lnTo>
                  <a:pt x="3705209" y="4137590"/>
                </a:lnTo>
                <a:lnTo>
                  <a:pt x="3705209" y="4417556"/>
                </a:lnTo>
                <a:lnTo>
                  <a:pt x="4280332" y="4417556"/>
                </a:lnTo>
                <a:lnTo>
                  <a:pt x="4280332" y="4921020"/>
                </a:lnTo>
                <a:lnTo>
                  <a:pt x="3705209" y="4921020"/>
                </a:lnTo>
                <a:lnTo>
                  <a:pt x="3705209" y="5355772"/>
                </a:lnTo>
                <a:lnTo>
                  <a:pt x="6068315" y="5355772"/>
                </a:lnTo>
                <a:lnTo>
                  <a:pt x="6068315" y="851808"/>
                </a:lnTo>
                <a:close/>
                <a:moveTo>
                  <a:pt x="3705209" y="0"/>
                </a:moveTo>
                <a:lnTo>
                  <a:pt x="3705209" y="642257"/>
                </a:lnTo>
                <a:lnTo>
                  <a:pt x="6032964" y="642257"/>
                </a:lnTo>
                <a:cubicBezTo>
                  <a:pt x="6170346" y="642257"/>
                  <a:pt x="6281717" y="753628"/>
                  <a:pt x="6281717" y="891010"/>
                </a:cubicBezTo>
                <a:lnTo>
                  <a:pt x="6281717" y="5313847"/>
                </a:lnTo>
                <a:cubicBezTo>
                  <a:pt x="6281717" y="5451229"/>
                  <a:pt x="6170346" y="5562600"/>
                  <a:pt x="6032964" y="5562600"/>
                </a:cubicBezTo>
                <a:lnTo>
                  <a:pt x="3705209" y="5562600"/>
                </a:lnTo>
                <a:lnTo>
                  <a:pt x="3705209" y="6283779"/>
                </a:lnTo>
                <a:lnTo>
                  <a:pt x="0" y="5641407"/>
                </a:lnTo>
                <a:lnTo>
                  <a:pt x="0" y="642372"/>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4AC4E979-3371-47B8-8F89-A9E575EFAC4E}"/>
              </a:ext>
            </a:extLst>
          </p:cNvPr>
          <p:cNvSpPr/>
          <p:nvPr/>
        </p:nvSpPr>
        <p:spPr bwMode="auto">
          <a:xfrm>
            <a:off x="7257972" y="3433240"/>
            <a:ext cx="3067128" cy="489297"/>
          </a:xfrm>
          <a:prstGeom prst="rect">
            <a:avLst/>
          </a:prstGeom>
          <a:noFill/>
          <a:ln w="12700">
            <a:solidFill>
              <a:srgbClr val="75757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wrap="square" lIns="91440" tIns="45720" rIns="91440" bIns="45720" rtlCol="0" anchor="ctr">
            <a:noAutofit/>
          </a:bodyPr>
          <a:lstStyle/>
          <a:p>
            <a:pPr marL="0" marR="0" lvl="0" indent="0" algn="ctr" defTabSz="931326" rtl="0" eaLnBrk="1" fontAlgn="auto" latinLnBrk="0" hangingPunct="1">
              <a:lnSpc>
                <a:spcPct val="100000"/>
              </a:lnSpc>
              <a:spcBef>
                <a:spcPts val="0"/>
              </a:spcBef>
              <a:spcAft>
                <a:spcPts val="600"/>
              </a:spcAft>
              <a:buClrTx/>
              <a:buSzTx/>
              <a:buFontTx/>
              <a:buNone/>
              <a:tabLst/>
              <a:defRPr/>
            </a:pP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PolyBase external tables</a:t>
            </a:r>
          </a:p>
        </p:txBody>
      </p:sp>
      <p:sp>
        <p:nvSpPr>
          <p:cNvPr id="51" name="TextBox 50">
            <a:extLst>
              <a:ext uri="{FF2B5EF4-FFF2-40B4-BE49-F238E27FC236}">
                <a16:creationId xmlns:a16="http://schemas.microsoft.com/office/drawing/2014/main" id="{701AA46A-7A20-4ECE-9154-4B6AA40269C7}"/>
              </a:ext>
            </a:extLst>
          </p:cNvPr>
          <p:cNvSpPr txBox="1"/>
          <p:nvPr/>
        </p:nvSpPr>
        <p:spPr>
          <a:xfrm>
            <a:off x="4673522" y="5679449"/>
            <a:ext cx="864339" cy="237757"/>
          </a:xfrm>
          <a:prstGeom prst="rect">
            <a:avLst/>
          </a:prstGeom>
          <a:noFill/>
        </p:spPr>
        <p:txBody>
          <a:bodyPr wrap="none" lIns="91440" tIns="45720" rIns="91440" bIns="45720" rtlCol="0" anchor="ctr">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osmos DB</a:t>
            </a:r>
          </a:p>
        </p:txBody>
      </p:sp>
      <p:sp>
        <p:nvSpPr>
          <p:cNvPr id="2" name="Title 1">
            <a:extLst>
              <a:ext uri="{FF2B5EF4-FFF2-40B4-BE49-F238E27FC236}">
                <a16:creationId xmlns:a16="http://schemas.microsoft.com/office/drawing/2014/main" id="{5E9EA22E-33D1-4212-955A-12AF82F4818E}"/>
              </a:ext>
            </a:extLst>
          </p:cNvPr>
          <p:cNvSpPr>
            <a:spLocks noGrp="1"/>
          </p:cNvSpPr>
          <p:nvPr>
            <p:ph type="title"/>
          </p:nvPr>
        </p:nvSpPr>
        <p:spPr>
          <a:xfrm>
            <a:off x="220245" y="206018"/>
            <a:ext cx="11018520" cy="492443"/>
          </a:xfrm>
        </p:spPr>
        <p:txBody>
          <a:bodyPr/>
          <a:lstStyle/>
          <a:p>
            <a:r>
              <a:rPr lang="en-US" dirty="0"/>
              <a:t>What is SQL Server Polybase?</a:t>
            </a:r>
          </a:p>
        </p:txBody>
      </p:sp>
      <p:sp>
        <p:nvSpPr>
          <p:cNvPr id="59" name="Text Placeholder 7">
            <a:extLst>
              <a:ext uri="{FF2B5EF4-FFF2-40B4-BE49-F238E27FC236}">
                <a16:creationId xmlns:a16="http://schemas.microsoft.com/office/drawing/2014/main" id="{51F67288-4225-2446-9C6F-47E04CFDE915}"/>
              </a:ext>
            </a:extLst>
          </p:cNvPr>
          <p:cNvSpPr txBox="1">
            <a:spLocks/>
          </p:cNvSpPr>
          <p:nvPr/>
        </p:nvSpPr>
        <p:spPr>
          <a:xfrm>
            <a:off x="46879" y="1334212"/>
            <a:ext cx="7167695" cy="2185214"/>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100000"/>
              </a:lnSpc>
              <a:spcBef>
                <a:spcPts val="1200"/>
              </a:spcBef>
              <a:spcAft>
                <a:spcPts val="0"/>
              </a:spcAft>
              <a:buClr>
                <a:srgbClr val="0078D7"/>
              </a:buClr>
              <a:buSzPct val="90000"/>
              <a:buFont typeface="Arial" panose="020B0604020202020204" pitchFamily="34" charset="0"/>
              <a:buNone/>
              <a:tabLst/>
              <a:defRPr lang="en-US" sz="2000" kern="1200" spc="0" baseline="0" dirty="0">
                <a:solidFill>
                  <a:schemeClr val="tx2"/>
                </a:solidFill>
                <a:latin typeface="+mn-lt"/>
                <a:ea typeface="+mn-ea"/>
                <a:cs typeface="Segoe UI Semilight" panose="020B0402040204020203" pitchFamily="34" charset="0"/>
              </a:defRPr>
            </a:lvl1pPr>
            <a:lvl2pPr marL="0" marR="0" indent="0" algn="l" defTabSz="914367" rtl="0" eaLnBrk="1" fontAlgn="auto" latinLnBrk="0" hangingPunct="1">
              <a:lnSpc>
                <a:spcPct val="100000"/>
              </a:lnSpc>
              <a:spcBef>
                <a:spcPts val="600"/>
              </a:spcBef>
              <a:spcAft>
                <a:spcPts val="200"/>
              </a:spcAft>
              <a:buClr>
                <a:srgbClr val="0078D7"/>
              </a:buClr>
              <a:buSzPct val="90000"/>
              <a:buFont typeface="Arial" pitchFamily="34" charset="0"/>
              <a:buNone/>
              <a:tabLst/>
              <a:def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defRPr>
            </a:lvl2pPr>
            <a:lvl3pPr marL="230188" marR="0" indent="0" algn="l" defTabSz="914367" rtl="0" eaLnBrk="1" fontAlgn="auto" latinLnBrk="0" hangingPunct="1">
              <a:lnSpc>
                <a:spcPct val="90000"/>
              </a:lnSpc>
              <a:spcBef>
                <a:spcPct val="20000"/>
              </a:spcBef>
              <a:spcAft>
                <a:spcPts val="0"/>
              </a:spcAft>
              <a:buClr>
                <a:srgbClr val="0078D7"/>
              </a:buClr>
              <a:buSzPct val="90000"/>
              <a:buFont typeface="Arial" panose="020B0604020202020204" pitchFamily="34" charset="0"/>
              <a:buNone/>
              <a:tabLst/>
              <a:defRPr sz="1200" kern="1200" spc="0" baseline="0">
                <a:solidFill>
                  <a:schemeClr val="tx1"/>
                </a:solidFill>
                <a:latin typeface="+mn-lt"/>
                <a:ea typeface="+mn-ea"/>
                <a:cs typeface="+mn-cs"/>
              </a:defRPr>
            </a:lvl3pPr>
            <a:lvl4pPr marL="784338" marR="0" indent="0" algn="l" defTabSz="914367" rtl="0" eaLnBrk="1" fontAlgn="auto" latinLnBrk="0" hangingPunct="1">
              <a:lnSpc>
                <a:spcPct val="90000"/>
              </a:lnSpc>
              <a:spcBef>
                <a:spcPct val="20000"/>
              </a:spcBef>
              <a:spcAft>
                <a:spcPts val="0"/>
              </a:spcAft>
              <a:buClr>
                <a:srgbClr val="0078D7"/>
              </a:buClr>
              <a:buSzPct val="90000"/>
              <a:buFont typeface="Arial" panose="020B0604020202020204" pitchFamily="34" charset="0"/>
              <a:buNone/>
              <a:tabLst/>
              <a:defRPr sz="1100" kern="1200" spc="0" baseline="0">
                <a:solidFill>
                  <a:schemeClr val="tx1"/>
                </a:solidFill>
                <a:latin typeface="+mn-lt"/>
                <a:ea typeface="+mn-ea"/>
                <a:cs typeface="+mn-cs"/>
              </a:defRPr>
            </a:lvl4pPr>
            <a:lvl5pPr marL="1008434" marR="0" indent="0" algn="l" defTabSz="914367" rtl="0" eaLnBrk="1" fontAlgn="auto" latinLnBrk="0" hangingPunct="1">
              <a:lnSpc>
                <a:spcPct val="90000"/>
              </a:lnSpc>
              <a:spcBef>
                <a:spcPct val="20000"/>
              </a:spcBef>
              <a:spcAft>
                <a:spcPts val="0"/>
              </a:spcAft>
              <a:buClr>
                <a:srgbClr val="0078D7"/>
              </a:buClr>
              <a:buSzPct val="90000"/>
              <a:buFont typeface="Arial" panose="020B0604020202020204" pitchFamily="34" charset="0"/>
              <a:buNone/>
              <a:tabLst/>
              <a:defRPr sz="11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85750" marR="0" lvl="0" indent="-285750" algn="l" defTabSz="914367" rtl="0" eaLnBrk="1" fontAlgn="auto" latinLnBrk="0" hangingPunct="1">
              <a:lnSpc>
                <a:spcPct val="100000"/>
              </a:lnSpc>
              <a:spcBef>
                <a:spcPts val="1200"/>
              </a:spcBef>
              <a:spcAft>
                <a:spcPts val="0"/>
              </a:spcAft>
              <a:buClr>
                <a:srgbClr val="0078D7"/>
              </a:buClr>
              <a:buSzPct val="90000"/>
              <a:buFont typeface="Wingdings" panose="05000000000000000000" pitchFamily="2" charset="2"/>
              <a:buChar char="ü"/>
              <a:tabLst/>
              <a:defRPr/>
            </a:pPr>
            <a:r>
              <a:rPr lang="en-US" sz="1800" dirty="0">
                <a:solidFill>
                  <a:srgbClr val="000000"/>
                </a:solidFill>
                <a:latin typeface="Segoe UI"/>
              </a:rPr>
              <a:t>D</a:t>
            </a:r>
            <a:r>
              <a:rPr kumimoji="0" lang="en-US" sz="18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istributed compute engine integrated with SQL</a:t>
            </a:r>
            <a:r>
              <a:rPr kumimoji="0" lang="en-US" sz="1800" b="0" i="0" u="none" strike="noStrike" kern="1200" cap="none" spc="0" normalizeH="0" noProof="0" dirty="0">
                <a:ln>
                  <a:noFill/>
                </a:ln>
                <a:solidFill>
                  <a:srgbClr val="000000"/>
                </a:solidFill>
                <a:effectLst/>
                <a:uLnTx/>
                <a:uFillTx/>
                <a:latin typeface="Segoe UI"/>
                <a:ea typeface="+mn-ea"/>
                <a:cs typeface="Segoe UI Semilight" panose="020B0402040204020203" pitchFamily="34" charset="0"/>
              </a:rPr>
              <a:t> Server</a:t>
            </a:r>
            <a:endParaRPr kumimoji="0" lang="en-US" sz="18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endParaRPr>
          </a:p>
          <a:p>
            <a:pPr marL="285750" marR="0" lvl="0" indent="-285750" algn="l" defTabSz="914367" rtl="0" eaLnBrk="1" fontAlgn="auto" latinLnBrk="0" hangingPunct="1">
              <a:lnSpc>
                <a:spcPct val="100000"/>
              </a:lnSpc>
              <a:spcBef>
                <a:spcPts val="1200"/>
              </a:spcBef>
              <a:spcAft>
                <a:spcPts val="0"/>
              </a:spcAft>
              <a:buClr>
                <a:srgbClr val="0078D7"/>
              </a:buClr>
              <a:buSzPct val="90000"/>
              <a:buFont typeface="Wingdings" panose="05000000000000000000" pitchFamily="2" charset="2"/>
              <a:buChar char="ü"/>
              <a:tabLst/>
              <a:defRPr/>
            </a:pPr>
            <a:r>
              <a:rPr lang="en-US" sz="1800" dirty="0">
                <a:solidFill>
                  <a:srgbClr val="000000"/>
                </a:solidFill>
                <a:latin typeface="Segoe UI"/>
              </a:rPr>
              <a:t>Query data where it lives using T-SQL</a:t>
            </a:r>
            <a:endParaRPr lang="en-US" sz="1800" dirty="0">
              <a:solidFill>
                <a:srgbClr val="000000"/>
              </a:solidFill>
            </a:endParaRPr>
          </a:p>
          <a:p>
            <a:pPr marL="285750" indent="-285750">
              <a:buFont typeface="Wingdings" panose="05000000000000000000" pitchFamily="2" charset="2"/>
              <a:buChar char="ü"/>
              <a:defRPr/>
            </a:pPr>
            <a:r>
              <a:rPr lang="en-US" sz="1800" dirty="0">
                <a:solidFill>
                  <a:srgbClr val="000000"/>
                </a:solidFill>
                <a:latin typeface="Segoe UI"/>
              </a:rPr>
              <a:t>Distributed, scalable query performance</a:t>
            </a:r>
            <a:endParaRPr kumimoji="0" lang="en-US" sz="18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endParaRPr>
          </a:p>
          <a:p>
            <a:pPr marL="285750" marR="0" lvl="0" indent="-285750" algn="l" defTabSz="914367" rtl="0" eaLnBrk="1" fontAlgn="auto" latinLnBrk="0" hangingPunct="1">
              <a:lnSpc>
                <a:spcPct val="100000"/>
              </a:lnSpc>
              <a:spcBef>
                <a:spcPts val="1200"/>
              </a:spcBef>
              <a:spcAft>
                <a:spcPts val="0"/>
              </a:spcAft>
              <a:buClr>
                <a:srgbClr val="0078D7"/>
              </a:buClr>
              <a:buSzPct val="90000"/>
              <a:buFont typeface="Wingdings" panose="05000000000000000000" pitchFamily="2" charset="2"/>
              <a:buChar char="ü"/>
              <a:tabLst/>
              <a:defRPr/>
            </a:pPr>
            <a:r>
              <a:rPr lang="en-US" sz="1800" dirty="0">
                <a:solidFill>
                  <a:srgbClr val="000000"/>
                </a:solidFill>
                <a:latin typeface="Segoe UI"/>
              </a:rPr>
              <a:t>Manual/deploy with SQL Server</a:t>
            </a:r>
          </a:p>
          <a:p>
            <a:pPr marL="285750" marR="0" lvl="0" indent="-285750" algn="l" defTabSz="914367" rtl="0" eaLnBrk="1" fontAlgn="auto" latinLnBrk="0" hangingPunct="1">
              <a:lnSpc>
                <a:spcPct val="100000"/>
              </a:lnSpc>
              <a:spcBef>
                <a:spcPts val="1200"/>
              </a:spcBef>
              <a:spcAft>
                <a:spcPts val="0"/>
              </a:spcAft>
              <a:buClr>
                <a:srgbClr val="0078D7"/>
              </a:buClr>
              <a:buSzPct val="90000"/>
              <a:buFont typeface="Wingdings" panose="05000000000000000000" pitchFamily="2" charset="2"/>
              <a:buChar char="ü"/>
              <a:tabLst/>
              <a:defRPr/>
            </a:pPr>
            <a:r>
              <a:rPr lang="en-US" sz="1800" dirty="0">
                <a:solidFill>
                  <a:srgbClr val="000000"/>
                </a:solidFill>
                <a:latin typeface="Segoe UI"/>
              </a:rPr>
              <a:t>Auto deploy/optimize with Big Data Clusters</a:t>
            </a:r>
          </a:p>
        </p:txBody>
      </p:sp>
      <p:grpSp>
        <p:nvGrpSpPr>
          <p:cNvPr id="52" name="Group 51">
            <a:extLst>
              <a:ext uri="{FF2B5EF4-FFF2-40B4-BE49-F238E27FC236}">
                <a16:creationId xmlns:a16="http://schemas.microsoft.com/office/drawing/2014/main" id="{419D81CC-3861-4BA4-B451-7A066C1E43EC}"/>
              </a:ext>
            </a:extLst>
          </p:cNvPr>
          <p:cNvGrpSpPr/>
          <p:nvPr/>
        </p:nvGrpSpPr>
        <p:grpSpPr>
          <a:xfrm>
            <a:off x="7144963" y="1969256"/>
            <a:ext cx="487066" cy="414337"/>
            <a:chOff x="535619" y="5832014"/>
            <a:chExt cx="436838" cy="371609"/>
          </a:xfrm>
        </p:grpSpPr>
        <p:grpSp>
          <p:nvGrpSpPr>
            <p:cNvPr id="61" name="Group 60">
              <a:extLst>
                <a:ext uri="{FF2B5EF4-FFF2-40B4-BE49-F238E27FC236}">
                  <a16:creationId xmlns:a16="http://schemas.microsoft.com/office/drawing/2014/main" id="{DD341814-ED3F-4F3C-A9E9-B9538649E807}"/>
                </a:ext>
              </a:extLst>
            </p:cNvPr>
            <p:cNvGrpSpPr/>
            <p:nvPr/>
          </p:nvGrpSpPr>
          <p:grpSpPr>
            <a:xfrm>
              <a:off x="535619" y="5832014"/>
              <a:ext cx="436838" cy="371609"/>
              <a:chOff x="2107244" y="1575258"/>
              <a:chExt cx="310993" cy="264555"/>
            </a:xfrm>
          </p:grpSpPr>
          <p:sp>
            <p:nvSpPr>
              <p:cNvPr id="77" name="Rectangle 9">
                <a:extLst>
                  <a:ext uri="{FF2B5EF4-FFF2-40B4-BE49-F238E27FC236}">
                    <a16:creationId xmlns:a16="http://schemas.microsoft.com/office/drawing/2014/main" id="{F2A429B6-5E74-4762-92F9-5931FD2C303F}"/>
                  </a:ext>
                </a:extLst>
              </p:cNvPr>
              <p:cNvSpPr>
                <a:spLocks noChangeArrowheads="1"/>
              </p:cNvSpPr>
              <p:nvPr/>
            </p:nvSpPr>
            <p:spPr bwMode="auto">
              <a:xfrm>
                <a:off x="2107244" y="1575258"/>
                <a:ext cx="310993" cy="264555"/>
              </a:xfrm>
              <a:prstGeom prst="rect">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78" name="Line 10">
                <a:extLst>
                  <a:ext uri="{FF2B5EF4-FFF2-40B4-BE49-F238E27FC236}">
                    <a16:creationId xmlns:a16="http://schemas.microsoft.com/office/drawing/2014/main" id="{0CBD59F9-1346-4748-A254-6257CE79465D}"/>
                  </a:ext>
                </a:extLst>
              </p:cNvPr>
              <p:cNvSpPr>
                <a:spLocks noChangeShapeType="1"/>
              </p:cNvSpPr>
              <p:nvPr/>
            </p:nvSpPr>
            <p:spPr bwMode="auto">
              <a:xfrm flipH="1">
                <a:off x="2107244" y="1647026"/>
                <a:ext cx="31099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grpSp>
          <p:nvGrpSpPr>
            <p:cNvPr id="62" name="Group 61">
              <a:extLst>
                <a:ext uri="{FF2B5EF4-FFF2-40B4-BE49-F238E27FC236}">
                  <a16:creationId xmlns:a16="http://schemas.microsoft.com/office/drawing/2014/main" id="{97301C64-EC14-4C56-B110-79B1BA307BD4}"/>
                </a:ext>
              </a:extLst>
            </p:cNvPr>
            <p:cNvGrpSpPr/>
            <p:nvPr/>
          </p:nvGrpSpPr>
          <p:grpSpPr>
            <a:xfrm>
              <a:off x="788630" y="5865618"/>
              <a:ext cx="134411" cy="33604"/>
              <a:chOff x="2287367" y="1599181"/>
              <a:chExt cx="95690" cy="23923"/>
            </a:xfrm>
            <a:solidFill>
              <a:schemeClr val="accent1"/>
            </a:solidFill>
          </p:grpSpPr>
          <p:sp>
            <p:nvSpPr>
              <p:cNvPr id="71" name="Oval 11">
                <a:extLst>
                  <a:ext uri="{FF2B5EF4-FFF2-40B4-BE49-F238E27FC236}">
                    <a16:creationId xmlns:a16="http://schemas.microsoft.com/office/drawing/2014/main" id="{423DDFE9-1295-42A9-9E2E-007E26BC30FE}"/>
                  </a:ext>
                </a:extLst>
              </p:cNvPr>
              <p:cNvSpPr>
                <a:spLocks noChangeArrowheads="1"/>
              </p:cNvSpPr>
              <p:nvPr/>
            </p:nvSpPr>
            <p:spPr bwMode="auto">
              <a:xfrm>
                <a:off x="2287367"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72" name="Oval 12">
                <a:extLst>
                  <a:ext uri="{FF2B5EF4-FFF2-40B4-BE49-F238E27FC236}">
                    <a16:creationId xmlns:a16="http://schemas.microsoft.com/office/drawing/2014/main" id="{47E6EF43-B387-4A4F-8603-B81D8365B7BC}"/>
                  </a:ext>
                </a:extLst>
              </p:cNvPr>
              <p:cNvSpPr>
                <a:spLocks noChangeArrowheads="1"/>
              </p:cNvSpPr>
              <p:nvPr/>
            </p:nvSpPr>
            <p:spPr bwMode="auto">
              <a:xfrm>
                <a:off x="2322547"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73" name="Oval 13">
                <a:extLst>
                  <a:ext uri="{FF2B5EF4-FFF2-40B4-BE49-F238E27FC236}">
                    <a16:creationId xmlns:a16="http://schemas.microsoft.com/office/drawing/2014/main" id="{42996A87-39FA-4580-946C-7FD05D9AB86B}"/>
                  </a:ext>
                </a:extLst>
              </p:cNvPr>
              <p:cNvSpPr>
                <a:spLocks noChangeArrowheads="1"/>
              </p:cNvSpPr>
              <p:nvPr/>
            </p:nvSpPr>
            <p:spPr bwMode="auto">
              <a:xfrm>
                <a:off x="2359134"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grpSp>
          <p:nvGrpSpPr>
            <p:cNvPr id="68" name="Group 67">
              <a:extLst>
                <a:ext uri="{FF2B5EF4-FFF2-40B4-BE49-F238E27FC236}">
                  <a16:creationId xmlns:a16="http://schemas.microsoft.com/office/drawing/2014/main" id="{9DFC9F7A-376A-42FB-87A3-3590D6E8BEED}"/>
                </a:ext>
              </a:extLst>
            </p:cNvPr>
            <p:cNvGrpSpPr/>
            <p:nvPr/>
          </p:nvGrpSpPr>
          <p:grpSpPr>
            <a:xfrm>
              <a:off x="670030" y="6009912"/>
              <a:ext cx="134411" cy="126505"/>
              <a:chOff x="2202934" y="1701907"/>
              <a:chExt cx="95690" cy="90061"/>
            </a:xfrm>
          </p:grpSpPr>
          <p:sp>
            <p:nvSpPr>
              <p:cNvPr id="69" name="Freeform 14">
                <a:extLst>
                  <a:ext uri="{FF2B5EF4-FFF2-40B4-BE49-F238E27FC236}">
                    <a16:creationId xmlns:a16="http://schemas.microsoft.com/office/drawing/2014/main" id="{CB4C447B-C987-45E5-87D0-529C1DD16F8E}"/>
                  </a:ext>
                </a:extLst>
              </p:cNvPr>
              <p:cNvSpPr>
                <a:spLocks/>
              </p:cNvSpPr>
              <p:nvPr/>
            </p:nvSpPr>
            <p:spPr bwMode="auto">
              <a:xfrm>
                <a:off x="2202934"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70" name="Line 15">
                <a:extLst>
                  <a:ext uri="{FF2B5EF4-FFF2-40B4-BE49-F238E27FC236}">
                    <a16:creationId xmlns:a16="http://schemas.microsoft.com/office/drawing/2014/main" id="{F03D0662-3909-4891-BD77-FF8857DB279D}"/>
                  </a:ext>
                </a:extLst>
              </p:cNvPr>
              <p:cNvSpPr>
                <a:spLocks noChangeShapeType="1"/>
              </p:cNvSpPr>
              <p:nvPr/>
            </p:nvSpPr>
            <p:spPr bwMode="auto">
              <a:xfrm>
                <a:off x="2253117" y="1755381"/>
                <a:ext cx="0" cy="36587"/>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grpSp>
      <p:grpSp>
        <p:nvGrpSpPr>
          <p:cNvPr id="80" name="Group 79">
            <a:extLst>
              <a:ext uri="{FF2B5EF4-FFF2-40B4-BE49-F238E27FC236}">
                <a16:creationId xmlns:a16="http://schemas.microsoft.com/office/drawing/2014/main" id="{36AB4200-E457-4F36-B6A0-8BBE72038E70}"/>
              </a:ext>
            </a:extLst>
          </p:cNvPr>
          <p:cNvGrpSpPr/>
          <p:nvPr/>
        </p:nvGrpSpPr>
        <p:grpSpPr>
          <a:xfrm>
            <a:off x="9952230" y="1969256"/>
            <a:ext cx="487066" cy="414337"/>
            <a:chOff x="535619" y="5832014"/>
            <a:chExt cx="436838" cy="371609"/>
          </a:xfrm>
        </p:grpSpPr>
        <p:grpSp>
          <p:nvGrpSpPr>
            <p:cNvPr id="81" name="Group 80">
              <a:extLst>
                <a:ext uri="{FF2B5EF4-FFF2-40B4-BE49-F238E27FC236}">
                  <a16:creationId xmlns:a16="http://schemas.microsoft.com/office/drawing/2014/main" id="{FE82BC75-6C44-476C-9C2C-33AB69F03AFE}"/>
                </a:ext>
              </a:extLst>
            </p:cNvPr>
            <p:cNvGrpSpPr/>
            <p:nvPr/>
          </p:nvGrpSpPr>
          <p:grpSpPr>
            <a:xfrm>
              <a:off x="535619" y="5832014"/>
              <a:ext cx="436838" cy="371609"/>
              <a:chOff x="2107244" y="1575258"/>
              <a:chExt cx="310993" cy="264555"/>
            </a:xfrm>
          </p:grpSpPr>
          <p:sp>
            <p:nvSpPr>
              <p:cNvPr id="90" name="Rectangle 9">
                <a:extLst>
                  <a:ext uri="{FF2B5EF4-FFF2-40B4-BE49-F238E27FC236}">
                    <a16:creationId xmlns:a16="http://schemas.microsoft.com/office/drawing/2014/main" id="{2E691086-4962-4B3A-ABC6-ACF9837BCBB1}"/>
                  </a:ext>
                </a:extLst>
              </p:cNvPr>
              <p:cNvSpPr>
                <a:spLocks noChangeArrowheads="1"/>
              </p:cNvSpPr>
              <p:nvPr/>
            </p:nvSpPr>
            <p:spPr bwMode="auto">
              <a:xfrm>
                <a:off x="2107244" y="1575258"/>
                <a:ext cx="310993" cy="264555"/>
              </a:xfrm>
              <a:prstGeom prst="rect">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91" name="Line 10">
                <a:extLst>
                  <a:ext uri="{FF2B5EF4-FFF2-40B4-BE49-F238E27FC236}">
                    <a16:creationId xmlns:a16="http://schemas.microsoft.com/office/drawing/2014/main" id="{C29D0A41-A64F-4299-BDA6-9D7798C9EE3F}"/>
                  </a:ext>
                </a:extLst>
              </p:cNvPr>
              <p:cNvSpPr>
                <a:spLocks noChangeShapeType="1"/>
              </p:cNvSpPr>
              <p:nvPr/>
            </p:nvSpPr>
            <p:spPr bwMode="auto">
              <a:xfrm flipH="1">
                <a:off x="2107244" y="1647026"/>
                <a:ext cx="31099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grpSp>
          <p:nvGrpSpPr>
            <p:cNvPr id="83" name="Group 82">
              <a:extLst>
                <a:ext uri="{FF2B5EF4-FFF2-40B4-BE49-F238E27FC236}">
                  <a16:creationId xmlns:a16="http://schemas.microsoft.com/office/drawing/2014/main" id="{4875FFBC-2CDC-428E-A0CA-9F6F12C0ACAB}"/>
                </a:ext>
              </a:extLst>
            </p:cNvPr>
            <p:cNvGrpSpPr/>
            <p:nvPr/>
          </p:nvGrpSpPr>
          <p:grpSpPr>
            <a:xfrm>
              <a:off x="788630" y="5865618"/>
              <a:ext cx="134411" cy="33604"/>
              <a:chOff x="2287367" y="1599181"/>
              <a:chExt cx="95690" cy="23923"/>
            </a:xfrm>
            <a:solidFill>
              <a:schemeClr val="accent1"/>
            </a:solidFill>
          </p:grpSpPr>
          <p:sp>
            <p:nvSpPr>
              <p:cNvPr id="87" name="Oval 11">
                <a:extLst>
                  <a:ext uri="{FF2B5EF4-FFF2-40B4-BE49-F238E27FC236}">
                    <a16:creationId xmlns:a16="http://schemas.microsoft.com/office/drawing/2014/main" id="{136F3183-20A1-4264-BADD-F6EAC5D55304}"/>
                  </a:ext>
                </a:extLst>
              </p:cNvPr>
              <p:cNvSpPr>
                <a:spLocks noChangeArrowheads="1"/>
              </p:cNvSpPr>
              <p:nvPr/>
            </p:nvSpPr>
            <p:spPr bwMode="auto">
              <a:xfrm>
                <a:off x="2287367"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88" name="Oval 12">
                <a:extLst>
                  <a:ext uri="{FF2B5EF4-FFF2-40B4-BE49-F238E27FC236}">
                    <a16:creationId xmlns:a16="http://schemas.microsoft.com/office/drawing/2014/main" id="{07C6DC22-4F0F-4AD1-96BF-494298123DC1}"/>
                  </a:ext>
                </a:extLst>
              </p:cNvPr>
              <p:cNvSpPr>
                <a:spLocks noChangeArrowheads="1"/>
              </p:cNvSpPr>
              <p:nvPr/>
            </p:nvSpPr>
            <p:spPr bwMode="auto">
              <a:xfrm>
                <a:off x="2322547"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89" name="Oval 13">
                <a:extLst>
                  <a:ext uri="{FF2B5EF4-FFF2-40B4-BE49-F238E27FC236}">
                    <a16:creationId xmlns:a16="http://schemas.microsoft.com/office/drawing/2014/main" id="{7B512FE9-CABC-487B-95CA-B4F87117D5C1}"/>
                  </a:ext>
                </a:extLst>
              </p:cNvPr>
              <p:cNvSpPr>
                <a:spLocks noChangeArrowheads="1"/>
              </p:cNvSpPr>
              <p:nvPr/>
            </p:nvSpPr>
            <p:spPr bwMode="auto">
              <a:xfrm>
                <a:off x="2359134"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grpSp>
      <p:sp>
        <p:nvSpPr>
          <p:cNvPr id="93" name="Freeform: Shape 92">
            <a:extLst>
              <a:ext uri="{FF2B5EF4-FFF2-40B4-BE49-F238E27FC236}">
                <a16:creationId xmlns:a16="http://schemas.microsoft.com/office/drawing/2014/main" id="{4B4520B5-0162-4EA5-96A5-8BC4B19B8F8B}"/>
              </a:ext>
            </a:extLst>
          </p:cNvPr>
          <p:cNvSpPr/>
          <p:nvPr/>
        </p:nvSpPr>
        <p:spPr bwMode="auto">
          <a:xfrm>
            <a:off x="4863128" y="5226791"/>
            <a:ext cx="488806" cy="452658"/>
          </a:xfrm>
          <a:custGeom>
            <a:avLst/>
            <a:gdLst>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26248 w 4761797"/>
              <a:gd name="connsiteY50" fmla="*/ 2394628 h 4409679"/>
              <a:gd name="connsiteX51" fmla="*/ 839562 w 4761797"/>
              <a:gd name="connsiteY51" fmla="*/ 2394628 h 4409679"/>
              <a:gd name="connsiteX52" fmla="*/ 838613 w 4761797"/>
              <a:gd name="connsiteY52" fmla="*/ 2376216 h 4409679"/>
              <a:gd name="connsiteX53" fmla="*/ 896327 w 4761797"/>
              <a:gd name="connsiteY53" fmla="*/ 1985696 h 4409679"/>
              <a:gd name="connsiteX54" fmla="*/ 1344072 w 4761797"/>
              <a:gd name="connsiteY54" fmla="*/ 1199974 h 4409679"/>
              <a:gd name="connsiteX55" fmla="*/ 2491383 w 4761797"/>
              <a:gd name="connsiteY55" fmla="*/ 779042 h 4409679"/>
              <a:gd name="connsiteX56" fmla="*/ 3075538 w 4761797"/>
              <a:gd name="connsiteY56" fmla="*/ 926370 h 4409679"/>
              <a:gd name="connsiteX57" fmla="*/ 3095617 w 4761797"/>
              <a:gd name="connsiteY57" fmla="*/ 937273 h 4409679"/>
              <a:gd name="connsiteX58" fmla="*/ 3095221 w 4761797"/>
              <a:gd name="connsiteY58" fmla="*/ 937420 h 4409679"/>
              <a:gd name="connsiteX59" fmla="*/ 3098039 w 4761797"/>
              <a:gd name="connsiteY59" fmla="*/ 938588 h 4409679"/>
              <a:gd name="connsiteX60" fmla="*/ 3148954 w 4761797"/>
              <a:gd name="connsiteY60" fmla="*/ 966233 h 4409679"/>
              <a:gd name="connsiteX61" fmla="*/ 3164715 w 4761797"/>
              <a:gd name="connsiteY61" fmla="*/ 966233 h 4409679"/>
              <a:gd name="connsiteX62" fmla="*/ 3098039 w 4761797"/>
              <a:gd name="connsiteY62" fmla="*/ 938588 h 4409679"/>
              <a:gd name="connsiteX63" fmla="*/ 3095617 w 4761797"/>
              <a:gd name="connsiteY63" fmla="*/ 937273 h 4409679"/>
              <a:gd name="connsiteX64" fmla="*/ 3229162 w 4761797"/>
              <a:gd name="connsiteY64" fmla="*/ 887670 h 4409679"/>
              <a:gd name="connsiteX65" fmla="*/ 3617024 w 4761797"/>
              <a:gd name="connsiteY65" fmla="*/ 787593 h 4409679"/>
              <a:gd name="connsiteX66" fmla="*/ 4165395 w 4761797"/>
              <a:gd name="connsiteY66" fmla="*/ 700025 h 4409679"/>
              <a:gd name="connsiteX67" fmla="*/ 637239 w 4761797"/>
              <a:gd name="connsiteY67" fmla="*/ 0 h 4409679"/>
              <a:gd name="connsiteX68" fmla="*/ 712216 w 4761797"/>
              <a:gd name="connsiteY68" fmla="*/ 74965 h 4409679"/>
              <a:gd name="connsiteX69" fmla="*/ 1237002 w 4761797"/>
              <a:gd name="connsiteY69" fmla="*/ 599752 h 4409679"/>
              <a:gd name="connsiteX70" fmla="*/ 1311967 w 4761797"/>
              <a:gd name="connsiteY70" fmla="*/ 674728 h 4409679"/>
              <a:gd name="connsiteX71" fmla="*/ 1237002 w 4761797"/>
              <a:gd name="connsiteY71" fmla="*/ 712216 h 4409679"/>
              <a:gd name="connsiteX72" fmla="*/ 712216 w 4761797"/>
              <a:gd name="connsiteY72" fmla="*/ 1274479 h 4409679"/>
              <a:gd name="connsiteX73" fmla="*/ 637239 w 4761797"/>
              <a:gd name="connsiteY73" fmla="*/ 1311967 h 4409679"/>
              <a:gd name="connsiteX74" fmla="*/ 599751 w 4761797"/>
              <a:gd name="connsiteY74" fmla="*/ 1274479 h 4409679"/>
              <a:gd name="connsiteX75" fmla="*/ 37488 w 4761797"/>
              <a:gd name="connsiteY75" fmla="*/ 712216 h 4409679"/>
              <a:gd name="connsiteX76" fmla="*/ 0 w 4761797"/>
              <a:gd name="connsiteY76" fmla="*/ 674728 h 4409679"/>
              <a:gd name="connsiteX77" fmla="*/ 37488 w 4761797"/>
              <a:gd name="connsiteY77" fmla="*/ 599752 h 4409679"/>
              <a:gd name="connsiteX78" fmla="*/ 599751 w 4761797"/>
              <a:gd name="connsiteY78" fmla="*/ 74965 h 4409679"/>
              <a:gd name="connsiteX79" fmla="*/ 637239 w 4761797"/>
              <a:gd name="connsiteY79"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26248 w 4761797"/>
              <a:gd name="connsiteY50" fmla="*/ 2394628 h 4409679"/>
              <a:gd name="connsiteX51" fmla="*/ 838613 w 4761797"/>
              <a:gd name="connsiteY51" fmla="*/ 2376216 h 4409679"/>
              <a:gd name="connsiteX52" fmla="*/ 896327 w 4761797"/>
              <a:gd name="connsiteY52" fmla="*/ 1985696 h 4409679"/>
              <a:gd name="connsiteX53" fmla="*/ 1344072 w 4761797"/>
              <a:gd name="connsiteY53" fmla="*/ 1199974 h 4409679"/>
              <a:gd name="connsiteX54" fmla="*/ 2491383 w 4761797"/>
              <a:gd name="connsiteY54" fmla="*/ 779042 h 4409679"/>
              <a:gd name="connsiteX55" fmla="*/ 3075538 w 4761797"/>
              <a:gd name="connsiteY55" fmla="*/ 926370 h 4409679"/>
              <a:gd name="connsiteX56" fmla="*/ 3095617 w 4761797"/>
              <a:gd name="connsiteY56" fmla="*/ 937273 h 4409679"/>
              <a:gd name="connsiteX57" fmla="*/ 3095221 w 4761797"/>
              <a:gd name="connsiteY57" fmla="*/ 937420 h 4409679"/>
              <a:gd name="connsiteX58" fmla="*/ 3098039 w 4761797"/>
              <a:gd name="connsiteY58" fmla="*/ 938588 h 4409679"/>
              <a:gd name="connsiteX59" fmla="*/ 3148954 w 4761797"/>
              <a:gd name="connsiteY59" fmla="*/ 966233 h 4409679"/>
              <a:gd name="connsiteX60" fmla="*/ 3164715 w 4761797"/>
              <a:gd name="connsiteY60" fmla="*/ 966233 h 4409679"/>
              <a:gd name="connsiteX61" fmla="*/ 3098039 w 4761797"/>
              <a:gd name="connsiteY61" fmla="*/ 938588 h 4409679"/>
              <a:gd name="connsiteX62" fmla="*/ 3095617 w 4761797"/>
              <a:gd name="connsiteY62" fmla="*/ 937273 h 4409679"/>
              <a:gd name="connsiteX63" fmla="*/ 3229162 w 4761797"/>
              <a:gd name="connsiteY63" fmla="*/ 887670 h 4409679"/>
              <a:gd name="connsiteX64" fmla="*/ 3617024 w 4761797"/>
              <a:gd name="connsiteY64" fmla="*/ 787593 h 4409679"/>
              <a:gd name="connsiteX65" fmla="*/ 4165395 w 4761797"/>
              <a:gd name="connsiteY65" fmla="*/ 700025 h 4409679"/>
              <a:gd name="connsiteX66" fmla="*/ 637239 w 4761797"/>
              <a:gd name="connsiteY66" fmla="*/ 0 h 4409679"/>
              <a:gd name="connsiteX67" fmla="*/ 712216 w 4761797"/>
              <a:gd name="connsiteY67" fmla="*/ 74965 h 4409679"/>
              <a:gd name="connsiteX68" fmla="*/ 1237002 w 4761797"/>
              <a:gd name="connsiteY68" fmla="*/ 599752 h 4409679"/>
              <a:gd name="connsiteX69" fmla="*/ 1311967 w 4761797"/>
              <a:gd name="connsiteY69" fmla="*/ 674728 h 4409679"/>
              <a:gd name="connsiteX70" fmla="*/ 1237002 w 4761797"/>
              <a:gd name="connsiteY70" fmla="*/ 712216 h 4409679"/>
              <a:gd name="connsiteX71" fmla="*/ 712216 w 4761797"/>
              <a:gd name="connsiteY71" fmla="*/ 1274479 h 4409679"/>
              <a:gd name="connsiteX72" fmla="*/ 637239 w 4761797"/>
              <a:gd name="connsiteY72" fmla="*/ 1311967 h 4409679"/>
              <a:gd name="connsiteX73" fmla="*/ 599751 w 4761797"/>
              <a:gd name="connsiteY73" fmla="*/ 1274479 h 4409679"/>
              <a:gd name="connsiteX74" fmla="*/ 37488 w 4761797"/>
              <a:gd name="connsiteY74" fmla="*/ 712216 h 4409679"/>
              <a:gd name="connsiteX75" fmla="*/ 0 w 4761797"/>
              <a:gd name="connsiteY75" fmla="*/ 674728 h 4409679"/>
              <a:gd name="connsiteX76" fmla="*/ 37488 w 4761797"/>
              <a:gd name="connsiteY76" fmla="*/ 599752 h 4409679"/>
              <a:gd name="connsiteX77" fmla="*/ 599751 w 4761797"/>
              <a:gd name="connsiteY77" fmla="*/ 74965 h 4409679"/>
              <a:gd name="connsiteX78" fmla="*/ 637239 w 4761797"/>
              <a:gd name="connsiteY78"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38613 w 4761797"/>
              <a:gd name="connsiteY50" fmla="*/ 2376216 h 4409679"/>
              <a:gd name="connsiteX51" fmla="*/ 896327 w 4761797"/>
              <a:gd name="connsiteY51" fmla="*/ 1985696 h 4409679"/>
              <a:gd name="connsiteX52" fmla="*/ 1344072 w 4761797"/>
              <a:gd name="connsiteY52" fmla="*/ 1199974 h 4409679"/>
              <a:gd name="connsiteX53" fmla="*/ 2491383 w 4761797"/>
              <a:gd name="connsiteY53" fmla="*/ 779042 h 4409679"/>
              <a:gd name="connsiteX54" fmla="*/ 3075538 w 4761797"/>
              <a:gd name="connsiteY54" fmla="*/ 926370 h 4409679"/>
              <a:gd name="connsiteX55" fmla="*/ 3095617 w 4761797"/>
              <a:gd name="connsiteY55" fmla="*/ 937273 h 4409679"/>
              <a:gd name="connsiteX56" fmla="*/ 3095221 w 4761797"/>
              <a:gd name="connsiteY56" fmla="*/ 937420 h 4409679"/>
              <a:gd name="connsiteX57" fmla="*/ 3098039 w 4761797"/>
              <a:gd name="connsiteY57" fmla="*/ 938588 h 4409679"/>
              <a:gd name="connsiteX58" fmla="*/ 3148954 w 4761797"/>
              <a:gd name="connsiteY58" fmla="*/ 966233 h 4409679"/>
              <a:gd name="connsiteX59" fmla="*/ 3164715 w 4761797"/>
              <a:gd name="connsiteY59" fmla="*/ 966233 h 4409679"/>
              <a:gd name="connsiteX60" fmla="*/ 3098039 w 4761797"/>
              <a:gd name="connsiteY60" fmla="*/ 938588 h 4409679"/>
              <a:gd name="connsiteX61" fmla="*/ 3095617 w 4761797"/>
              <a:gd name="connsiteY61" fmla="*/ 937273 h 4409679"/>
              <a:gd name="connsiteX62" fmla="*/ 3229162 w 4761797"/>
              <a:gd name="connsiteY62" fmla="*/ 887670 h 4409679"/>
              <a:gd name="connsiteX63" fmla="*/ 3617024 w 4761797"/>
              <a:gd name="connsiteY63" fmla="*/ 787593 h 4409679"/>
              <a:gd name="connsiteX64" fmla="*/ 4165395 w 4761797"/>
              <a:gd name="connsiteY64" fmla="*/ 700025 h 4409679"/>
              <a:gd name="connsiteX65" fmla="*/ 637239 w 4761797"/>
              <a:gd name="connsiteY65" fmla="*/ 0 h 4409679"/>
              <a:gd name="connsiteX66" fmla="*/ 712216 w 4761797"/>
              <a:gd name="connsiteY66" fmla="*/ 74965 h 4409679"/>
              <a:gd name="connsiteX67" fmla="*/ 1237002 w 4761797"/>
              <a:gd name="connsiteY67" fmla="*/ 599752 h 4409679"/>
              <a:gd name="connsiteX68" fmla="*/ 1311967 w 4761797"/>
              <a:gd name="connsiteY68" fmla="*/ 674728 h 4409679"/>
              <a:gd name="connsiteX69" fmla="*/ 1237002 w 4761797"/>
              <a:gd name="connsiteY69" fmla="*/ 712216 h 4409679"/>
              <a:gd name="connsiteX70" fmla="*/ 712216 w 4761797"/>
              <a:gd name="connsiteY70" fmla="*/ 1274479 h 4409679"/>
              <a:gd name="connsiteX71" fmla="*/ 637239 w 4761797"/>
              <a:gd name="connsiteY71" fmla="*/ 1311967 h 4409679"/>
              <a:gd name="connsiteX72" fmla="*/ 599751 w 4761797"/>
              <a:gd name="connsiteY72" fmla="*/ 1274479 h 4409679"/>
              <a:gd name="connsiteX73" fmla="*/ 37488 w 4761797"/>
              <a:gd name="connsiteY73" fmla="*/ 712216 h 4409679"/>
              <a:gd name="connsiteX74" fmla="*/ 0 w 4761797"/>
              <a:gd name="connsiteY74" fmla="*/ 674728 h 4409679"/>
              <a:gd name="connsiteX75" fmla="*/ 37488 w 4761797"/>
              <a:gd name="connsiteY75" fmla="*/ 599752 h 4409679"/>
              <a:gd name="connsiteX76" fmla="*/ 599751 w 4761797"/>
              <a:gd name="connsiteY76" fmla="*/ 74965 h 4409679"/>
              <a:gd name="connsiteX77" fmla="*/ 637239 w 4761797"/>
              <a:gd name="connsiteY77"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96327 w 4761797"/>
              <a:gd name="connsiteY50" fmla="*/ 1985696 h 4409679"/>
              <a:gd name="connsiteX51" fmla="*/ 1344072 w 4761797"/>
              <a:gd name="connsiteY51" fmla="*/ 1199974 h 4409679"/>
              <a:gd name="connsiteX52" fmla="*/ 2491383 w 4761797"/>
              <a:gd name="connsiteY52" fmla="*/ 779042 h 4409679"/>
              <a:gd name="connsiteX53" fmla="*/ 3075538 w 4761797"/>
              <a:gd name="connsiteY53" fmla="*/ 926370 h 4409679"/>
              <a:gd name="connsiteX54" fmla="*/ 3095617 w 4761797"/>
              <a:gd name="connsiteY54" fmla="*/ 937273 h 4409679"/>
              <a:gd name="connsiteX55" fmla="*/ 3095221 w 4761797"/>
              <a:gd name="connsiteY55" fmla="*/ 937420 h 4409679"/>
              <a:gd name="connsiteX56" fmla="*/ 3098039 w 4761797"/>
              <a:gd name="connsiteY56" fmla="*/ 938588 h 4409679"/>
              <a:gd name="connsiteX57" fmla="*/ 3148954 w 4761797"/>
              <a:gd name="connsiteY57" fmla="*/ 966233 h 4409679"/>
              <a:gd name="connsiteX58" fmla="*/ 3164715 w 4761797"/>
              <a:gd name="connsiteY58" fmla="*/ 966233 h 4409679"/>
              <a:gd name="connsiteX59" fmla="*/ 3098039 w 4761797"/>
              <a:gd name="connsiteY59" fmla="*/ 938588 h 4409679"/>
              <a:gd name="connsiteX60" fmla="*/ 3095617 w 4761797"/>
              <a:gd name="connsiteY60" fmla="*/ 937273 h 4409679"/>
              <a:gd name="connsiteX61" fmla="*/ 3229162 w 4761797"/>
              <a:gd name="connsiteY61" fmla="*/ 887670 h 4409679"/>
              <a:gd name="connsiteX62" fmla="*/ 3617024 w 4761797"/>
              <a:gd name="connsiteY62" fmla="*/ 787593 h 4409679"/>
              <a:gd name="connsiteX63" fmla="*/ 4165395 w 4761797"/>
              <a:gd name="connsiteY63" fmla="*/ 700025 h 4409679"/>
              <a:gd name="connsiteX64" fmla="*/ 637239 w 4761797"/>
              <a:gd name="connsiteY64" fmla="*/ 0 h 4409679"/>
              <a:gd name="connsiteX65" fmla="*/ 712216 w 4761797"/>
              <a:gd name="connsiteY65" fmla="*/ 74965 h 4409679"/>
              <a:gd name="connsiteX66" fmla="*/ 1237002 w 4761797"/>
              <a:gd name="connsiteY66" fmla="*/ 599752 h 4409679"/>
              <a:gd name="connsiteX67" fmla="*/ 1311967 w 4761797"/>
              <a:gd name="connsiteY67" fmla="*/ 674728 h 4409679"/>
              <a:gd name="connsiteX68" fmla="*/ 1237002 w 4761797"/>
              <a:gd name="connsiteY68" fmla="*/ 712216 h 4409679"/>
              <a:gd name="connsiteX69" fmla="*/ 712216 w 4761797"/>
              <a:gd name="connsiteY69" fmla="*/ 1274479 h 4409679"/>
              <a:gd name="connsiteX70" fmla="*/ 637239 w 4761797"/>
              <a:gd name="connsiteY70" fmla="*/ 1311967 h 4409679"/>
              <a:gd name="connsiteX71" fmla="*/ 599751 w 4761797"/>
              <a:gd name="connsiteY71" fmla="*/ 1274479 h 4409679"/>
              <a:gd name="connsiteX72" fmla="*/ 37488 w 4761797"/>
              <a:gd name="connsiteY72" fmla="*/ 712216 h 4409679"/>
              <a:gd name="connsiteX73" fmla="*/ 0 w 4761797"/>
              <a:gd name="connsiteY73" fmla="*/ 674728 h 4409679"/>
              <a:gd name="connsiteX74" fmla="*/ 37488 w 4761797"/>
              <a:gd name="connsiteY74" fmla="*/ 599752 h 4409679"/>
              <a:gd name="connsiteX75" fmla="*/ 599751 w 4761797"/>
              <a:gd name="connsiteY75" fmla="*/ 74965 h 4409679"/>
              <a:gd name="connsiteX76" fmla="*/ 637239 w 4761797"/>
              <a:gd name="connsiteY7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148954 w 4761797"/>
              <a:gd name="connsiteY56" fmla="*/ 966233 h 4409679"/>
              <a:gd name="connsiteX57" fmla="*/ 3164715 w 4761797"/>
              <a:gd name="connsiteY57" fmla="*/ 966233 h 4409679"/>
              <a:gd name="connsiteX58" fmla="*/ 3098039 w 4761797"/>
              <a:gd name="connsiteY58" fmla="*/ 938588 h 4409679"/>
              <a:gd name="connsiteX59" fmla="*/ 3095617 w 4761797"/>
              <a:gd name="connsiteY59" fmla="*/ 937273 h 4409679"/>
              <a:gd name="connsiteX60" fmla="*/ 3229162 w 4761797"/>
              <a:gd name="connsiteY60" fmla="*/ 887670 h 4409679"/>
              <a:gd name="connsiteX61" fmla="*/ 3617024 w 4761797"/>
              <a:gd name="connsiteY61" fmla="*/ 787593 h 4409679"/>
              <a:gd name="connsiteX62" fmla="*/ 4165395 w 4761797"/>
              <a:gd name="connsiteY62" fmla="*/ 700025 h 4409679"/>
              <a:gd name="connsiteX63" fmla="*/ 637239 w 4761797"/>
              <a:gd name="connsiteY63" fmla="*/ 0 h 4409679"/>
              <a:gd name="connsiteX64" fmla="*/ 712216 w 4761797"/>
              <a:gd name="connsiteY64" fmla="*/ 74965 h 4409679"/>
              <a:gd name="connsiteX65" fmla="*/ 1237002 w 4761797"/>
              <a:gd name="connsiteY65" fmla="*/ 599752 h 4409679"/>
              <a:gd name="connsiteX66" fmla="*/ 1311967 w 4761797"/>
              <a:gd name="connsiteY66" fmla="*/ 674728 h 4409679"/>
              <a:gd name="connsiteX67" fmla="*/ 1237002 w 4761797"/>
              <a:gd name="connsiteY67" fmla="*/ 712216 h 4409679"/>
              <a:gd name="connsiteX68" fmla="*/ 712216 w 4761797"/>
              <a:gd name="connsiteY68" fmla="*/ 1274479 h 4409679"/>
              <a:gd name="connsiteX69" fmla="*/ 637239 w 4761797"/>
              <a:gd name="connsiteY69" fmla="*/ 1311967 h 4409679"/>
              <a:gd name="connsiteX70" fmla="*/ 599751 w 4761797"/>
              <a:gd name="connsiteY70" fmla="*/ 1274479 h 4409679"/>
              <a:gd name="connsiteX71" fmla="*/ 37488 w 4761797"/>
              <a:gd name="connsiteY71" fmla="*/ 712216 h 4409679"/>
              <a:gd name="connsiteX72" fmla="*/ 0 w 4761797"/>
              <a:gd name="connsiteY72" fmla="*/ 674728 h 4409679"/>
              <a:gd name="connsiteX73" fmla="*/ 37488 w 4761797"/>
              <a:gd name="connsiteY73" fmla="*/ 599752 h 4409679"/>
              <a:gd name="connsiteX74" fmla="*/ 599751 w 4761797"/>
              <a:gd name="connsiteY74" fmla="*/ 74965 h 4409679"/>
              <a:gd name="connsiteX75" fmla="*/ 637239 w 4761797"/>
              <a:gd name="connsiteY75"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148954 w 4761797"/>
              <a:gd name="connsiteY56" fmla="*/ 966233 h 4409679"/>
              <a:gd name="connsiteX57" fmla="*/ 3098039 w 4761797"/>
              <a:gd name="connsiteY57" fmla="*/ 938588 h 4409679"/>
              <a:gd name="connsiteX58" fmla="*/ 3095617 w 4761797"/>
              <a:gd name="connsiteY58" fmla="*/ 937273 h 4409679"/>
              <a:gd name="connsiteX59" fmla="*/ 3229162 w 4761797"/>
              <a:gd name="connsiteY59" fmla="*/ 887670 h 4409679"/>
              <a:gd name="connsiteX60" fmla="*/ 3617024 w 4761797"/>
              <a:gd name="connsiteY60" fmla="*/ 787593 h 4409679"/>
              <a:gd name="connsiteX61" fmla="*/ 4165395 w 4761797"/>
              <a:gd name="connsiteY61" fmla="*/ 700025 h 4409679"/>
              <a:gd name="connsiteX62" fmla="*/ 637239 w 4761797"/>
              <a:gd name="connsiteY62" fmla="*/ 0 h 4409679"/>
              <a:gd name="connsiteX63" fmla="*/ 712216 w 4761797"/>
              <a:gd name="connsiteY63" fmla="*/ 74965 h 4409679"/>
              <a:gd name="connsiteX64" fmla="*/ 1237002 w 4761797"/>
              <a:gd name="connsiteY64" fmla="*/ 599752 h 4409679"/>
              <a:gd name="connsiteX65" fmla="*/ 1311967 w 4761797"/>
              <a:gd name="connsiteY65" fmla="*/ 674728 h 4409679"/>
              <a:gd name="connsiteX66" fmla="*/ 1237002 w 4761797"/>
              <a:gd name="connsiteY66" fmla="*/ 712216 h 4409679"/>
              <a:gd name="connsiteX67" fmla="*/ 712216 w 4761797"/>
              <a:gd name="connsiteY67" fmla="*/ 1274479 h 4409679"/>
              <a:gd name="connsiteX68" fmla="*/ 637239 w 4761797"/>
              <a:gd name="connsiteY68" fmla="*/ 1311967 h 4409679"/>
              <a:gd name="connsiteX69" fmla="*/ 599751 w 4761797"/>
              <a:gd name="connsiteY69" fmla="*/ 1274479 h 4409679"/>
              <a:gd name="connsiteX70" fmla="*/ 37488 w 4761797"/>
              <a:gd name="connsiteY70" fmla="*/ 712216 h 4409679"/>
              <a:gd name="connsiteX71" fmla="*/ 0 w 4761797"/>
              <a:gd name="connsiteY71" fmla="*/ 674728 h 4409679"/>
              <a:gd name="connsiteX72" fmla="*/ 37488 w 4761797"/>
              <a:gd name="connsiteY72" fmla="*/ 599752 h 4409679"/>
              <a:gd name="connsiteX73" fmla="*/ 599751 w 4761797"/>
              <a:gd name="connsiteY73" fmla="*/ 74965 h 4409679"/>
              <a:gd name="connsiteX74" fmla="*/ 637239 w 4761797"/>
              <a:gd name="connsiteY74"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098039 w 4761797"/>
              <a:gd name="connsiteY56" fmla="*/ 938588 h 4409679"/>
              <a:gd name="connsiteX57" fmla="*/ 3095617 w 4761797"/>
              <a:gd name="connsiteY57" fmla="*/ 937273 h 4409679"/>
              <a:gd name="connsiteX58" fmla="*/ 3229162 w 4761797"/>
              <a:gd name="connsiteY58" fmla="*/ 887670 h 4409679"/>
              <a:gd name="connsiteX59" fmla="*/ 3617024 w 4761797"/>
              <a:gd name="connsiteY59" fmla="*/ 787593 h 4409679"/>
              <a:gd name="connsiteX60" fmla="*/ 4165395 w 4761797"/>
              <a:gd name="connsiteY60" fmla="*/ 700025 h 4409679"/>
              <a:gd name="connsiteX61" fmla="*/ 637239 w 4761797"/>
              <a:gd name="connsiteY61" fmla="*/ 0 h 4409679"/>
              <a:gd name="connsiteX62" fmla="*/ 712216 w 4761797"/>
              <a:gd name="connsiteY62" fmla="*/ 74965 h 4409679"/>
              <a:gd name="connsiteX63" fmla="*/ 1237002 w 4761797"/>
              <a:gd name="connsiteY63" fmla="*/ 599752 h 4409679"/>
              <a:gd name="connsiteX64" fmla="*/ 1311967 w 4761797"/>
              <a:gd name="connsiteY64" fmla="*/ 674728 h 4409679"/>
              <a:gd name="connsiteX65" fmla="*/ 1237002 w 4761797"/>
              <a:gd name="connsiteY65" fmla="*/ 712216 h 4409679"/>
              <a:gd name="connsiteX66" fmla="*/ 712216 w 4761797"/>
              <a:gd name="connsiteY66" fmla="*/ 1274479 h 4409679"/>
              <a:gd name="connsiteX67" fmla="*/ 637239 w 4761797"/>
              <a:gd name="connsiteY67" fmla="*/ 1311967 h 4409679"/>
              <a:gd name="connsiteX68" fmla="*/ 599751 w 4761797"/>
              <a:gd name="connsiteY68" fmla="*/ 1274479 h 4409679"/>
              <a:gd name="connsiteX69" fmla="*/ 37488 w 4761797"/>
              <a:gd name="connsiteY69" fmla="*/ 712216 h 4409679"/>
              <a:gd name="connsiteX70" fmla="*/ 0 w 4761797"/>
              <a:gd name="connsiteY70" fmla="*/ 674728 h 4409679"/>
              <a:gd name="connsiteX71" fmla="*/ 37488 w 4761797"/>
              <a:gd name="connsiteY71" fmla="*/ 599752 h 4409679"/>
              <a:gd name="connsiteX72" fmla="*/ 599751 w 4761797"/>
              <a:gd name="connsiteY72" fmla="*/ 74965 h 4409679"/>
              <a:gd name="connsiteX73" fmla="*/ 637239 w 4761797"/>
              <a:gd name="connsiteY73"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098039 w 4761797"/>
              <a:gd name="connsiteY56" fmla="*/ 938588 h 4409679"/>
              <a:gd name="connsiteX57" fmla="*/ 3229162 w 4761797"/>
              <a:gd name="connsiteY57" fmla="*/ 887670 h 4409679"/>
              <a:gd name="connsiteX58" fmla="*/ 3617024 w 4761797"/>
              <a:gd name="connsiteY58" fmla="*/ 787593 h 4409679"/>
              <a:gd name="connsiteX59" fmla="*/ 4165395 w 4761797"/>
              <a:gd name="connsiteY59" fmla="*/ 700025 h 4409679"/>
              <a:gd name="connsiteX60" fmla="*/ 637239 w 4761797"/>
              <a:gd name="connsiteY60" fmla="*/ 0 h 4409679"/>
              <a:gd name="connsiteX61" fmla="*/ 712216 w 4761797"/>
              <a:gd name="connsiteY61" fmla="*/ 74965 h 4409679"/>
              <a:gd name="connsiteX62" fmla="*/ 1237002 w 4761797"/>
              <a:gd name="connsiteY62" fmla="*/ 599752 h 4409679"/>
              <a:gd name="connsiteX63" fmla="*/ 1311967 w 4761797"/>
              <a:gd name="connsiteY63" fmla="*/ 674728 h 4409679"/>
              <a:gd name="connsiteX64" fmla="*/ 1237002 w 4761797"/>
              <a:gd name="connsiteY64" fmla="*/ 712216 h 4409679"/>
              <a:gd name="connsiteX65" fmla="*/ 712216 w 4761797"/>
              <a:gd name="connsiteY65" fmla="*/ 1274479 h 4409679"/>
              <a:gd name="connsiteX66" fmla="*/ 637239 w 4761797"/>
              <a:gd name="connsiteY66" fmla="*/ 1311967 h 4409679"/>
              <a:gd name="connsiteX67" fmla="*/ 599751 w 4761797"/>
              <a:gd name="connsiteY67" fmla="*/ 1274479 h 4409679"/>
              <a:gd name="connsiteX68" fmla="*/ 37488 w 4761797"/>
              <a:gd name="connsiteY68" fmla="*/ 712216 h 4409679"/>
              <a:gd name="connsiteX69" fmla="*/ 0 w 4761797"/>
              <a:gd name="connsiteY69" fmla="*/ 674728 h 4409679"/>
              <a:gd name="connsiteX70" fmla="*/ 37488 w 4761797"/>
              <a:gd name="connsiteY70" fmla="*/ 599752 h 4409679"/>
              <a:gd name="connsiteX71" fmla="*/ 599751 w 4761797"/>
              <a:gd name="connsiteY71" fmla="*/ 74965 h 4409679"/>
              <a:gd name="connsiteX72" fmla="*/ 637239 w 4761797"/>
              <a:gd name="connsiteY72"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229162 w 4761797"/>
              <a:gd name="connsiteY56" fmla="*/ 887670 h 4409679"/>
              <a:gd name="connsiteX57" fmla="*/ 3617024 w 4761797"/>
              <a:gd name="connsiteY57" fmla="*/ 787593 h 4409679"/>
              <a:gd name="connsiteX58" fmla="*/ 4165395 w 4761797"/>
              <a:gd name="connsiteY58" fmla="*/ 700025 h 4409679"/>
              <a:gd name="connsiteX59" fmla="*/ 637239 w 4761797"/>
              <a:gd name="connsiteY59" fmla="*/ 0 h 4409679"/>
              <a:gd name="connsiteX60" fmla="*/ 712216 w 4761797"/>
              <a:gd name="connsiteY60" fmla="*/ 74965 h 4409679"/>
              <a:gd name="connsiteX61" fmla="*/ 1237002 w 4761797"/>
              <a:gd name="connsiteY61" fmla="*/ 599752 h 4409679"/>
              <a:gd name="connsiteX62" fmla="*/ 1311967 w 4761797"/>
              <a:gd name="connsiteY62" fmla="*/ 674728 h 4409679"/>
              <a:gd name="connsiteX63" fmla="*/ 1237002 w 4761797"/>
              <a:gd name="connsiteY63" fmla="*/ 712216 h 4409679"/>
              <a:gd name="connsiteX64" fmla="*/ 712216 w 4761797"/>
              <a:gd name="connsiteY64" fmla="*/ 1274479 h 4409679"/>
              <a:gd name="connsiteX65" fmla="*/ 637239 w 4761797"/>
              <a:gd name="connsiteY65" fmla="*/ 1311967 h 4409679"/>
              <a:gd name="connsiteX66" fmla="*/ 599751 w 4761797"/>
              <a:gd name="connsiteY66" fmla="*/ 1274479 h 4409679"/>
              <a:gd name="connsiteX67" fmla="*/ 37488 w 4761797"/>
              <a:gd name="connsiteY67" fmla="*/ 712216 h 4409679"/>
              <a:gd name="connsiteX68" fmla="*/ 0 w 4761797"/>
              <a:gd name="connsiteY68" fmla="*/ 674728 h 4409679"/>
              <a:gd name="connsiteX69" fmla="*/ 37488 w 4761797"/>
              <a:gd name="connsiteY69" fmla="*/ 599752 h 4409679"/>
              <a:gd name="connsiteX70" fmla="*/ 599751 w 4761797"/>
              <a:gd name="connsiteY70" fmla="*/ 74965 h 4409679"/>
              <a:gd name="connsiteX71" fmla="*/ 637239 w 4761797"/>
              <a:gd name="connsiteY71"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466595 w 4761797"/>
              <a:gd name="connsiteY17" fmla="*/ 1193397 h 4409679"/>
              <a:gd name="connsiteX18" fmla="*/ 3582738 w 4761797"/>
              <a:gd name="connsiteY18" fmla="*/ 1312220 h 4409679"/>
              <a:gd name="connsiteX19" fmla="*/ 3881231 w 4761797"/>
              <a:gd name="connsiteY19" fmla="*/ 1761204 h 4409679"/>
              <a:gd name="connsiteX20" fmla="*/ 3806611 w 4761797"/>
              <a:gd name="connsiteY20" fmla="*/ 1873450 h 4409679"/>
              <a:gd name="connsiteX21" fmla="*/ 2649956 w 4761797"/>
              <a:gd name="connsiteY21" fmla="*/ 2734000 h 4409679"/>
              <a:gd name="connsiteX22" fmla="*/ 1344072 w 4761797"/>
              <a:gd name="connsiteY22" fmla="*/ 3370057 h 4409679"/>
              <a:gd name="connsiteX23" fmla="*/ 1232136 w 4761797"/>
              <a:gd name="connsiteY23" fmla="*/ 3407476 h 4409679"/>
              <a:gd name="connsiteX24" fmla="*/ 882338 w 4761797"/>
              <a:gd name="connsiteY24" fmla="*/ 2752706 h 4409679"/>
              <a:gd name="connsiteX25" fmla="*/ 856367 w 4761797"/>
              <a:gd name="connsiteY25" fmla="*/ 2610450 h 4409679"/>
              <a:gd name="connsiteX26" fmla="*/ 858908 w 4761797"/>
              <a:gd name="connsiteY26" fmla="*/ 2697843 h 4409679"/>
              <a:gd name="connsiteX27" fmla="*/ 374375 w 4761797"/>
              <a:gd name="connsiteY27" fmla="*/ 3596787 h 4409679"/>
              <a:gd name="connsiteX28" fmla="*/ 1417980 w 4761797"/>
              <a:gd name="connsiteY28" fmla="*/ 3559334 h 4409679"/>
              <a:gd name="connsiteX29" fmla="*/ 2759768 w 4761797"/>
              <a:gd name="connsiteY29" fmla="*/ 2922576 h 4409679"/>
              <a:gd name="connsiteX30" fmla="*/ 3952465 w 4761797"/>
              <a:gd name="connsiteY30" fmla="*/ 2023632 h 4409679"/>
              <a:gd name="connsiteX31" fmla="*/ 4138826 w 4761797"/>
              <a:gd name="connsiteY31" fmla="*/ 1798899 h 4409679"/>
              <a:gd name="connsiteX32" fmla="*/ 4474268 w 4761797"/>
              <a:gd name="connsiteY32" fmla="*/ 1087234 h 4409679"/>
              <a:gd name="connsiteX33" fmla="*/ 4138826 w 4761797"/>
              <a:gd name="connsiteY33" fmla="*/ 974873 h 4409679"/>
              <a:gd name="connsiteX34" fmla="*/ 4165395 w 4761797"/>
              <a:gd name="connsiteY34" fmla="*/ 700025 h 4409679"/>
              <a:gd name="connsiteX35" fmla="*/ 4311207 w 4761797"/>
              <a:gd name="connsiteY35" fmla="*/ 708003 h 4409679"/>
              <a:gd name="connsiteX36" fmla="*/ 4697899 w 4761797"/>
              <a:gd name="connsiteY36" fmla="*/ 937420 h 4409679"/>
              <a:gd name="connsiteX37" fmla="*/ 4362458 w 4761797"/>
              <a:gd name="connsiteY37" fmla="*/ 1986178 h 4409679"/>
              <a:gd name="connsiteX38" fmla="*/ 3989735 w 4761797"/>
              <a:gd name="connsiteY38" fmla="*/ 2360738 h 4409679"/>
              <a:gd name="connsiteX39" fmla="*/ 3989253 w 4761797"/>
              <a:gd name="connsiteY39" fmla="*/ 2361116 h 4409679"/>
              <a:gd name="connsiteX40" fmla="*/ 3943902 w 4761797"/>
              <a:gd name="connsiteY40" fmla="*/ 2721741 h 4409679"/>
              <a:gd name="connsiteX41" fmla="*/ 3841218 w 4761797"/>
              <a:gd name="connsiteY41" fmla="*/ 3064677 h 4409679"/>
              <a:gd name="connsiteX42" fmla="*/ 2318452 w 4761797"/>
              <a:gd name="connsiteY42" fmla="*/ 3936717 h 4409679"/>
              <a:gd name="connsiteX43" fmla="*/ 1721994 w 4761797"/>
              <a:gd name="connsiteY43" fmla="*/ 3781140 h 4409679"/>
              <a:gd name="connsiteX44" fmla="*/ 1716163 w 4761797"/>
              <a:gd name="connsiteY44" fmla="*/ 3784067 h 4409679"/>
              <a:gd name="connsiteX45" fmla="*/ 709817 w 4761797"/>
              <a:gd name="connsiteY45" fmla="*/ 4008800 h 4409679"/>
              <a:gd name="connsiteX46" fmla="*/ 113474 w 4761797"/>
              <a:gd name="connsiteY46" fmla="*/ 3746613 h 4409679"/>
              <a:gd name="connsiteX47" fmla="*/ 821638 w 4761797"/>
              <a:gd name="connsiteY47" fmla="*/ 2323284 h 4409679"/>
              <a:gd name="connsiteX48" fmla="*/ 896327 w 4761797"/>
              <a:gd name="connsiteY48" fmla="*/ 1985696 h 4409679"/>
              <a:gd name="connsiteX49" fmla="*/ 1344072 w 4761797"/>
              <a:gd name="connsiteY49" fmla="*/ 1199974 h 4409679"/>
              <a:gd name="connsiteX50" fmla="*/ 2491383 w 4761797"/>
              <a:gd name="connsiteY50" fmla="*/ 779042 h 4409679"/>
              <a:gd name="connsiteX51" fmla="*/ 3075538 w 4761797"/>
              <a:gd name="connsiteY51" fmla="*/ 926370 h 4409679"/>
              <a:gd name="connsiteX52" fmla="*/ 3095617 w 4761797"/>
              <a:gd name="connsiteY52" fmla="*/ 937273 h 4409679"/>
              <a:gd name="connsiteX53" fmla="*/ 3095221 w 4761797"/>
              <a:gd name="connsiteY53" fmla="*/ 937420 h 4409679"/>
              <a:gd name="connsiteX54" fmla="*/ 3098039 w 4761797"/>
              <a:gd name="connsiteY54" fmla="*/ 938588 h 4409679"/>
              <a:gd name="connsiteX55" fmla="*/ 3229162 w 4761797"/>
              <a:gd name="connsiteY55" fmla="*/ 887670 h 4409679"/>
              <a:gd name="connsiteX56" fmla="*/ 3617024 w 4761797"/>
              <a:gd name="connsiteY56" fmla="*/ 787593 h 4409679"/>
              <a:gd name="connsiteX57" fmla="*/ 4165395 w 4761797"/>
              <a:gd name="connsiteY57" fmla="*/ 700025 h 4409679"/>
              <a:gd name="connsiteX58" fmla="*/ 637239 w 4761797"/>
              <a:gd name="connsiteY58" fmla="*/ 0 h 4409679"/>
              <a:gd name="connsiteX59" fmla="*/ 712216 w 4761797"/>
              <a:gd name="connsiteY59" fmla="*/ 74965 h 4409679"/>
              <a:gd name="connsiteX60" fmla="*/ 1237002 w 4761797"/>
              <a:gd name="connsiteY60" fmla="*/ 599752 h 4409679"/>
              <a:gd name="connsiteX61" fmla="*/ 1311967 w 4761797"/>
              <a:gd name="connsiteY61" fmla="*/ 674728 h 4409679"/>
              <a:gd name="connsiteX62" fmla="*/ 1237002 w 4761797"/>
              <a:gd name="connsiteY62" fmla="*/ 712216 h 4409679"/>
              <a:gd name="connsiteX63" fmla="*/ 712216 w 4761797"/>
              <a:gd name="connsiteY63" fmla="*/ 1274479 h 4409679"/>
              <a:gd name="connsiteX64" fmla="*/ 637239 w 4761797"/>
              <a:gd name="connsiteY64" fmla="*/ 1311967 h 4409679"/>
              <a:gd name="connsiteX65" fmla="*/ 599751 w 4761797"/>
              <a:gd name="connsiteY65" fmla="*/ 1274479 h 4409679"/>
              <a:gd name="connsiteX66" fmla="*/ 37488 w 4761797"/>
              <a:gd name="connsiteY66" fmla="*/ 712216 h 4409679"/>
              <a:gd name="connsiteX67" fmla="*/ 0 w 4761797"/>
              <a:gd name="connsiteY67" fmla="*/ 674728 h 4409679"/>
              <a:gd name="connsiteX68" fmla="*/ 37488 w 4761797"/>
              <a:gd name="connsiteY68" fmla="*/ 599752 h 4409679"/>
              <a:gd name="connsiteX69" fmla="*/ 599751 w 4761797"/>
              <a:gd name="connsiteY69" fmla="*/ 74965 h 4409679"/>
              <a:gd name="connsiteX70" fmla="*/ 637239 w 4761797"/>
              <a:gd name="connsiteY70"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6367 w 4761797"/>
              <a:gd name="connsiteY24" fmla="*/ 2610450 h 4409679"/>
              <a:gd name="connsiteX25" fmla="*/ 858908 w 4761797"/>
              <a:gd name="connsiteY25" fmla="*/ 2697843 h 4409679"/>
              <a:gd name="connsiteX26" fmla="*/ 374375 w 4761797"/>
              <a:gd name="connsiteY26" fmla="*/ 3596787 h 4409679"/>
              <a:gd name="connsiteX27" fmla="*/ 1417980 w 4761797"/>
              <a:gd name="connsiteY27" fmla="*/ 3559334 h 4409679"/>
              <a:gd name="connsiteX28" fmla="*/ 2759768 w 4761797"/>
              <a:gd name="connsiteY28" fmla="*/ 2922576 h 4409679"/>
              <a:gd name="connsiteX29" fmla="*/ 3952465 w 4761797"/>
              <a:gd name="connsiteY29" fmla="*/ 2023632 h 4409679"/>
              <a:gd name="connsiteX30" fmla="*/ 4138826 w 4761797"/>
              <a:gd name="connsiteY30" fmla="*/ 1798899 h 4409679"/>
              <a:gd name="connsiteX31" fmla="*/ 4474268 w 4761797"/>
              <a:gd name="connsiteY31" fmla="*/ 1087234 h 4409679"/>
              <a:gd name="connsiteX32" fmla="*/ 4138826 w 4761797"/>
              <a:gd name="connsiteY32" fmla="*/ 974873 h 4409679"/>
              <a:gd name="connsiteX33" fmla="*/ 4165395 w 4761797"/>
              <a:gd name="connsiteY33" fmla="*/ 700025 h 4409679"/>
              <a:gd name="connsiteX34" fmla="*/ 4311207 w 4761797"/>
              <a:gd name="connsiteY34" fmla="*/ 708003 h 4409679"/>
              <a:gd name="connsiteX35" fmla="*/ 4697899 w 4761797"/>
              <a:gd name="connsiteY35" fmla="*/ 937420 h 4409679"/>
              <a:gd name="connsiteX36" fmla="*/ 4362458 w 4761797"/>
              <a:gd name="connsiteY36" fmla="*/ 1986178 h 4409679"/>
              <a:gd name="connsiteX37" fmla="*/ 3989735 w 4761797"/>
              <a:gd name="connsiteY37" fmla="*/ 2360738 h 4409679"/>
              <a:gd name="connsiteX38" fmla="*/ 3989253 w 4761797"/>
              <a:gd name="connsiteY38" fmla="*/ 2361116 h 4409679"/>
              <a:gd name="connsiteX39" fmla="*/ 3943902 w 4761797"/>
              <a:gd name="connsiteY39" fmla="*/ 2721741 h 4409679"/>
              <a:gd name="connsiteX40" fmla="*/ 3841218 w 4761797"/>
              <a:gd name="connsiteY40" fmla="*/ 3064677 h 4409679"/>
              <a:gd name="connsiteX41" fmla="*/ 2318452 w 4761797"/>
              <a:gd name="connsiteY41" fmla="*/ 3936717 h 4409679"/>
              <a:gd name="connsiteX42" fmla="*/ 1721994 w 4761797"/>
              <a:gd name="connsiteY42" fmla="*/ 3781140 h 4409679"/>
              <a:gd name="connsiteX43" fmla="*/ 1716163 w 4761797"/>
              <a:gd name="connsiteY43" fmla="*/ 3784067 h 4409679"/>
              <a:gd name="connsiteX44" fmla="*/ 709817 w 4761797"/>
              <a:gd name="connsiteY44" fmla="*/ 4008800 h 4409679"/>
              <a:gd name="connsiteX45" fmla="*/ 113474 w 4761797"/>
              <a:gd name="connsiteY45" fmla="*/ 3746613 h 4409679"/>
              <a:gd name="connsiteX46" fmla="*/ 821638 w 4761797"/>
              <a:gd name="connsiteY46" fmla="*/ 2323284 h 4409679"/>
              <a:gd name="connsiteX47" fmla="*/ 896327 w 4761797"/>
              <a:gd name="connsiteY47" fmla="*/ 1985696 h 4409679"/>
              <a:gd name="connsiteX48" fmla="*/ 1344072 w 4761797"/>
              <a:gd name="connsiteY48" fmla="*/ 1199974 h 4409679"/>
              <a:gd name="connsiteX49" fmla="*/ 2491383 w 4761797"/>
              <a:gd name="connsiteY49" fmla="*/ 779042 h 4409679"/>
              <a:gd name="connsiteX50" fmla="*/ 3075538 w 4761797"/>
              <a:gd name="connsiteY50" fmla="*/ 926370 h 4409679"/>
              <a:gd name="connsiteX51" fmla="*/ 3095617 w 4761797"/>
              <a:gd name="connsiteY51" fmla="*/ 937273 h 4409679"/>
              <a:gd name="connsiteX52" fmla="*/ 3095221 w 4761797"/>
              <a:gd name="connsiteY52" fmla="*/ 937420 h 4409679"/>
              <a:gd name="connsiteX53" fmla="*/ 3098039 w 4761797"/>
              <a:gd name="connsiteY53" fmla="*/ 938588 h 4409679"/>
              <a:gd name="connsiteX54" fmla="*/ 3229162 w 4761797"/>
              <a:gd name="connsiteY54" fmla="*/ 887670 h 4409679"/>
              <a:gd name="connsiteX55" fmla="*/ 3617024 w 4761797"/>
              <a:gd name="connsiteY55" fmla="*/ 787593 h 4409679"/>
              <a:gd name="connsiteX56" fmla="*/ 4165395 w 4761797"/>
              <a:gd name="connsiteY56" fmla="*/ 700025 h 4409679"/>
              <a:gd name="connsiteX57" fmla="*/ 637239 w 4761797"/>
              <a:gd name="connsiteY57" fmla="*/ 0 h 4409679"/>
              <a:gd name="connsiteX58" fmla="*/ 712216 w 4761797"/>
              <a:gd name="connsiteY58" fmla="*/ 74965 h 4409679"/>
              <a:gd name="connsiteX59" fmla="*/ 1237002 w 4761797"/>
              <a:gd name="connsiteY59" fmla="*/ 599752 h 4409679"/>
              <a:gd name="connsiteX60" fmla="*/ 1311967 w 4761797"/>
              <a:gd name="connsiteY60" fmla="*/ 674728 h 4409679"/>
              <a:gd name="connsiteX61" fmla="*/ 1237002 w 4761797"/>
              <a:gd name="connsiteY61" fmla="*/ 712216 h 4409679"/>
              <a:gd name="connsiteX62" fmla="*/ 712216 w 4761797"/>
              <a:gd name="connsiteY62" fmla="*/ 1274479 h 4409679"/>
              <a:gd name="connsiteX63" fmla="*/ 637239 w 4761797"/>
              <a:gd name="connsiteY63" fmla="*/ 1311967 h 4409679"/>
              <a:gd name="connsiteX64" fmla="*/ 599751 w 4761797"/>
              <a:gd name="connsiteY64" fmla="*/ 1274479 h 4409679"/>
              <a:gd name="connsiteX65" fmla="*/ 37488 w 4761797"/>
              <a:gd name="connsiteY65" fmla="*/ 712216 h 4409679"/>
              <a:gd name="connsiteX66" fmla="*/ 0 w 4761797"/>
              <a:gd name="connsiteY66" fmla="*/ 674728 h 4409679"/>
              <a:gd name="connsiteX67" fmla="*/ 37488 w 4761797"/>
              <a:gd name="connsiteY67" fmla="*/ 599752 h 4409679"/>
              <a:gd name="connsiteX68" fmla="*/ 599751 w 4761797"/>
              <a:gd name="connsiteY68" fmla="*/ 74965 h 4409679"/>
              <a:gd name="connsiteX69" fmla="*/ 637239 w 4761797"/>
              <a:gd name="connsiteY69"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6367 w 4761797"/>
              <a:gd name="connsiteY24" fmla="*/ 2610450 h 4409679"/>
              <a:gd name="connsiteX25" fmla="*/ 858908 w 4761797"/>
              <a:gd name="connsiteY25" fmla="*/ 2697843 h 4409679"/>
              <a:gd name="connsiteX26" fmla="*/ 374375 w 4761797"/>
              <a:gd name="connsiteY26" fmla="*/ 3596787 h 4409679"/>
              <a:gd name="connsiteX27" fmla="*/ 1417980 w 4761797"/>
              <a:gd name="connsiteY27" fmla="*/ 3559334 h 4409679"/>
              <a:gd name="connsiteX28" fmla="*/ 2759768 w 4761797"/>
              <a:gd name="connsiteY28" fmla="*/ 2922576 h 4409679"/>
              <a:gd name="connsiteX29" fmla="*/ 3952465 w 4761797"/>
              <a:gd name="connsiteY29" fmla="*/ 2023632 h 4409679"/>
              <a:gd name="connsiteX30" fmla="*/ 4138826 w 4761797"/>
              <a:gd name="connsiteY30" fmla="*/ 1798899 h 4409679"/>
              <a:gd name="connsiteX31" fmla="*/ 4474268 w 4761797"/>
              <a:gd name="connsiteY31" fmla="*/ 1087234 h 4409679"/>
              <a:gd name="connsiteX32" fmla="*/ 4138826 w 4761797"/>
              <a:gd name="connsiteY32" fmla="*/ 974873 h 4409679"/>
              <a:gd name="connsiteX33" fmla="*/ 4165395 w 4761797"/>
              <a:gd name="connsiteY33" fmla="*/ 700025 h 4409679"/>
              <a:gd name="connsiteX34" fmla="*/ 4311207 w 4761797"/>
              <a:gd name="connsiteY34" fmla="*/ 708003 h 4409679"/>
              <a:gd name="connsiteX35" fmla="*/ 4697899 w 4761797"/>
              <a:gd name="connsiteY35" fmla="*/ 937420 h 4409679"/>
              <a:gd name="connsiteX36" fmla="*/ 4362458 w 4761797"/>
              <a:gd name="connsiteY36" fmla="*/ 1986178 h 4409679"/>
              <a:gd name="connsiteX37" fmla="*/ 3989735 w 4761797"/>
              <a:gd name="connsiteY37" fmla="*/ 2360738 h 4409679"/>
              <a:gd name="connsiteX38" fmla="*/ 3989253 w 4761797"/>
              <a:gd name="connsiteY38" fmla="*/ 2361116 h 4409679"/>
              <a:gd name="connsiteX39" fmla="*/ 3943902 w 4761797"/>
              <a:gd name="connsiteY39" fmla="*/ 2721741 h 4409679"/>
              <a:gd name="connsiteX40" fmla="*/ 3841218 w 4761797"/>
              <a:gd name="connsiteY40" fmla="*/ 3064677 h 4409679"/>
              <a:gd name="connsiteX41" fmla="*/ 2318452 w 4761797"/>
              <a:gd name="connsiteY41" fmla="*/ 3936717 h 4409679"/>
              <a:gd name="connsiteX42" fmla="*/ 1721994 w 4761797"/>
              <a:gd name="connsiteY42" fmla="*/ 3781140 h 4409679"/>
              <a:gd name="connsiteX43" fmla="*/ 1716163 w 4761797"/>
              <a:gd name="connsiteY43" fmla="*/ 3784067 h 4409679"/>
              <a:gd name="connsiteX44" fmla="*/ 709817 w 4761797"/>
              <a:gd name="connsiteY44" fmla="*/ 4008800 h 4409679"/>
              <a:gd name="connsiteX45" fmla="*/ 113474 w 4761797"/>
              <a:gd name="connsiteY45" fmla="*/ 3746613 h 4409679"/>
              <a:gd name="connsiteX46" fmla="*/ 821638 w 4761797"/>
              <a:gd name="connsiteY46" fmla="*/ 2323284 h 4409679"/>
              <a:gd name="connsiteX47" fmla="*/ 896327 w 4761797"/>
              <a:gd name="connsiteY47" fmla="*/ 1985696 h 4409679"/>
              <a:gd name="connsiteX48" fmla="*/ 1344072 w 4761797"/>
              <a:gd name="connsiteY48" fmla="*/ 1199974 h 4409679"/>
              <a:gd name="connsiteX49" fmla="*/ 2491383 w 4761797"/>
              <a:gd name="connsiteY49" fmla="*/ 779042 h 4409679"/>
              <a:gd name="connsiteX50" fmla="*/ 3075538 w 4761797"/>
              <a:gd name="connsiteY50" fmla="*/ 926370 h 4409679"/>
              <a:gd name="connsiteX51" fmla="*/ 3095617 w 4761797"/>
              <a:gd name="connsiteY51" fmla="*/ 937273 h 4409679"/>
              <a:gd name="connsiteX52" fmla="*/ 3095221 w 4761797"/>
              <a:gd name="connsiteY52" fmla="*/ 937420 h 4409679"/>
              <a:gd name="connsiteX53" fmla="*/ 3229162 w 4761797"/>
              <a:gd name="connsiteY53" fmla="*/ 887670 h 4409679"/>
              <a:gd name="connsiteX54" fmla="*/ 3617024 w 4761797"/>
              <a:gd name="connsiteY54" fmla="*/ 787593 h 4409679"/>
              <a:gd name="connsiteX55" fmla="*/ 4165395 w 4761797"/>
              <a:gd name="connsiteY55" fmla="*/ 700025 h 4409679"/>
              <a:gd name="connsiteX56" fmla="*/ 637239 w 4761797"/>
              <a:gd name="connsiteY56" fmla="*/ 0 h 4409679"/>
              <a:gd name="connsiteX57" fmla="*/ 712216 w 4761797"/>
              <a:gd name="connsiteY57" fmla="*/ 74965 h 4409679"/>
              <a:gd name="connsiteX58" fmla="*/ 1237002 w 4761797"/>
              <a:gd name="connsiteY58" fmla="*/ 599752 h 4409679"/>
              <a:gd name="connsiteX59" fmla="*/ 1311967 w 4761797"/>
              <a:gd name="connsiteY59" fmla="*/ 674728 h 4409679"/>
              <a:gd name="connsiteX60" fmla="*/ 1237002 w 4761797"/>
              <a:gd name="connsiteY60" fmla="*/ 712216 h 4409679"/>
              <a:gd name="connsiteX61" fmla="*/ 712216 w 4761797"/>
              <a:gd name="connsiteY61" fmla="*/ 1274479 h 4409679"/>
              <a:gd name="connsiteX62" fmla="*/ 637239 w 4761797"/>
              <a:gd name="connsiteY62" fmla="*/ 1311967 h 4409679"/>
              <a:gd name="connsiteX63" fmla="*/ 599751 w 4761797"/>
              <a:gd name="connsiteY63" fmla="*/ 1274479 h 4409679"/>
              <a:gd name="connsiteX64" fmla="*/ 37488 w 4761797"/>
              <a:gd name="connsiteY64" fmla="*/ 712216 h 4409679"/>
              <a:gd name="connsiteX65" fmla="*/ 0 w 4761797"/>
              <a:gd name="connsiteY65" fmla="*/ 674728 h 4409679"/>
              <a:gd name="connsiteX66" fmla="*/ 37488 w 4761797"/>
              <a:gd name="connsiteY66" fmla="*/ 599752 h 4409679"/>
              <a:gd name="connsiteX67" fmla="*/ 599751 w 4761797"/>
              <a:gd name="connsiteY67" fmla="*/ 74965 h 4409679"/>
              <a:gd name="connsiteX68" fmla="*/ 637239 w 4761797"/>
              <a:gd name="connsiteY68"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6367 w 4761797"/>
              <a:gd name="connsiteY24" fmla="*/ 2610450 h 4409679"/>
              <a:gd name="connsiteX25" fmla="*/ 858908 w 4761797"/>
              <a:gd name="connsiteY25" fmla="*/ 2697843 h 4409679"/>
              <a:gd name="connsiteX26" fmla="*/ 374375 w 4761797"/>
              <a:gd name="connsiteY26" fmla="*/ 3596787 h 4409679"/>
              <a:gd name="connsiteX27" fmla="*/ 1417980 w 4761797"/>
              <a:gd name="connsiteY27" fmla="*/ 3559334 h 4409679"/>
              <a:gd name="connsiteX28" fmla="*/ 2759768 w 4761797"/>
              <a:gd name="connsiteY28" fmla="*/ 2922576 h 4409679"/>
              <a:gd name="connsiteX29" fmla="*/ 3952465 w 4761797"/>
              <a:gd name="connsiteY29" fmla="*/ 2023632 h 4409679"/>
              <a:gd name="connsiteX30" fmla="*/ 4138826 w 4761797"/>
              <a:gd name="connsiteY30" fmla="*/ 1798899 h 4409679"/>
              <a:gd name="connsiteX31" fmla="*/ 4474268 w 4761797"/>
              <a:gd name="connsiteY31" fmla="*/ 1087234 h 4409679"/>
              <a:gd name="connsiteX32" fmla="*/ 4138826 w 4761797"/>
              <a:gd name="connsiteY32" fmla="*/ 974873 h 4409679"/>
              <a:gd name="connsiteX33" fmla="*/ 4165395 w 4761797"/>
              <a:gd name="connsiteY33" fmla="*/ 700025 h 4409679"/>
              <a:gd name="connsiteX34" fmla="*/ 4311207 w 4761797"/>
              <a:gd name="connsiteY34" fmla="*/ 708003 h 4409679"/>
              <a:gd name="connsiteX35" fmla="*/ 4697899 w 4761797"/>
              <a:gd name="connsiteY35" fmla="*/ 937420 h 4409679"/>
              <a:gd name="connsiteX36" fmla="*/ 4362458 w 4761797"/>
              <a:gd name="connsiteY36" fmla="*/ 1986178 h 4409679"/>
              <a:gd name="connsiteX37" fmla="*/ 3989735 w 4761797"/>
              <a:gd name="connsiteY37" fmla="*/ 2360738 h 4409679"/>
              <a:gd name="connsiteX38" fmla="*/ 3989253 w 4761797"/>
              <a:gd name="connsiteY38" fmla="*/ 2361116 h 4409679"/>
              <a:gd name="connsiteX39" fmla="*/ 3943902 w 4761797"/>
              <a:gd name="connsiteY39" fmla="*/ 2721741 h 4409679"/>
              <a:gd name="connsiteX40" fmla="*/ 3841218 w 4761797"/>
              <a:gd name="connsiteY40" fmla="*/ 3064677 h 4409679"/>
              <a:gd name="connsiteX41" fmla="*/ 2318452 w 4761797"/>
              <a:gd name="connsiteY41" fmla="*/ 3936717 h 4409679"/>
              <a:gd name="connsiteX42" fmla="*/ 1721994 w 4761797"/>
              <a:gd name="connsiteY42" fmla="*/ 3781140 h 4409679"/>
              <a:gd name="connsiteX43" fmla="*/ 1716163 w 4761797"/>
              <a:gd name="connsiteY43" fmla="*/ 3784067 h 4409679"/>
              <a:gd name="connsiteX44" fmla="*/ 709817 w 4761797"/>
              <a:gd name="connsiteY44" fmla="*/ 4008800 h 4409679"/>
              <a:gd name="connsiteX45" fmla="*/ 113474 w 4761797"/>
              <a:gd name="connsiteY45" fmla="*/ 3746613 h 4409679"/>
              <a:gd name="connsiteX46" fmla="*/ 821638 w 4761797"/>
              <a:gd name="connsiteY46" fmla="*/ 2323284 h 4409679"/>
              <a:gd name="connsiteX47" fmla="*/ 896327 w 4761797"/>
              <a:gd name="connsiteY47" fmla="*/ 1985696 h 4409679"/>
              <a:gd name="connsiteX48" fmla="*/ 1344072 w 4761797"/>
              <a:gd name="connsiteY48" fmla="*/ 1199974 h 4409679"/>
              <a:gd name="connsiteX49" fmla="*/ 2491383 w 4761797"/>
              <a:gd name="connsiteY49" fmla="*/ 779042 h 4409679"/>
              <a:gd name="connsiteX50" fmla="*/ 3075538 w 4761797"/>
              <a:gd name="connsiteY50" fmla="*/ 926370 h 4409679"/>
              <a:gd name="connsiteX51" fmla="*/ 3095617 w 4761797"/>
              <a:gd name="connsiteY51" fmla="*/ 937273 h 4409679"/>
              <a:gd name="connsiteX52" fmla="*/ 3229162 w 4761797"/>
              <a:gd name="connsiteY52" fmla="*/ 887670 h 4409679"/>
              <a:gd name="connsiteX53" fmla="*/ 3617024 w 4761797"/>
              <a:gd name="connsiteY53" fmla="*/ 787593 h 4409679"/>
              <a:gd name="connsiteX54" fmla="*/ 4165395 w 4761797"/>
              <a:gd name="connsiteY54" fmla="*/ 700025 h 4409679"/>
              <a:gd name="connsiteX55" fmla="*/ 637239 w 4761797"/>
              <a:gd name="connsiteY55" fmla="*/ 0 h 4409679"/>
              <a:gd name="connsiteX56" fmla="*/ 712216 w 4761797"/>
              <a:gd name="connsiteY56" fmla="*/ 74965 h 4409679"/>
              <a:gd name="connsiteX57" fmla="*/ 1237002 w 4761797"/>
              <a:gd name="connsiteY57" fmla="*/ 599752 h 4409679"/>
              <a:gd name="connsiteX58" fmla="*/ 1311967 w 4761797"/>
              <a:gd name="connsiteY58" fmla="*/ 674728 h 4409679"/>
              <a:gd name="connsiteX59" fmla="*/ 1237002 w 4761797"/>
              <a:gd name="connsiteY59" fmla="*/ 712216 h 4409679"/>
              <a:gd name="connsiteX60" fmla="*/ 712216 w 4761797"/>
              <a:gd name="connsiteY60" fmla="*/ 1274479 h 4409679"/>
              <a:gd name="connsiteX61" fmla="*/ 637239 w 4761797"/>
              <a:gd name="connsiteY61" fmla="*/ 1311967 h 4409679"/>
              <a:gd name="connsiteX62" fmla="*/ 599751 w 4761797"/>
              <a:gd name="connsiteY62" fmla="*/ 1274479 h 4409679"/>
              <a:gd name="connsiteX63" fmla="*/ 37488 w 4761797"/>
              <a:gd name="connsiteY63" fmla="*/ 712216 h 4409679"/>
              <a:gd name="connsiteX64" fmla="*/ 0 w 4761797"/>
              <a:gd name="connsiteY64" fmla="*/ 674728 h 4409679"/>
              <a:gd name="connsiteX65" fmla="*/ 37488 w 4761797"/>
              <a:gd name="connsiteY65" fmla="*/ 599752 h 4409679"/>
              <a:gd name="connsiteX66" fmla="*/ 599751 w 4761797"/>
              <a:gd name="connsiteY66" fmla="*/ 74965 h 4409679"/>
              <a:gd name="connsiteX67" fmla="*/ 637239 w 4761797"/>
              <a:gd name="connsiteY67"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4761797" h="4409679">
                <a:moveTo>
                  <a:pt x="4063449" y="3626137"/>
                </a:moveTo>
                <a:lnTo>
                  <a:pt x="4063449" y="3663453"/>
                </a:lnTo>
                <a:cubicBezTo>
                  <a:pt x="4063449" y="3850010"/>
                  <a:pt x="4209223" y="3999250"/>
                  <a:pt x="4391441" y="3999250"/>
                </a:cubicBezTo>
                <a:cubicBezTo>
                  <a:pt x="4427884" y="3999250"/>
                  <a:pt x="4427884" y="3999250"/>
                  <a:pt x="4427884" y="4036566"/>
                </a:cubicBezTo>
                <a:lnTo>
                  <a:pt x="4391441" y="4036566"/>
                </a:lnTo>
                <a:cubicBezTo>
                  <a:pt x="4209223" y="4036566"/>
                  <a:pt x="4063449" y="4185807"/>
                  <a:pt x="4063449" y="4372363"/>
                </a:cubicBezTo>
                <a:lnTo>
                  <a:pt x="4063449" y="4409679"/>
                </a:lnTo>
                <a:cubicBezTo>
                  <a:pt x="4027005" y="4409679"/>
                  <a:pt x="4027005" y="4409679"/>
                  <a:pt x="4027005" y="4372363"/>
                </a:cubicBezTo>
                <a:cubicBezTo>
                  <a:pt x="4027005" y="4185807"/>
                  <a:pt x="3881231" y="4036566"/>
                  <a:pt x="3699013" y="4036566"/>
                </a:cubicBezTo>
                <a:lnTo>
                  <a:pt x="3662570" y="4036566"/>
                </a:lnTo>
                <a:cubicBezTo>
                  <a:pt x="3662570" y="3999250"/>
                  <a:pt x="3699013" y="3999250"/>
                  <a:pt x="3699013" y="3999250"/>
                </a:cubicBezTo>
                <a:cubicBezTo>
                  <a:pt x="3881231" y="3999250"/>
                  <a:pt x="4027005" y="3850010"/>
                  <a:pt x="4027005" y="3663453"/>
                </a:cubicBezTo>
                <a:cubicBezTo>
                  <a:pt x="4027005" y="3663453"/>
                  <a:pt x="4027005" y="3626137"/>
                  <a:pt x="4063449" y="3626137"/>
                </a:cubicBezTo>
                <a:close/>
                <a:moveTo>
                  <a:pt x="4138826" y="974873"/>
                </a:moveTo>
                <a:cubicBezTo>
                  <a:pt x="3989735" y="974873"/>
                  <a:pt x="3840655" y="1012327"/>
                  <a:pt x="3691564" y="1049781"/>
                </a:cubicBezTo>
                <a:cubicBezTo>
                  <a:pt x="3579754" y="1087234"/>
                  <a:pt x="3505203" y="1087234"/>
                  <a:pt x="3393393" y="1124699"/>
                </a:cubicBezTo>
                <a:lnTo>
                  <a:pt x="3466595" y="1193397"/>
                </a:lnTo>
                <a:cubicBezTo>
                  <a:pt x="3506658" y="1230520"/>
                  <a:pt x="3545427" y="1270128"/>
                  <a:pt x="3582738" y="1312220"/>
                </a:cubicBezTo>
                <a:cubicBezTo>
                  <a:pt x="3694674" y="1424466"/>
                  <a:pt x="3806611" y="1611539"/>
                  <a:pt x="3881231" y="1761204"/>
                </a:cubicBezTo>
                <a:cubicBezTo>
                  <a:pt x="3872490" y="1801333"/>
                  <a:pt x="3843915" y="1836031"/>
                  <a:pt x="3806611" y="1873450"/>
                </a:cubicBezTo>
                <a:cubicBezTo>
                  <a:pt x="3470802" y="2210189"/>
                  <a:pt x="3060385" y="2472088"/>
                  <a:pt x="2649956" y="2734000"/>
                </a:cubicBezTo>
                <a:cubicBezTo>
                  <a:pt x="2239538" y="2995911"/>
                  <a:pt x="1791805" y="3220403"/>
                  <a:pt x="1344072" y="3370057"/>
                </a:cubicBezTo>
                <a:cubicBezTo>
                  <a:pt x="1313560" y="3386386"/>
                  <a:pt x="1295293" y="3393189"/>
                  <a:pt x="1232136" y="3407476"/>
                </a:cubicBezTo>
                <a:cubicBezTo>
                  <a:pt x="1064232" y="3220397"/>
                  <a:pt x="942969" y="2995905"/>
                  <a:pt x="882338" y="2752706"/>
                </a:cubicBezTo>
                <a:lnTo>
                  <a:pt x="858908" y="2697843"/>
                </a:lnTo>
                <a:cubicBezTo>
                  <a:pt x="448915" y="3109856"/>
                  <a:pt x="262554" y="3484415"/>
                  <a:pt x="374375" y="3596787"/>
                </a:cubicBezTo>
                <a:cubicBezTo>
                  <a:pt x="448915" y="3746613"/>
                  <a:pt x="821638" y="3746613"/>
                  <a:pt x="1417980" y="3559334"/>
                </a:cubicBezTo>
                <a:cubicBezTo>
                  <a:pt x="1865243" y="3409508"/>
                  <a:pt x="2349776" y="3184775"/>
                  <a:pt x="2759768" y="2922576"/>
                </a:cubicBezTo>
                <a:cubicBezTo>
                  <a:pt x="3207031" y="2660390"/>
                  <a:pt x="3579754" y="2360738"/>
                  <a:pt x="3952465" y="2023632"/>
                </a:cubicBezTo>
                <a:cubicBezTo>
                  <a:pt x="4027017" y="1948725"/>
                  <a:pt x="4101557" y="1873818"/>
                  <a:pt x="4138826" y="1798899"/>
                </a:cubicBezTo>
                <a:cubicBezTo>
                  <a:pt x="4474268" y="1424340"/>
                  <a:pt x="4511549" y="1162153"/>
                  <a:pt x="4474268" y="1087234"/>
                </a:cubicBezTo>
                <a:cubicBezTo>
                  <a:pt x="4436998" y="1049781"/>
                  <a:pt x="4325188" y="974873"/>
                  <a:pt x="4138826" y="974873"/>
                </a:cubicBezTo>
                <a:close/>
                <a:moveTo>
                  <a:pt x="4165395" y="700025"/>
                </a:moveTo>
                <a:cubicBezTo>
                  <a:pt x="4217154" y="699514"/>
                  <a:pt x="4265782" y="702149"/>
                  <a:pt x="4311207" y="708003"/>
                </a:cubicBezTo>
                <a:cubicBezTo>
                  <a:pt x="4492909" y="731407"/>
                  <a:pt x="4623359" y="806315"/>
                  <a:pt x="4697899" y="937420"/>
                </a:cubicBezTo>
                <a:cubicBezTo>
                  <a:pt x="4846991" y="1199606"/>
                  <a:pt x="4735181" y="1536712"/>
                  <a:pt x="4362458" y="1986178"/>
                </a:cubicBezTo>
                <a:cubicBezTo>
                  <a:pt x="4250637" y="2136004"/>
                  <a:pt x="4101557" y="2248377"/>
                  <a:pt x="3989735" y="2360738"/>
                </a:cubicBezTo>
                <a:lnTo>
                  <a:pt x="3989253" y="2361116"/>
                </a:lnTo>
                <a:lnTo>
                  <a:pt x="3943902" y="2721741"/>
                </a:lnTo>
                <a:cubicBezTo>
                  <a:pt x="3915895" y="2839187"/>
                  <a:pt x="3878557" y="2951938"/>
                  <a:pt x="3841218" y="3064677"/>
                </a:cubicBezTo>
                <a:cubicBezTo>
                  <a:pt x="3533164" y="3656601"/>
                  <a:pt x="2931059" y="3973711"/>
                  <a:pt x="2318452" y="3936717"/>
                </a:cubicBezTo>
                <a:lnTo>
                  <a:pt x="1721994" y="3781140"/>
                </a:lnTo>
                <a:lnTo>
                  <a:pt x="1716163" y="3784067"/>
                </a:lnTo>
                <a:cubicBezTo>
                  <a:pt x="1380711" y="3896428"/>
                  <a:pt x="1045269" y="3971347"/>
                  <a:pt x="709817" y="4008800"/>
                </a:cubicBezTo>
                <a:cubicBezTo>
                  <a:pt x="411645" y="4008800"/>
                  <a:pt x="225284" y="3896428"/>
                  <a:pt x="113474" y="3746613"/>
                </a:cubicBezTo>
                <a:cubicBezTo>
                  <a:pt x="-72887" y="3484415"/>
                  <a:pt x="150744" y="2922576"/>
                  <a:pt x="821638" y="2323284"/>
                </a:cubicBezTo>
                <a:lnTo>
                  <a:pt x="896327" y="1985696"/>
                </a:lnTo>
                <a:cubicBezTo>
                  <a:pt x="970959" y="1686366"/>
                  <a:pt x="1120199" y="1387047"/>
                  <a:pt x="1344072" y="1199974"/>
                </a:cubicBezTo>
                <a:cubicBezTo>
                  <a:pt x="1679869" y="900643"/>
                  <a:pt x="2090286" y="760344"/>
                  <a:pt x="2491383" y="779042"/>
                </a:cubicBezTo>
                <a:cubicBezTo>
                  <a:pt x="2691932" y="788397"/>
                  <a:pt x="2890147" y="837507"/>
                  <a:pt x="3075538" y="926370"/>
                </a:cubicBezTo>
                <a:lnTo>
                  <a:pt x="3095617" y="937273"/>
                </a:lnTo>
                <a:lnTo>
                  <a:pt x="3229162" y="887670"/>
                </a:lnTo>
                <a:cubicBezTo>
                  <a:pt x="3358446" y="843774"/>
                  <a:pt x="3477253" y="815684"/>
                  <a:pt x="3617024" y="787593"/>
                </a:cubicBezTo>
                <a:cubicBezTo>
                  <a:pt x="3826672" y="731404"/>
                  <a:pt x="4010119" y="701558"/>
                  <a:pt x="4165395" y="700025"/>
                </a:cubicBezTo>
                <a:close/>
                <a:moveTo>
                  <a:pt x="637239" y="0"/>
                </a:moveTo>
                <a:cubicBezTo>
                  <a:pt x="674728" y="0"/>
                  <a:pt x="712216" y="37488"/>
                  <a:pt x="712216" y="74965"/>
                </a:cubicBezTo>
                <a:cubicBezTo>
                  <a:pt x="712216" y="374846"/>
                  <a:pt x="937121" y="599752"/>
                  <a:pt x="1237002" y="599752"/>
                </a:cubicBezTo>
                <a:cubicBezTo>
                  <a:pt x="1274479" y="599752"/>
                  <a:pt x="1311967" y="637239"/>
                  <a:pt x="1311967" y="674728"/>
                </a:cubicBezTo>
                <a:cubicBezTo>
                  <a:pt x="1311967" y="674728"/>
                  <a:pt x="1274479" y="712216"/>
                  <a:pt x="1237002" y="712216"/>
                </a:cubicBezTo>
                <a:cubicBezTo>
                  <a:pt x="937121" y="712216"/>
                  <a:pt x="712216" y="937121"/>
                  <a:pt x="712216" y="1274479"/>
                </a:cubicBezTo>
                <a:cubicBezTo>
                  <a:pt x="712216" y="1274479"/>
                  <a:pt x="674728" y="1311967"/>
                  <a:pt x="637239" y="1311967"/>
                </a:cubicBezTo>
                <a:lnTo>
                  <a:pt x="599751" y="1274479"/>
                </a:lnTo>
                <a:cubicBezTo>
                  <a:pt x="599751" y="937121"/>
                  <a:pt x="337358" y="712216"/>
                  <a:pt x="37488" y="712216"/>
                </a:cubicBezTo>
                <a:lnTo>
                  <a:pt x="0" y="674728"/>
                </a:lnTo>
                <a:cubicBezTo>
                  <a:pt x="0" y="637239"/>
                  <a:pt x="0" y="599752"/>
                  <a:pt x="37488" y="599752"/>
                </a:cubicBezTo>
                <a:cubicBezTo>
                  <a:pt x="337358" y="599752"/>
                  <a:pt x="599751" y="374846"/>
                  <a:pt x="599751" y="74965"/>
                </a:cubicBezTo>
                <a:cubicBezTo>
                  <a:pt x="599751" y="37488"/>
                  <a:pt x="637239" y="0"/>
                  <a:pt x="637239"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6" name="Triangle 3">
            <a:extLst>
              <a:ext uri="{FF2B5EF4-FFF2-40B4-BE49-F238E27FC236}">
                <a16:creationId xmlns:a16="http://schemas.microsoft.com/office/drawing/2014/main" id="{AAECD479-0AB2-4CF1-8300-0F2DBCE7A386}"/>
              </a:ext>
            </a:extLst>
          </p:cNvPr>
          <p:cNvSpPr/>
          <p:nvPr/>
        </p:nvSpPr>
        <p:spPr>
          <a:xfrm rot="5400000">
            <a:off x="174789" y="6577813"/>
            <a:ext cx="196774" cy="91602"/>
          </a:xfrm>
          <a:custGeom>
            <a:avLst/>
            <a:gdLst>
              <a:gd name="connsiteX0" fmla="*/ 0 w 631372"/>
              <a:gd name="connsiteY0" fmla="*/ 544286 h 544286"/>
              <a:gd name="connsiteX1" fmla="*/ 315686 w 631372"/>
              <a:gd name="connsiteY1" fmla="*/ 0 h 544286"/>
              <a:gd name="connsiteX2" fmla="*/ 631372 w 631372"/>
              <a:gd name="connsiteY2" fmla="*/ 544286 h 544286"/>
              <a:gd name="connsiteX3" fmla="*/ 0 w 631372"/>
              <a:gd name="connsiteY3" fmla="*/ 544286 h 544286"/>
              <a:gd name="connsiteX0" fmla="*/ 0 w 631372"/>
              <a:gd name="connsiteY0" fmla="*/ 544286 h 544286"/>
              <a:gd name="connsiteX1" fmla="*/ 315686 w 631372"/>
              <a:gd name="connsiteY1" fmla="*/ 0 h 544286"/>
              <a:gd name="connsiteX2" fmla="*/ 631372 w 631372"/>
              <a:gd name="connsiteY2" fmla="*/ 544286 h 544286"/>
              <a:gd name="connsiteX3" fmla="*/ 315686 w 631372"/>
              <a:gd name="connsiteY3" fmla="*/ 544286 h 544286"/>
              <a:gd name="connsiteX4" fmla="*/ 0 w 631372"/>
              <a:gd name="connsiteY4" fmla="*/ 544286 h 544286"/>
              <a:gd name="connsiteX0" fmla="*/ 315686 w 631372"/>
              <a:gd name="connsiteY0" fmla="*/ 544286 h 635726"/>
              <a:gd name="connsiteX1" fmla="*/ 0 w 631372"/>
              <a:gd name="connsiteY1" fmla="*/ 544286 h 635726"/>
              <a:gd name="connsiteX2" fmla="*/ 315686 w 631372"/>
              <a:gd name="connsiteY2" fmla="*/ 0 h 635726"/>
              <a:gd name="connsiteX3" fmla="*/ 631372 w 631372"/>
              <a:gd name="connsiteY3" fmla="*/ 544286 h 635726"/>
              <a:gd name="connsiteX4" fmla="*/ 407126 w 631372"/>
              <a:gd name="connsiteY4" fmla="*/ 635726 h 635726"/>
              <a:gd name="connsiteX0" fmla="*/ 0 w 631372"/>
              <a:gd name="connsiteY0" fmla="*/ 544286 h 635726"/>
              <a:gd name="connsiteX1" fmla="*/ 315686 w 631372"/>
              <a:gd name="connsiteY1" fmla="*/ 0 h 635726"/>
              <a:gd name="connsiteX2" fmla="*/ 631372 w 631372"/>
              <a:gd name="connsiteY2" fmla="*/ 544286 h 635726"/>
              <a:gd name="connsiteX3" fmla="*/ 407126 w 631372"/>
              <a:gd name="connsiteY3" fmla="*/ 635726 h 635726"/>
              <a:gd name="connsiteX0" fmla="*/ 0 w 631372"/>
              <a:gd name="connsiteY0" fmla="*/ 544286 h 544286"/>
              <a:gd name="connsiteX1" fmla="*/ 315686 w 631372"/>
              <a:gd name="connsiteY1" fmla="*/ 0 h 544286"/>
              <a:gd name="connsiteX2" fmla="*/ 631372 w 631372"/>
              <a:gd name="connsiteY2" fmla="*/ 544286 h 544286"/>
            </a:gdLst>
            <a:ahLst/>
            <a:cxnLst>
              <a:cxn ang="0">
                <a:pos x="connsiteX0" y="connsiteY0"/>
              </a:cxn>
              <a:cxn ang="0">
                <a:pos x="connsiteX1" y="connsiteY1"/>
              </a:cxn>
              <a:cxn ang="0">
                <a:pos x="connsiteX2" y="connsiteY2"/>
              </a:cxn>
            </a:cxnLst>
            <a:rect l="l" t="t" r="r" b="b"/>
            <a:pathLst>
              <a:path w="631372" h="544286">
                <a:moveTo>
                  <a:pt x="0" y="544286"/>
                </a:moveTo>
                <a:lnTo>
                  <a:pt x="315686" y="0"/>
                </a:lnTo>
                <a:lnTo>
                  <a:pt x="631372" y="544286"/>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solidFill>
            </a:endParaRPr>
          </a:p>
        </p:txBody>
      </p:sp>
      <p:sp>
        <p:nvSpPr>
          <p:cNvPr id="67" name="Text Placeholder 3">
            <a:extLst>
              <a:ext uri="{FF2B5EF4-FFF2-40B4-BE49-F238E27FC236}">
                <a16:creationId xmlns:a16="http://schemas.microsoft.com/office/drawing/2014/main" id="{E79CADB2-912D-4186-A4BE-78ED598BAD64}"/>
              </a:ext>
            </a:extLst>
          </p:cNvPr>
          <p:cNvSpPr txBox="1">
            <a:spLocks/>
          </p:cNvSpPr>
          <p:nvPr/>
        </p:nvSpPr>
        <p:spPr>
          <a:xfrm>
            <a:off x="220245" y="6513475"/>
            <a:ext cx="3061250" cy="230832"/>
          </a:xfrm>
          <a:prstGeom prst="rect">
            <a:avLst/>
          </a:prstGeom>
          <a:noFill/>
        </p:spPr>
        <p:txBody>
          <a:bodyPr lIns="182880">
            <a:spAutoFit/>
          </a:bodyPr>
          <a:lstStyle>
            <a:lvl1pPr marL="228600" indent="-228600" algn="l" defTabSz="914400" rtl="0" eaLnBrk="1" latinLnBrk="0" hangingPunct="1">
              <a:lnSpc>
                <a:spcPct val="90000"/>
              </a:lnSpc>
              <a:spcBef>
                <a:spcPts val="1000"/>
              </a:spcBef>
              <a:buClr>
                <a:schemeClr val="bg2"/>
              </a:buClr>
              <a:buFont typeface="Arial" panose="020B0604020202020204" pitchFamily="34" charset="0"/>
              <a:buChar char="•"/>
              <a:defRPr sz="2800" kern="1200">
                <a:solidFill>
                  <a:schemeClr val="bg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Clr>
                <a:schemeClr val="bg2"/>
              </a:buClr>
              <a:buFont typeface="Arial" panose="020B0604020202020204" pitchFamily="34" charset="0"/>
              <a:buChar char="•"/>
              <a:defRPr sz="2400" kern="1200">
                <a:solidFill>
                  <a:schemeClr val="bg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Clr>
                <a:schemeClr val="bg2"/>
              </a:buClr>
              <a:buFont typeface="Arial" panose="020B0604020202020204" pitchFamily="34" charset="0"/>
              <a:buChar char="•"/>
              <a:defRPr sz="2000" kern="1200">
                <a:solidFill>
                  <a:schemeClr val="bg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000" b="1" dirty="0">
                <a:solidFill>
                  <a:schemeClr val="accent1"/>
                </a:solidFill>
                <a:latin typeface="Segoe UI" charset="0"/>
                <a:ea typeface="Segoe UI" charset="0"/>
                <a:cs typeface="Segoe UI" charset="0"/>
              </a:rPr>
              <a:t>Intelligence over all data</a:t>
            </a:r>
          </a:p>
        </p:txBody>
      </p:sp>
      <p:sp>
        <p:nvSpPr>
          <p:cNvPr id="8" name="TextBox 7">
            <a:extLst>
              <a:ext uri="{FF2B5EF4-FFF2-40B4-BE49-F238E27FC236}">
                <a16:creationId xmlns:a16="http://schemas.microsoft.com/office/drawing/2014/main" id="{AAD6E87D-2C4C-43C5-A137-237107257B96}"/>
              </a:ext>
            </a:extLst>
          </p:cNvPr>
          <p:cNvSpPr txBox="1"/>
          <p:nvPr/>
        </p:nvSpPr>
        <p:spPr>
          <a:xfrm>
            <a:off x="10195763" y="5886359"/>
            <a:ext cx="620170"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HDFS</a:t>
            </a:r>
          </a:p>
        </p:txBody>
      </p:sp>
      <p:sp>
        <p:nvSpPr>
          <p:cNvPr id="4" name="TextBox 3">
            <a:extLst>
              <a:ext uri="{FF2B5EF4-FFF2-40B4-BE49-F238E27FC236}">
                <a16:creationId xmlns:a16="http://schemas.microsoft.com/office/drawing/2014/main" id="{FE2E8476-0023-4FA0-B0D3-8C80DE52CBF6}"/>
              </a:ext>
            </a:extLst>
          </p:cNvPr>
          <p:cNvSpPr txBox="1"/>
          <p:nvPr/>
        </p:nvSpPr>
        <p:spPr>
          <a:xfrm>
            <a:off x="8111517" y="259954"/>
            <a:ext cx="3506344" cy="984885"/>
          </a:xfrm>
          <a:prstGeom prst="rect">
            <a:avLst/>
          </a:prstGeom>
          <a:noFill/>
        </p:spPr>
        <p:txBody>
          <a:bodyPr wrap="none" lIns="0" tIns="0" rIns="0" bIns="0" rtlCol="0">
            <a:spAutoFit/>
          </a:bodyPr>
          <a:lstStyle/>
          <a:p>
            <a:pPr algn="ctr"/>
            <a:r>
              <a:rPr lang="en-US" sz="3200" dirty="0"/>
              <a:t>“It’s all about </a:t>
            </a:r>
          </a:p>
          <a:p>
            <a:pPr algn="ctr"/>
            <a:r>
              <a:rPr lang="en-US" sz="3200" dirty="0"/>
              <a:t>Data Virtualization”</a:t>
            </a:r>
          </a:p>
        </p:txBody>
      </p:sp>
    </p:spTree>
    <p:extLst>
      <p:ext uri="{BB962C8B-B14F-4D97-AF65-F5344CB8AC3E}">
        <p14:creationId xmlns:p14="http://schemas.microsoft.com/office/powerpoint/2010/main" val="940594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9">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9">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9">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uiExpand="1" build="p"/>
      <p:bldP spid="4" grpId="0"/>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80C2B2-DB01-4C21-B1DD-3D640FCB54A4}"/>
              </a:ext>
            </a:extLst>
          </p:cNvPr>
          <p:cNvSpPr>
            <a:spLocks noGrp="1"/>
          </p:cNvSpPr>
          <p:nvPr>
            <p:ph type="title"/>
          </p:nvPr>
        </p:nvSpPr>
        <p:spPr/>
        <p:txBody>
          <a:bodyPr/>
          <a:lstStyle/>
          <a:p>
            <a:r>
              <a:rPr lang="en-US" dirty="0"/>
              <a:t>Polybase as a Semantic Layer</a:t>
            </a:r>
          </a:p>
        </p:txBody>
      </p:sp>
      <p:graphicFrame>
        <p:nvGraphicFramePr>
          <p:cNvPr id="4" name="Diagram 3">
            <a:extLst>
              <a:ext uri="{FF2B5EF4-FFF2-40B4-BE49-F238E27FC236}">
                <a16:creationId xmlns:a16="http://schemas.microsoft.com/office/drawing/2014/main" id="{A2A5A61B-BBC8-42BC-81DA-EDCE8A4427E7}"/>
              </a:ext>
            </a:extLst>
          </p:cNvPr>
          <p:cNvGraphicFramePr/>
          <p:nvPr>
            <p:extLst/>
          </p:nvPr>
        </p:nvGraphicFramePr>
        <p:xfrm>
          <a:off x="586390" y="1434370"/>
          <a:ext cx="11018520" cy="40503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774680130"/>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180243" y="245112"/>
            <a:ext cx="11018520" cy="553998"/>
          </a:xfrm>
        </p:spPr>
        <p:txBody>
          <a:bodyPr/>
          <a:lstStyle/>
          <a:p>
            <a:r>
              <a:rPr lang="en-US" dirty="0"/>
              <a:t>Polybase and Other Connectors</a:t>
            </a:r>
          </a:p>
        </p:txBody>
      </p:sp>
      <p:sp>
        <p:nvSpPr>
          <p:cNvPr id="6" name="Text Placeholder 5"/>
          <p:cNvSpPr>
            <a:spLocks noGrp="1"/>
          </p:cNvSpPr>
          <p:nvPr>
            <p:ph type="body" sz="quarter" idx="10"/>
          </p:nvPr>
        </p:nvSpPr>
        <p:spPr>
          <a:xfrm>
            <a:off x="586390" y="1434370"/>
            <a:ext cx="11018520" cy="3016210"/>
          </a:xfrm>
        </p:spPr>
        <p:txBody>
          <a:bodyPr/>
          <a:lstStyle/>
          <a:p>
            <a:r>
              <a:rPr lang="en-US" dirty="0"/>
              <a:t>Built-in Connectors (use ODBC)</a:t>
            </a:r>
          </a:p>
          <a:p>
            <a:r>
              <a:rPr lang="en-US" dirty="0"/>
              <a:t>	</a:t>
            </a:r>
            <a:r>
              <a:rPr lang="en-US" b="1" dirty="0"/>
              <a:t>sqlserver</a:t>
            </a:r>
          </a:p>
          <a:p>
            <a:r>
              <a:rPr lang="en-US" dirty="0"/>
              <a:t>	</a:t>
            </a:r>
            <a:r>
              <a:rPr lang="en-US" b="1" dirty="0"/>
              <a:t>oracle</a:t>
            </a:r>
          </a:p>
          <a:p>
            <a:r>
              <a:rPr lang="en-US" dirty="0"/>
              <a:t>	</a:t>
            </a:r>
            <a:r>
              <a:rPr lang="en-US" b="1" dirty="0"/>
              <a:t>teradata</a:t>
            </a:r>
          </a:p>
          <a:p>
            <a:r>
              <a:rPr lang="en-US" dirty="0"/>
              <a:t>	</a:t>
            </a:r>
            <a:r>
              <a:rPr lang="en-US" b="1" dirty="0"/>
              <a:t>mongodb</a:t>
            </a:r>
          </a:p>
          <a:p>
            <a:endParaRPr lang="en-US" dirty="0"/>
          </a:p>
        </p:txBody>
      </p:sp>
      <p:sp>
        <p:nvSpPr>
          <p:cNvPr id="2" name="Rectangle 1">
            <a:extLst>
              <a:ext uri="{FF2B5EF4-FFF2-40B4-BE49-F238E27FC236}">
                <a16:creationId xmlns:a16="http://schemas.microsoft.com/office/drawing/2014/main" id="{43666839-31E8-4599-8B67-C4452246CCD7}"/>
              </a:ext>
            </a:extLst>
          </p:cNvPr>
          <p:cNvSpPr/>
          <p:nvPr/>
        </p:nvSpPr>
        <p:spPr bwMode="auto">
          <a:xfrm>
            <a:off x="7907117" y="965710"/>
            <a:ext cx="4104640" cy="55399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binn\Polybase\ODBC Drivers</a:t>
            </a:r>
          </a:p>
        </p:txBody>
      </p:sp>
      <p:cxnSp>
        <p:nvCxnSpPr>
          <p:cNvPr id="4" name="Straight Arrow Connector 3">
            <a:extLst>
              <a:ext uri="{FF2B5EF4-FFF2-40B4-BE49-F238E27FC236}">
                <a16:creationId xmlns:a16="http://schemas.microsoft.com/office/drawing/2014/main" id="{6BDFEBE3-6B6C-4C8C-A1A4-2A39D976D7C0}"/>
              </a:ext>
            </a:extLst>
          </p:cNvPr>
          <p:cNvCxnSpPr>
            <a:cxnSpLocks/>
            <a:endCxn id="2" idx="1"/>
          </p:cNvCxnSpPr>
          <p:nvPr/>
        </p:nvCxnSpPr>
        <p:spPr>
          <a:xfrm flipV="1">
            <a:off x="5486037" y="1242709"/>
            <a:ext cx="2421080" cy="299152"/>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a:extLst>
              <a:ext uri="{FF2B5EF4-FFF2-40B4-BE49-F238E27FC236}">
                <a16:creationId xmlns:a16="http://schemas.microsoft.com/office/drawing/2014/main" id="{B9C692B4-FD84-46A3-9EEC-852BD9B416AE}"/>
              </a:ext>
            </a:extLst>
          </p:cNvPr>
          <p:cNvCxnSpPr>
            <a:cxnSpLocks/>
          </p:cNvCxnSpPr>
          <p:nvPr/>
        </p:nvCxnSpPr>
        <p:spPr>
          <a:xfrm>
            <a:off x="3069771" y="2188029"/>
            <a:ext cx="3852817" cy="213537"/>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7" name="Rectangle: Rounded Corners 6">
            <a:extLst>
              <a:ext uri="{FF2B5EF4-FFF2-40B4-BE49-F238E27FC236}">
                <a16:creationId xmlns:a16="http://schemas.microsoft.com/office/drawing/2014/main" id="{3E0A0FA4-8F5B-46BA-9B02-1C787A9E7EAC}"/>
              </a:ext>
            </a:extLst>
          </p:cNvPr>
          <p:cNvSpPr/>
          <p:nvPr/>
        </p:nvSpPr>
        <p:spPr bwMode="auto">
          <a:xfrm>
            <a:off x="6972299" y="1904279"/>
            <a:ext cx="4632611" cy="102053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SQL Server, Azure SQL Database, Azure SQL Data Warehouse</a:t>
            </a:r>
          </a:p>
        </p:txBody>
      </p:sp>
      <p:sp>
        <p:nvSpPr>
          <p:cNvPr id="12" name="Rectangle: Rounded Corners 11">
            <a:extLst>
              <a:ext uri="{FF2B5EF4-FFF2-40B4-BE49-F238E27FC236}">
                <a16:creationId xmlns:a16="http://schemas.microsoft.com/office/drawing/2014/main" id="{9741ED0D-3681-48CA-84E9-50BF01C821EF}"/>
              </a:ext>
            </a:extLst>
          </p:cNvPr>
          <p:cNvSpPr/>
          <p:nvPr/>
        </p:nvSpPr>
        <p:spPr bwMode="auto">
          <a:xfrm>
            <a:off x="6922588" y="3273158"/>
            <a:ext cx="4632611" cy="102053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MongoDB or CosmosDB (using MongoDB API)</a:t>
            </a:r>
          </a:p>
        </p:txBody>
      </p:sp>
      <p:cxnSp>
        <p:nvCxnSpPr>
          <p:cNvPr id="13" name="Straight Arrow Connector 12">
            <a:extLst>
              <a:ext uri="{FF2B5EF4-FFF2-40B4-BE49-F238E27FC236}">
                <a16:creationId xmlns:a16="http://schemas.microsoft.com/office/drawing/2014/main" id="{16E2C8D4-AE4C-465A-910D-9BCAE6D3C778}"/>
              </a:ext>
            </a:extLst>
          </p:cNvPr>
          <p:cNvCxnSpPr>
            <a:cxnSpLocks/>
            <a:endCxn id="12" idx="1"/>
          </p:cNvCxnSpPr>
          <p:nvPr/>
        </p:nvCxnSpPr>
        <p:spPr>
          <a:xfrm>
            <a:off x="3119482" y="3672086"/>
            <a:ext cx="3803106" cy="11134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4" name="Rectangle: Rounded Corners 13">
            <a:extLst>
              <a:ext uri="{FF2B5EF4-FFF2-40B4-BE49-F238E27FC236}">
                <a16:creationId xmlns:a16="http://schemas.microsoft.com/office/drawing/2014/main" id="{4C6B503E-890E-4648-9895-1C39C53AF5AD}"/>
              </a:ext>
            </a:extLst>
          </p:cNvPr>
          <p:cNvSpPr/>
          <p:nvPr/>
        </p:nvSpPr>
        <p:spPr bwMode="auto">
          <a:xfrm>
            <a:off x="6972299" y="4575572"/>
            <a:ext cx="4632611" cy="102053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64bit</a:t>
            </a:r>
          </a:p>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ODBC 3.0+ compliant</a:t>
            </a:r>
          </a:p>
        </p:txBody>
      </p:sp>
      <p:cxnSp>
        <p:nvCxnSpPr>
          <p:cNvPr id="15" name="Straight Arrow Connector 14">
            <a:extLst>
              <a:ext uri="{FF2B5EF4-FFF2-40B4-BE49-F238E27FC236}">
                <a16:creationId xmlns:a16="http://schemas.microsoft.com/office/drawing/2014/main" id="{4EA768A7-D85D-4DD2-A5B9-9D114567DE25}"/>
              </a:ext>
            </a:extLst>
          </p:cNvPr>
          <p:cNvCxnSpPr>
            <a:cxnSpLocks/>
            <a:endCxn id="14" idx="1"/>
          </p:cNvCxnSpPr>
          <p:nvPr/>
        </p:nvCxnSpPr>
        <p:spPr>
          <a:xfrm flipV="1">
            <a:off x="2483318" y="5085840"/>
            <a:ext cx="4488981" cy="236332"/>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6" name="Text Placeholder 5">
            <a:extLst>
              <a:ext uri="{FF2B5EF4-FFF2-40B4-BE49-F238E27FC236}">
                <a16:creationId xmlns:a16="http://schemas.microsoft.com/office/drawing/2014/main" id="{0CD58133-774F-4512-8D24-B4858D9362B7}"/>
              </a:ext>
            </a:extLst>
          </p:cNvPr>
          <p:cNvSpPr txBox="1">
            <a:spLocks/>
          </p:cNvSpPr>
          <p:nvPr/>
        </p:nvSpPr>
        <p:spPr>
          <a:xfrm>
            <a:off x="640093" y="4576691"/>
            <a:ext cx="11018520" cy="1465016"/>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ODBC Connector</a:t>
            </a:r>
          </a:p>
          <a:p>
            <a:r>
              <a:rPr lang="en-US" dirty="0"/>
              <a:t>	</a:t>
            </a:r>
            <a:r>
              <a:rPr lang="en-US" b="1" dirty="0"/>
              <a:t>odbc</a:t>
            </a:r>
          </a:p>
          <a:p>
            <a:r>
              <a:rPr lang="en-US" dirty="0"/>
              <a:t>	You install the driver</a:t>
            </a:r>
          </a:p>
        </p:txBody>
      </p:sp>
      <p:sp>
        <p:nvSpPr>
          <p:cNvPr id="10" name="TextBox 9">
            <a:extLst>
              <a:ext uri="{FF2B5EF4-FFF2-40B4-BE49-F238E27FC236}">
                <a16:creationId xmlns:a16="http://schemas.microsoft.com/office/drawing/2014/main" id="{A947AA52-9F44-401F-9AA8-3F5DF94973CC}"/>
              </a:ext>
            </a:extLst>
          </p:cNvPr>
          <p:cNvSpPr txBox="1"/>
          <p:nvPr/>
        </p:nvSpPr>
        <p:spPr>
          <a:xfrm>
            <a:off x="180243" y="990771"/>
            <a:ext cx="5318444"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LOCATION “string” in EXTERNAL DATA SOURCE</a:t>
            </a:r>
          </a:p>
        </p:txBody>
      </p:sp>
      <p:sp>
        <p:nvSpPr>
          <p:cNvPr id="18" name="Rectangle: Rounded Corners 17">
            <a:extLst>
              <a:ext uri="{FF2B5EF4-FFF2-40B4-BE49-F238E27FC236}">
                <a16:creationId xmlns:a16="http://schemas.microsoft.com/office/drawing/2014/main" id="{E5B9D58E-B2EF-4F47-A74C-E8819F0377E2}"/>
              </a:ext>
            </a:extLst>
          </p:cNvPr>
          <p:cNvSpPr/>
          <p:nvPr/>
        </p:nvSpPr>
        <p:spPr bwMode="auto">
          <a:xfrm>
            <a:off x="6972299" y="5710165"/>
            <a:ext cx="4632611" cy="719511"/>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Ex. SAP HANA (HDBCODBC Driver)</a:t>
            </a:r>
          </a:p>
        </p:txBody>
      </p:sp>
      <p:cxnSp>
        <p:nvCxnSpPr>
          <p:cNvPr id="19" name="Straight Arrow Connector 18">
            <a:extLst>
              <a:ext uri="{FF2B5EF4-FFF2-40B4-BE49-F238E27FC236}">
                <a16:creationId xmlns:a16="http://schemas.microsoft.com/office/drawing/2014/main" id="{78759A95-BB6E-4BB2-A286-CAA9C598003A}"/>
              </a:ext>
            </a:extLst>
          </p:cNvPr>
          <p:cNvCxnSpPr>
            <a:cxnSpLocks/>
          </p:cNvCxnSpPr>
          <p:nvPr/>
        </p:nvCxnSpPr>
        <p:spPr>
          <a:xfrm>
            <a:off x="5111015" y="5804030"/>
            <a:ext cx="1861283" cy="21377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 name="Explosion: 14 Points 2">
            <a:extLst>
              <a:ext uri="{FF2B5EF4-FFF2-40B4-BE49-F238E27FC236}">
                <a16:creationId xmlns:a16="http://schemas.microsoft.com/office/drawing/2014/main" id="{46EA3DC0-07E5-4929-B542-5D8F9D830757}"/>
              </a:ext>
            </a:extLst>
          </p:cNvPr>
          <p:cNvSpPr/>
          <p:nvPr/>
        </p:nvSpPr>
        <p:spPr bwMode="auto">
          <a:xfrm>
            <a:off x="2647376" y="2337892"/>
            <a:ext cx="4747318" cy="1302414"/>
          </a:xfrm>
          <a:prstGeom prst="irregularSeal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a:solidFill>
                  <a:schemeClr val="tx1"/>
                </a:solidFill>
                <a:ea typeface="Segoe UI" pitchFamily="34" charset="0"/>
                <a:cs typeface="Segoe UI" pitchFamily="34" charset="0"/>
              </a:rPr>
              <a:t>No client software install required</a:t>
            </a:r>
          </a:p>
        </p:txBody>
      </p:sp>
      <p:sp>
        <p:nvSpPr>
          <p:cNvPr id="8" name="Left Brace 7">
            <a:extLst>
              <a:ext uri="{FF2B5EF4-FFF2-40B4-BE49-F238E27FC236}">
                <a16:creationId xmlns:a16="http://schemas.microsoft.com/office/drawing/2014/main" id="{50F4F269-CBE0-4510-B483-6A3D3C3B1C6E}"/>
              </a:ext>
            </a:extLst>
          </p:cNvPr>
          <p:cNvSpPr/>
          <p:nvPr/>
        </p:nvSpPr>
        <p:spPr>
          <a:xfrm>
            <a:off x="1157468" y="2188029"/>
            <a:ext cx="219919" cy="1085129"/>
          </a:xfrm>
          <a:prstGeom prst="leftBrac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9" name="TextBox 8">
            <a:extLst>
              <a:ext uri="{FF2B5EF4-FFF2-40B4-BE49-F238E27FC236}">
                <a16:creationId xmlns:a16="http://schemas.microsoft.com/office/drawing/2014/main" id="{B26D8FCE-FC86-4267-9604-E8CD0023B644}"/>
              </a:ext>
            </a:extLst>
          </p:cNvPr>
          <p:cNvSpPr txBox="1"/>
          <p:nvPr/>
        </p:nvSpPr>
        <p:spPr>
          <a:xfrm rot="16200000">
            <a:off x="172176" y="2510573"/>
            <a:ext cx="1320874" cy="492443"/>
          </a:xfrm>
          <a:prstGeom prst="rect">
            <a:avLst/>
          </a:prstGeom>
          <a:noFill/>
        </p:spPr>
        <p:txBody>
          <a:bodyPr wrap="none" lIns="0" tIns="0" rIns="0" bIns="0" rtlCol="0">
            <a:spAutoFit/>
          </a:bodyPr>
          <a:lstStyle/>
          <a:p>
            <a:pPr algn="l"/>
            <a:r>
              <a:rPr lang="en-US" sz="1600" dirty="0">
                <a:gradFill>
                  <a:gsLst>
                    <a:gs pos="2917">
                      <a:schemeClr val="tx1"/>
                    </a:gs>
                    <a:gs pos="30000">
                      <a:schemeClr val="tx1"/>
                    </a:gs>
                  </a:gsLst>
                  <a:lin ang="5400000" scaled="0"/>
                </a:gradFill>
              </a:rPr>
              <a:t>Scale out with </a:t>
            </a:r>
          </a:p>
          <a:p>
            <a:pPr algn="ctr"/>
            <a:r>
              <a:rPr lang="en-US" sz="1600" dirty="0">
                <a:gradFill>
                  <a:gsLst>
                    <a:gs pos="2917">
                      <a:schemeClr val="tx1"/>
                    </a:gs>
                    <a:gs pos="30000">
                      <a:schemeClr val="tx1"/>
                    </a:gs>
                  </a:gsLst>
                  <a:lin ang="5400000" scaled="0"/>
                </a:gradFill>
              </a:rPr>
              <a:t>partitions</a:t>
            </a:r>
          </a:p>
        </p:txBody>
      </p:sp>
    </p:spTree>
    <p:extLst>
      <p:ext uri="{BB962C8B-B14F-4D97-AF65-F5344CB8AC3E}">
        <p14:creationId xmlns:p14="http://schemas.microsoft.com/office/powerpoint/2010/main" val="1542885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par>
                          <p:cTn id="19" fill="hold">
                            <p:stCondLst>
                              <p:cond delay="0"/>
                            </p:stCondLst>
                            <p:childTnLst>
                              <p:par>
                                <p:cTn id="20" presetID="1" presetClass="entr" presetSubtype="0" fill="hold" nodeType="afterEffect">
                                  <p:stCondLst>
                                    <p:cond delay="0"/>
                                  </p:stCondLst>
                                  <p:childTnLst>
                                    <p:set>
                                      <p:cBhvr>
                                        <p:cTn id="21" dur="1" fill="hold">
                                          <p:stCondLst>
                                            <p:cond delay="0"/>
                                          </p:stCondLst>
                                        </p:cTn>
                                        <p:tgtEl>
                                          <p:spTgt spid="15"/>
                                        </p:tgtEl>
                                        <p:attrNameLst>
                                          <p:attrName>style.visibility</p:attrName>
                                        </p:attrNameLst>
                                      </p:cBhvr>
                                      <p:to>
                                        <p:strVal val="visible"/>
                                      </p:to>
                                    </p:set>
                                  </p:childTnLst>
                                </p:cTn>
                              </p:par>
                            </p:childTnLst>
                          </p:cTn>
                        </p:par>
                        <p:par>
                          <p:cTn id="22" fill="hold">
                            <p:stCondLst>
                              <p:cond delay="0"/>
                            </p:stCondLst>
                            <p:childTnLst>
                              <p:par>
                                <p:cTn id="23" presetID="1" presetClass="entr" presetSubtype="0" fill="hold" grpId="0" nodeType="after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childTnLst>
                          </p:cTn>
                        </p:par>
                        <p:par>
                          <p:cTn id="25" fill="hold">
                            <p:stCondLst>
                              <p:cond delay="0"/>
                            </p:stCondLst>
                            <p:childTnLst>
                              <p:par>
                                <p:cTn id="26" presetID="1" presetClass="entr" presetSubtype="0" fill="hold" grpId="0" nodeType="afterEffect">
                                  <p:stCondLst>
                                    <p:cond delay="0"/>
                                  </p:stCondLst>
                                  <p:childTnLst>
                                    <p:set>
                                      <p:cBhvr>
                                        <p:cTn id="27" dur="1" fill="hold">
                                          <p:stCondLst>
                                            <p:cond delay="0"/>
                                          </p:stCondLst>
                                        </p:cTn>
                                        <p:tgtEl>
                                          <p:spTgt spid="18"/>
                                        </p:tgtEl>
                                        <p:attrNameLst>
                                          <p:attrName>style.visibility</p:attrName>
                                        </p:attrNameLst>
                                      </p:cBhvr>
                                      <p:to>
                                        <p:strVal val="visible"/>
                                      </p:to>
                                    </p:set>
                                  </p:childTnLst>
                                </p:cTn>
                              </p:par>
                            </p:childTnLst>
                          </p:cTn>
                        </p:par>
                        <p:par>
                          <p:cTn id="28" fill="hold">
                            <p:stCondLst>
                              <p:cond delay="0"/>
                            </p:stCondLst>
                            <p:childTnLst>
                              <p:par>
                                <p:cTn id="29" presetID="1" presetClass="entr" presetSubtype="0" fill="hold" nodeType="afterEffect">
                                  <p:stCondLst>
                                    <p:cond delay="0"/>
                                  </p:stCondLst>
                                  <p:childTnLst>
                                    <p:set>
                                      <p:cBhvr>
                                        <p:cTn id="30" dur="1" fill="hold">
                                          <p:stCondLst>
                                            <p:cond delay="0"/>
                                          </p:stCondLst>
                                        </p:cTn>
                                        <p:tgtEl>
                                          <p:spTgt spid="19"/>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8"/>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2" grpId="0" animBg="1"/>
      <p:bldP spid="14" grpId="0" animBg="1"/>
      <p:bldP spid="16" grpId="0"/>
      <p:bldP spid="18" grpId="0" animBg="1"/>
      <p:bldP spid="3" grpId="0" animBg="1"/>
      <p:bldP spid="8" grpId="0" animBg="1"/>
      <p:bldP spid="9" grpId="0"/>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715674" y="260689"/>
            <a:ext cx="11412059" cy="553998"/>
          </a:xfrm>
        </p:spPr>
        <p:txBody>
          <a:bodyPr/>
          <a:lstStyle/>
          <a:p>
            <a:r>
              <a:rPr lang="en-US" dirty="0"/>
              <a:t>SQL Server 2019: Data Virtualization</a:t>
            </a:r>
          </a:p>
        </p:txBody>
      </p:sp>
      <p:grpSp>
        <p:nvGrpSpPr>
          <p:cNvPr id="6" name="Group 5">
            <a:extLst>
              <a:ext uri="{FF2B5EF4-FFF2-40B4-BE49-F238E27FC236}">
                <a16:creationId xmlns:a16="http://schemas.microsoft.com/office/drawing/2014/main" id="{FBE54A2D-4670-4565-B17D-9A6A60CD23B8}"/>
              </a:ext>
            </a:extLst>
          </p:cNvPr>
          <p:cNvGrpSpPr/>
          <p:nvPr/>
        </p:nvGrpSpPr>
        <p:grpSpPr>
          <a:xfrm>
            <a:off x="5627445" y="3150401"/>
            <a:ext cx="914643" cy="1001598"/>
            <a:chOff x="5638675" y="2887316"/>
            <a:chExt cx="914643" cy="1001598"/>
          </a:xfrm>
        </p:grpSpPr>
        <p:sp>
          <p:nvSpPr>
            <p:cNvPr id="11" name="Freeform: Shape 829">
              <a:extLst>
                <a:ext uri="{FF2B5EF4-FFF2-40B4-BE49-F238E27FC236}">
                  <a16:creationId xmlns:a16="http://schemas.microsoft.com/office/drawing/2014/main" id="{00341503-30F5-42D6-B1B6-760962A08B2D}"/>
                </a:ext>
              </a:extLst>
            </p:cNvPr>
            <p:cNvSpPr/>
            <p:nvPr/>
          </p:nvSpPr>
          <p:spPr bwMode="auto">
            <a:xfrm>
              <a:off x="5638675" y="2887316"/>
              <a:ext cx="914643" cy="1001598"/>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solidFill>
              <a:srgbClr val="2F78D0"/>
            </a:solidFill>
            <a:ln w="12700">
              <a:solidFill>
                <a:srgbClr val="02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5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WWI</a:t>
              </a:r>
            </a:p>
          </p:txBody>
        </p:sp>
        <p:sp>
          <p:nvSpPr>
            <p:cNvPr id="12" name="Rectangle 11">
              <a:extLst>
                <a:ext uri="{FF2B5EF4-FFF2-40B4-BE49-F238E27FC236}">
                  <a16:creationId xmlns:a16="http://schemas.microsoft.com/office/drawing/2014/main" id="{ADBF28B5-7A3B-4D49-943A-F97D7562F5BA}"/>
                </a:ext>
              </a:extLst>
            </p:cNvPr>
            <p:cNvSpPr/>
            <p:nvPr/>
          </p:nvSpPr>
          <p:spPr>
            <a:xfrm>
              <a:off x="5792072" y="3279118"/>
              <a:ext cx="607859" cy="341632"/>
            </a:xfrm>
            <a:prstGeom prst="rect">
              <a:avLst/>
            </a:prstGeom>
          </p:spPr>
          <p:txBody>
            <a:bodyPr wrap="square">
              <a:spAutoFit/>
            </a:bodyPr>
            <a:lstStyle/>
            <a:p>
              <a:pPr algn="ctr">
                <a:lnSpc>
                  <a:spcPct val="90000"/>
                </a:lnSpc>
                <a:spcAft>
                  <a:spcPts val="600"/>
                </a:spcAft>
              </a:pPr>
              <a:r>
                <a:rPr lang="en-US" sz="1800" b="1" dirty="0">
                  <a:solidFill>
                    <a:srgbClr val="50E6FF"/>
                  </a:solidFill>
                  <a:latin typeface="Segoe UI" panose="020B0502040204020203" pitchFamily="34" charset="0"/>
                  <a:cs typeface="Segoe UI" panose="020B0502040204020203" pitchFamily="34" charset="0"/>
                </a:rPr>
                <a:t>SQL</a:t>
              </a:r>
            </a:p>
          </p:txBody>
        </p:sp>
      </p:grpSp>
      <p:pic>
        <p:nvPicPr>
          <p:cNvPr id="13" name="Picture 12">
            <a:extLst>
              <a:ext uri="{FF2B5EF4-FFF2-40B4-BE49-F238E27FC236}">
                <a16:creationId xmlns:a16="http://schemas.microsoft.com/office/drawing/2014/main" id="{738B875B-EFBB-4A2E-98E1-72D8588EE7AC}"/>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9892280" y="1056340"/>
            <a:ext cx="1909193" cy="1005508"/>
          </a:xfrm>
          <a:prstGeom prst="rect">
            <a:avLst/>
          </a:prstGeom>
        </p:spPr>
      </p:pic>
      <p:pic>
        <p:nvPicPr>
          <p:cNvPr id="15" name="Graphic 14">
            <a:extLst>
              <a:ext uri="{FF2B5EF4-FFF2-40B4-BE49-F238E27FC236}">
                <a16:creationId xmlns:a16="http://schemas.microsoft.com/office/drawing/2014/main" id="{75DB580B-1A06-4079-8E69-B9E789C1711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248525" y="2154008"/>
            <a:ext cx="476250" cy="476250"/>
          </a:xfrm>
          <a:prstGeom prst="rect">
            <a:avLst/>
          </a:prstGeom>
        </p:spPr>
      </p:pic>
      <p:sp>
        <p:nvSpPr>
          <p:cNvPr id="16" name="TextBox 15">
            <a:extLst>
              <a:ext uri="{FF2B5EF4-FFF2-40B4-BE49-F238E27FC236}">
                <a16:creationId xmlns:a16="http://schemas.microsoft.com/office/drawing/2014/main" id="{F25E9D5D-A5C9-4242-BF79-E4D6BAF3CBF2}"/>
              </a:ext>
            </a:extLst>
          </p:cNvPr>
          <p:cNvSpPr txBox="1"/>
          <p:nvPr/>
        </p:nvSpPr>
        <p:spPr>
          <a:xfrm>
            <a:off x="10159130" y="2304591"/>
            <a:ext cx="1303177" cy="615553"/>
          </a:xfrm>
          <a:prstGeom prst="rect">
            <a:avLst/>
          </a:prstGeom>
          <a:noFill/>
        </p:spPr>
        <p:txBody>
          <a:bodyPr wrap="none" lIns="0" tIns="0" rIns="0" bIns="0" rtlCol="0">
            <a:spAutoFit/>
          </a:bodyPr>
          <a:lstStyle/>
          <a:p>
            <a:pPr algn="ctr"/>
            <a:r>
              <a:rPr lang="en-US" sz="2000" dirty="0">
                <a:gradFill>
                  <a:gsLst>
                    <a:gs pos="2917">
                      <a:schemeClr val="tx1"/>
                    </a:gs>
                    <a:gs pos="30000">
                      <a:schemeClr val="tx1"/>
                    </a:gs>
                  </a:gsLst>
                  <a:lin ang="5400000" scaled="0"/>
                </a:gradFill>
              </a:rPr>
              <a:t>Mobile </a:t>
            </a:r>
          </a:p>
          <a:p>
            <a:pPr algn="l"/>
            <a:r>
              <a:rPr lang="en-US" sz="2000" dirty="0">
                <a:gradFill>
                  <a:gsLst>
                    <a:gs pos="2917">
                      <a:schemeClr val="tx1"/>
                    </a:gs>
                    <a:gs pos="30000">
                      <a:schemeClr val="tx1"/>
                    </a:gs>
                  </a:gsLst>
                  <a:lin ang="5400000" scaled="0"/>
                </a:gradFill>
              </a:rPr>
              <a:t>App Orders</a:t>
            </a:r>
          </a:p>
        </p:txBody>
      </p:sp>
      <p:pic>
        <p:nvPicPr>
          <p:cNvPr id="18" name="Picture 2" descr="http://www.bojanglesmuseum.com/wp-content/uploads/2017/07/Cool-Microsoft-Sql-Server-Logo-98-On-Create-A-Free-Logo-with-Microsoft-Sql-Server-Logo.jpg">
            <a:extLst>
              <a:ext uri="{FF2B5EF4-FFF2-40B4-BE49-F238E27FC236}">
                <a16:creationId xmlns:a16="http://schemas.microsoft.com/office/drawing/2014/main" id="{3BFC25CE-3A20-41A4-A64F-EC173526679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3983" y="1180097"/>
            <a:ext cx="1004304" cy="507252"/>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0EC8C988-29D9-4955-B02F-3556876A8F31}"/>
              </a:ext>
            </a:extLst>
          </p:cNvPr>
          <p:cNvSpPr txBox="1"/>
          <p:nvPr/>
        </p:nvSpPr>
        <p:spPr>
          <a:xfrm>
            <a:off x="400299" y="1820741"/>
            <a:ext cx="1891672"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Legacy Suppliers</a:t>
            </a:r>
          </a:p>
        </p:txBody>
      </p:sp>
      <p:sp>
        <p:nvSpPr>
          <p:cNvPr id="21" name="TextBox 20">
            <a:extLst>
              <a:ext uri="{FF2B5EF4-FFF2-40B4-BE49-F238E27FC236}">
                <a16:creationId xmlns:a16="http://schemas.microsoft.com/office/drawing/2014/main" id="{9CBAC01E-0BFA-4EFB-9303-FF0EE4FA6799}"/>
              </a:ext>
            </a:extLst>
          </p:cNvPr>
          <p:cNvSpPr txBox="1"/>
          <p:nvPr/>
        </p:nvSpPr>
        <p:spPr>
          <a:xfrm>
            <a:off x="9536780" y="5748313"/>
            <a:ext cx="2304605"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Accounts Receivable</a:t>
            </a:r>
          </a:p>
        </p:txBody>
      </p:sp>
      <p:pic>
        <p:nvPicPr>
          <p:cNvPr id="23" name="Picture 22">
            <a:extLst>
              <a:ext uri="{FF2B5EF4-FFF2-40B4-BE49-F238E27FC236}">
                <a16:creationId xmlns:a16="http://schemas.microsoft.com/office/drawing/2014/main" id="{5964AA12-D244-498B-8EFA-9BA744C831FA}"/>
              </a:ext>
            </a:extLst>
          </p:cNvPr>
          <p:cNvPicPr>
            <a:picLocks noChangeAspect="1"/>
          </p:cNvPicPr>
          <p:nvPr/>
        </p:nvPicPr>
        <p:blipFill>
          <a:blip r:embed="rId8">
            <a:extLst>
              <a:ext uri="{837473B0-CC2E-450A-ABE3-18F120FF3D39}">
                <a1611:picAttrSrcUrl xmlns:a1611="http://schemas.microsoft.com/office/drawing/2016/11/main" r:id="rId9"/>
              </a:ext>
            </a:extLst>
          </a:blip>
          <a:stretch>
            <a:fillRect/>
          </a:stretch>
        </p:blipFill>
        <p:spPr>
          <a:xfrm>
            <a:off x="9700809" y="4227743"/>
            <a:ext cx="1976546" cy="1482410"/>
          </a:xfrm>
          <a:prstGeom prst="rect">
            <a:avLst/>
          </a:prstGeom>
        </p:spPr>
      </p:pic>
      <p:sp>
        <p:nvSpPr>
          <p:cNvPr id="25" name="Title 2">
            <a:extLst>
              <a:ext uri="{FF2B5EF4-FFF2-40B4-BE49-F238E27FC236}">
                <a16:creationId xmlns:a16="http://schemas.microsoft.com/office/drawing/2014/main" id="{2CF7F0F3-2929-40F9-BF59-AF5B124BAD2A}"/>
              </a:ext>
            </a:extLst>
          </p:cNvPr>
          <p:cNvSpPr txBox="1">
            <a:spLocks/>
          </p:cNvSpPr>
          <p:nvPr/>
        </p:nvSpPr>
        <p:spPr>
          <a:xfrm>
            <a:off x="2849983" y="3293447"/>
            <a:ext cx="3246013" cy="738664"/>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lang="en-US" sz="2400" dirty="0"/>
              <a:t>SQL Server </a:t>
            </a:r>
          </a:p>
          <a:p>
            <a:pPr algn="ctr"/>
            <a:r>
              <a:rPr lang="en-US" sz="2400" dirty="0"/>
              <a:t>2019</a:t>
            </a:r>
          </a:p>
        </p:txBody>
      </p:sp>
      <p:pic>
        <p:nvPicPr>
          <p:cNvPr id="27" name="Picture 26" descr="A picture containing clipart&#10;&#10;Description automatically generated">
            <a:extLst>
              <a:ext uri="{FF2B5EF4-FFF2-40B4-BE49-F238E27FC236}">
                <a16:creationId xmlns:a16="http://schemas.microsoft.com/office/drawing/2014/main" id="{228C2513-5582-417B-9C84-5A3605FED4CC}"/>
              </a:ext>
            </a:extLst>
          </p:cNvPr>
          <p:cNvPicPr>
            <a:picLocks noChangeAspect="1"/>
          </p:cNvPicPr>
          <p:nvPr/>
        </p:nvPicPr>
        <p:blipFill>
          <a:blip r:embed="rId10">
            <a:extLst>
              <a:ext uri="{837473B0-CC2E-450A-ABE3-18F120FF3D39}">
                <a1611:picAttrSrcUrl xmlns:a1611="http://schemas.microsoft.com/office/drawing/2016/11/main" r:id="rId11"/>
              </a:ext>
            </a:extLst>
          </a:blip>
          <a:stretch>
            <a:fillRect/>
          </a:stretch>
        </p:blipFill>
        <p:spPr>
          <a:xfrm>
            <a:off x="5446829" y="5079508"/>
            <a:ext cx="1298341" cy="871656"/>
          </a:xfrm>
          <a:prstGeom prst="rect">
            <a:avLst/>
          </a:prstGeom>
        </p:spPr>
      </p:pic>
      <p:sp>
        <p:nvSpPr>
          <p:cNvPr id="29" name="TextBox 28">
            <a:extLst>
              <a:ext uri="{FF2B5EF4-FFF2-40B4-BE49-F238E27FC236}">
                <a16:creationId xmlns:a16="http://schemas.microsoft.com/office/drawing/2014/main" id="{E01F73E2-6696-44F5-89E6-BEA8567DB495}"/>
              </a:ext>
            </a:extLst>
          </p:cNvPr>
          <p:cNvSpPr txBox="1"/>
          <p:nvPr/>
        </p:nvSpPr>
        <p:spPr>
          <a:xfrm>
            <a:off x="5284526" y="6020222"/>
            <a:ext cx="1622945"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Order Reviews</a:t>
            </a:r>
          </a:p>
        </p:txBody>
      </p:sp>
      <p:pic>
        <p:nvPicPr>
          <p:cNvPr id="31" name="Picture 30" descr="A picture containing clipart&#10;&#10;Description automatically generated">
            <a:extLst>
              <a:ext uri="{FF2B5EF4-FFF2-40B4-BE49-F238E27FC236}">
                <a16:creationId xmlns:a16="http://schemas.microsoft.com/office/drawing/2014/main" id="{AE45E4AC-DAE2-4A28-B72E-E01DBBF732EB}"/>
              </a:ext>
            </a:extLst>
          </p:cNvPr>
          <p:cNvPicPr>
            <a:picLocks noChangeAspect="1"/>
          </p:cNvPicPr>
          <p:nvPr/>
        </p:nvPicPr>
        <p:blipFill>
          <a:blip r:embed="rId12">
            <a:extLst>
              <a:ext uri="{837473B0-CC2E-450A-ABE3-18F120FF3D39}">
                <a1611:picAttrSrcUrl xmlns:a1611="http://schemas.microsoft.com/office/drawing/2016/11/main" r:id="rId13"/>
              </a:ext>
            </a:extLst>
          </a:blip>
          <a:stretch>
            <a:fillRect/>
          </a:stretch>
        </p:blipFill>
        <p:spPr>
          <a:xfrm>
            <a:off x="1119081" y="5028666"/>
            <a:ext cx="1799530" cy="643908"/>
          </a:xfrm>
          <a:prstGeom prst="rect">
            <a:avLst/>
          </a:prstGeom>
        </p:spPr>
      </p:pic>
      <p:sp>
        <p:nvSpPr>
          <p:cNvPr id="34" name="TextBox 33">
            <a:extLst>
              <a:ext uri="{FF2B5EF4-FFF2-40B4-BE49-F238E27FC236}">
                <a16:creationId xmlns:a16="http://schemas.microsoft.com/office/drawing/2014/main" id="{F818029D-CEBF-4A50-8235-C36A7E8177FF}"/>
              </a:ext>
            </a:extLst>
          </p:cNvPr>
          <p:cNvSpPr txBox="1"/>
          <p:nvPr/>
        </p:nvSpPr>
        <p:spPr>
          <a:xfrm>
            <a:off x="182235" y="5866552"/>
            <a:ext cx="3144643"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Customers from Acquisition</a:t>
            </a:r>
          </a:p>
        </p:txBody>
      </p:sp>
      <p:cxnSp>
        <p:nvCxnSpPr>
          <p:cNvPr id="42" name="Straight Connector 41">
            <a:extLst>
              <a:ext uri="{FF2B5EF4-FFF2-40B4-BE49-F238E27FC236}">
                <a16:creationId xmlns:a16="http://schemas.microsoft.com/office/drawing/2014/main" id="{6736C0D9-EC1D-48CE-A3F5-E824D32FD78B}"/>
              </a:ext>
            </a:extLst>
          </p:cNvPr>
          <p:cNvCxnSpPr>
            <a:cxnSpLocks/>
            <a:stCxn id="11" idx="6"/>
          </p:cNvCxnSpPr>
          <p:nvPr/>
        </p:nvCxnSpPr>
        <p:spPr>
          <a:xfrm flipV="1">
            <a:off x="6542088" y="1921690"/>
            <a:ext cx="3492895" cy="1371704"/>
          </a:xfrm>
          <a:prstGeom prst="line">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591962F-A25C-4E31-95F1-C7C8036DF050}"/>
              </a:ext>
            </a:extLst>
          </p:cNvPr>
          <p:cNvCxnSpPr>
            <a:cxnSpLocks/>
            <a:endCxn id="11" idx="9"/>
          </p:cNvCxnSpPr>
          <p:nvPr/>
        </p:nvCxnSpPr>
        <p:spPr>
          <a:xfrm flipV="1">
            <a:off x="2499933" y="4009006"/>
            <a:ext cx="3127512" cy="904214"/>
          </a:xfrm>
          <a:prstGeom prst="line">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6F4C9A28-D433-4C04-891D-E148D19E8E25}"/>
              </a:ext>
            </a:extLst>
          </p:cNvPr>
          <p:cNvCxnSpPr>
            <a:cxnSpLocks/>
          </p:cNvCxnSpPr>
          <p:nvPr/>
        </p:nvCxnSpPr>
        <p:spPr>
          <a:xfrm flipV="1">
            <a:off x="6095996" y="4124300"/>
            <a:ext cx="0" cy="788920"/>
          </a:xfrm>
          <a:prstGeom prst="line">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269D9C4-748C-4B8F-93F7-F73B5F942B6A}"/>
              </a:ext>
            </a:extLst>
          </p:cNvPr>
          <p:cNvCxnSpPr>
            <a:cxnSpLocks/>
            <a:endCxn id="11" idx="10"/>
          </p:cNvCxnSpPr>
          <p:nvPr/>
        </p:nvCxnSpPr>
        <p:spPr>
          <a:xfrm>
            <a:off x="2184850" y="1715179"/>
            <a:ext cx="3442595" cy="1578215"/>
          </a:xfrm>
          <a:prstGeom prst="line">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D3318D58-A131-4C59-B7E3-CB4481040467}"/>
              </a:ext>
            </a:extLst>
          </p:cNvPr>
          <p:cNvCxnSpPr>
            <a:cxnSpLocks/>
          </p:cNvCxnSpPr>
          <p:nvPr/>
        </p:nvCxnSpPr>
        <p:spPr>
          <a:xfrm>
            <a:off x="6523423" y="4009006"/>
            <a:ext cx="2947889" cy="1255538"/>
          </a:xfrm>
          <a:prstGeom prst="line">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76118A14-0678-4C9C-898D-126590949804}"/>
              </a:ext>
            </a:extLst>
          </p:cNvPr>
          <p:cNvSpPr txBox="1"/>
          <p:nvPr/>
        </p:nvSpPr>
        <p:spPr>
          <a:xfrm>
            <a:off x="6809863" y="3508433"/>
            <a:ext cx="2375010" cy="307777"/>
          </a:xfrm>
          <a:prstGeom prst="rect">
            <a:avLst/>
          </a:prstGeom>
          <a:noFill/>
        </p:spPr>
        <p:txBody>
          <a:bodyPr wrap="none" lIns="0" tIns="0" rIns="0" bIns="0" rtlCol="0">
            <a:spAutoFit/>
          </a:bodyPr>
          <a:lstStyle/>
          <a:p>
            <a:pPr algn="ctr"/>
            <a:r>
              <a:rPr lang="en-US" sz="2000" dirty="0">
                <a:gradFill>
                  <a:gsLst>
                    <a:gs pos="2917">
                      <a:schemeClr val="tx1"/>
                    </a:gs>
                    <a:gs pos="30000">
                      <a:schemeClr val="tx1"/>
                    </a:gs>
                  </a:gsLst>
                  <a:lin ang="5400000" scaled="0"/>
                </a:gradFill>
              </a:rPr>
              <a:t>WideWorldimporters</a:t>
            </a:r>
          </a:p>
        </p:txBody>
      </p:sp>
      <p:pic>
        <p:nvPicPr>
          <p:cNvPr id="3" name="Picture 2" descr="A close up of a sign&#10;&#10;Description automatically generated">
            <a:extLst>
              <a:ext uri="{FF2B5EF4-FFF2-40B4-BE49-F238E27FC236}">
                <a16:creationId xmlns:a16="http://schemas.microsoft.com/office/drawing/2014/main" id="{13A13B8B-5F13-4AF2-B1BE-40E2756F4B5E}"/>
              </a:ext>
            </a:extLst>
          </p:cNvPr>
          <p:cNvPicPr>
            <a:picLocks noChangeAspect="1"/>
          </p:cNvPicPr>
          <p:nvPr/>
        </p:nvPicPr>
        <p:blipFill>
          <a:blip r:embed="rId14"/>
          <a:stretch>
            <a:fillRect/>
          </a:stretch>
        </p:blipFill>
        <p:spPr>
          <a:xfrm>
            <a:off x="5780842" y="1117437"/>
            <a:ext cx="780290" cy="780290"/>
          </a:xfrm>
          <a:prstGeom prst="rect">
            <a:avLst/>
          </a:prstGeom>
        </p:spPr>
      </p:pic>
      <p:cxnSp>
        <p:nvCxnSpPr>
          <p:cNvPr id="35" name="Straight Connector 34">
            <a:extLst>
              <a:ext uri="{FF2B5EF4-FFF2-40B4-BE49-F238E27FC236}">
                <a16:creationId xmlns:a16="http://schemas.microsoft.com/office/drawing/2014/main" id="{2C3DB9CA-8C6E-4E99-BF10-E3E8D660BF38}"/>
              </a:ext>
            </a:extLst>
          </p:cNvPr>
          <p:cNvCxnSpPr>
            <a:cxnSpLocks/>
          </p:cNvCxnSpPr>
          <p:nvPr/>
        </p:nvCxnSpPr>
        <p:spPr>
          <a:xfrm flipH="1" flipV="1">
            <a:off x="6067921" y="2000502"/>
            <a:ext cx="11230" cy="1110711"/>
          </a:xfrm>
          <a:prstGeom prst="line">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0485299E-DE80-49DB-AEFB-89F3194A3609}"/>
              </a:ext>
            </a:extLst>
          </p:cNvPr>
          <p:cNvSpPr txBox="1"/>
          <p:nvPr/>
        </p:nvSpPr>
        <p:spPr>
          <a:xfrm>
            <a:off x="6542088" y="1251317"/>
            <a:ext cx="2200987"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Modern StockItems</a:t>
            </a:r>
          </a:p>
        </p:txBody>
      </p:sp>
    </p:spTree>
    <p:extLst>
      <p:ext uri="{BB962C8B-B14F-4D97-AF65-F5344CB8AC3E}">
        <p14:creationId xmlns:p14="http://schemas.microsoft.com/office/powerpoint/2010/main" val="3043429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par>
                                <p:cTn id="11" presetID="10" presetClass="entr" presetSubtype="0" fill="hold" nodeType="withEffect">
                                  <p:stCondLst>
                                    <p:cond delay="0"/>
                                  </p:stCondLst>
                                  <p:childTnLst>
                                    <p:set>
                                      <p:cBhvr>
                                        <p:cTn id="12" dur="1" fill="hold">
                                          <p:stCondLst>
                                            <p:cond delay="0"/>
                                          </p:stCondLst>
                                        </p:cTn>
                                        <p:tgtEl>
                                          <p:spTgt spid="50"/>
                                        </p:tgtEl>
                                        <p:attrNameLst>
                                          <p:attrName>style.visibility</p:attrName>
                                        </p:attrNameLst>
                                      </p:cBhvr>
                                      <p:to>
                                        <p:strVal val="visible"/>
                                      </p:to>
                                    </p:set>
                                    <p:animEffect transition="in" filter="fade">
                                      <p:cBhvr>
                                        <p:cTn id="13" dur="500"/>
                                        <p:tgtEl>
                                          <p:spTgt spid="50"/>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3"/>
                                        </p:tgtEl>
                                        <p:attrNameLst>
                                          <p:attrName>style.visibility</p:attrName>
                                        </p:attrNameLst>
                                      </p:cBhvr>
                                      <p:to>
                                        <p:strVal val="visible"/>
                                      </p:to>
                                    </p:set>
                                  </p:childTnLst>
                                </p:cTn>
                              </p:par>
                              <p:par>
                                <p:cTn id="18" presetID="1" presetClass="entr" presetSubtype="0" fill="hold" grpId="0" nodeType="withEffect">
                                  <p:stCondLst>
                                    <p:cond delay="0"/>
                                  </p:stCondLst>
                                  <p:childTnLst>
                                    <p:set>
                                      <p:cBhvr>
                                        <p:cTn id="19" dur="1" fill="hold">
                                          <p:stCondLst>
                                            <p:cond delay="0"/>
                                          </p:stCondLst>
                                        </p:cTn>
                                        <p:tgtEl>
                                          <p:spTgt spid="30"/>
                                        </p:tgtEl>
                                        <p:attrNameLst>
                                          <p:attrName>style.visibility</p:attrName>
                                        </p:attrNameLst>
                                      </p:cBhvr>
                                      <p:to>
                                        <p:strVal val="visible"/>
                                      </p:to>
                                    </p:set>
                                  </p:childTnLst>
                                </p:cTn>
                              </p:par>
                              <p:par>
                                <p:cTn id="20" presetID="1" presetClass="entr" presetSubtype="0" fill="hold" nodeType="withEffect">
                                  <p:stCondLst>
                                    <p:cond delay="0"/>
                                  </p:stCondLst>
                                  <p:childTnLst>
                                    <p:set>
                                      <p:cBhvr>
                                        <p:cTn id="21" dur="1" fill="hold">
                                          <p:stCondLst>
                                            <p:cond delay="0"/>
                                          </p:stCondLst>
                                        </p:cTn>
                                        <p:tgtEl>
                                          <p:spTgt spid="35"/>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16"/>
                                        </p:tgtEl>
                                        <p:attrNameLst>
                                          <p:attrName>style.visibility</p:attrName>
                                        </p:attrNameLst>
                                      </p:cBhvr>
                                      <p:to>
                                        <p:strVal val="visible"/>
                                      </p:to>
                                    </p:set>
                                    <p:animEffect transition="in" filter="fade">
                                      <p:cBhvr>
                                        <p:cTn id="26" dur="500"/>
                                        <p:tgtEl>
                                          <p:spTgt spid="16"/>
                                        </p:tgtEl>
                                      </p:cBhvr>
                                    </p:animEffect>
                                  </p:childTnLst>
                                </p:cTn>
                              </p:par>
                              <p:par>
                                <p:cTn id="27" presetID="10" presetClass="entr" presetSubtype="0" fill="hold" nodeType="withEffect">
                                  <p:stCondLst>
                                    <p:cond delay="0"/>
                                  </p:stCondLst>
                                  <p:childTnLst>
                                    <p:set>
                                      <p:cBhvr>
                                        <p:cTn id="28" dur="1" fill="hold">
                                          <p:stCondLst>
                                            <p:cond delay="0"/>
                                          </p:stCondLst>
                                        </p:cTn>
                                        <p:tgtEl>
                                          <p:spTgt spid="15"/>
                                        </p:tgtEl>
                                        <p:attrNameLst>
                                          <p:attrName>style.visibility</p:attrName>
                                        </p:attrNameLst>
                                      </p:cBhvr>
                                      <p:to>
                                        <p:strVal val="visible"/>
                                      </p:to>
                                    </p:set>
                                    <p:animEffect transition="in" filter="fade">
                                      <p:cBhvr>
                                        <p:cTn id="29" dur="500"/>
                                        <p:tgtEl>
                                          <p:spTgt spid="15"/>
                                        </p:tgtEl>
                                      </p:cBhvr>
                                    </p:animEffect>
                                  </p:childTnLst>
                                </p:cTn>
                              </p:par>
                              <p:par>
                                <p:cTn id="30" presetID="10" presetClass="entr" presetSubtype="0" fill="hold"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par>
                                <p:cTn id="33" presetID="10" presetClass="entr" presetSubtype="0" fill="hold" nodeType="withEffect">
                                  <p:stCondLst>
                                    <p:cond delay="0"/>
                                  </p:stCondLst>
                                  <p:childTnLst>
                                    <p:set>
                                      <p:cBhvr>
                                        <p:cTn id="34" dur="1" fill="hold">
                                          <p:stCondLst>
                                            <p:cond delay="0"/>
                                          </p:stCondLst>
                                        </p:cTn>
                                        <p:tgtEl>
                                          <p:spTgt spid="42"/>
                                        </p:tgtEl>
                                        <p:attrNameLst>
                                          <p:attrName>style.visibility</p:attrName>
                                        </p:attrNameLst>
                                      </p:cBhvr>
                                      <p:to>
                                        <p:strVal val="visible"/>
                                      </p:to>
                                    </p:set>
                                    <p:animEffect transition="in" filter="fade">
                                      <p:cBhvr>
                                        <p:cTn id="35" dur="500"/>
                                        <p:tgtEl>
                                          <p:spTgt spid="42"/>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23"/>
                                        </p:tgtEl>
                                        <p:attrNameLst>
                                          <p:attrName>style.visibility</p:attrName>
                                        </p:attrNameLst>
                                      </p:cBhvr>
                                      <p:to>
                                        <p:strVal val="visible"/>
                                      </p:to>
                                    </p:set>
                                    <p:animEffect transition="in" filter="fade">
                                      <p:cBhvr>
                                        <p:cTn id="40" dur="500"/>
                                        <p:tgtEl>
                                          <p:spTgt spid="23"/>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21"/>
                                        </p:tgtEl>
                                        <p:attrNameLst>
                                          <p:attrName>style.visibility</p:attrName>
                                        </p:attrNameLst>
                                      </p:cBhvr>
                                      <p:to>
                                        <p:strVal val="visible"/>
                                      </p:to>
                                    </p:set>
                                    <p:animEffect transition="in" filter="fade">
                                      <p:cBhvr>
                                        <p:cTn id="43" dur="500"/>
                                        <p:tgtEl>
                                          <p:spTgt spid="21"/>
                                        </p:tgtEl>
                                      </p:cBhvr>
                                    </p:animEffect>
                                  </p:childTnLst>
                                </p:cTn>
                              </p:par>
                              <p:par>
                                <p:cTn id="44" presetID="10" presetClass="entr" presetSubtype="0" fill="hold" nodeType="withEffect">
                                  <p:stCondLst>
                                    <p:cond delay="0"/>
                                  </p:stCondLst>
                                  <p:childTnLst>
                                    <p:set>
                                      <p:cBhvr>
                                        <p:cTn id="45" dur="1" fill="hold">
                                          <p:stCondLst>
                                            <p:cond delay="0"/>
                                          </p:stCondLst>
                                        </p:cTn>
                                        <p:tgtEl>
                                          <p:spTgt spid="56"/>
                                        </p:tgtEl>
                                        <p:attrNameLst>
                                          <p:attrName>style.visibility</p:attrName>
                                        </p:attrNameLst>
                                      </p:cBhvr>
                                      <p:to>
                                        <p:strVal val="visible"/>
                                      </p:to>
                                    </p:set>
                                    <p:animEffect transition="in" filter="fade">
                                      <p:cBhvr>
                                        <p:cTn id="46" dur="500"/>
                                        <p:tgtEl>
                                          <p:spTgt spid="56"/>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27"/>
                                        </p:tgtEl>
                                        <p:attrNameLst>
                                          <p:attrName>style.visibility</p:attrName>
                                        </p:attrNameLst>
                                      </p:cBhvr>
                                      <p:to>
                                        <p:strVal val="visible"/>
                                      </p:to>
                                    </p:set>
                                    <p:animEffect transition="in" filter="fade">
                                      <p:cBhvr>
                                        <p:cTn id="51" dur="500"/>
                                        <p:tgtEl>
                                          <p:spTgt spid="27"/>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29"/>
                                        </p:tgtEl>
                                        <p:attrNameLst>
                                          <p:attrName>style.visibility</p:attrName>
                                        </p:attrNameLst>
                                      </p:cBhvr>
                                      <p:to>
                                        <p:strVal val="visible"/>
                                      </p:to>
                                    </p:set>
                                    <p:animEffect transition="in" filter="fade">
                                      <p:cBhvr>
                                        <p:cTn id="54" dur="500"/>
                                        <p:tgtEl>
                                          <p:spTgt spid="29"/>
                                        </p:tgtEl>
                                      </p:cBhvr>
                                    </p:animEffect>
                                  </p:childTnLst>
                                </p:cTn>
                              </p:par>
                              <p:par>
                                <p:cTn id="55" presetID="10" presetClass="entr" presetSubtype="0" fill="hold" nodeType="withEffect">
                                  <p:stCondLst>
                                    <p:cond delay="0"/>
                                  </p:stCondLst>
                                  <p:childTnLst>
                                    <p:set>
                                      <p:cBhvr>
                                        <p:cTn id="56" dur="1" fill="hold">
                                          <p:stCondLst>
                                            <p:cond delay="0"/>
                                          </p:stCondLst>
                                        </p:cTn>
                                        <p:tgtEl>
                                          <p:spTgt spid="46"/>
                                        </p:tgtEl>
                                        <p:attrNameLst>
                                          <p:attrName>style.visibility</p:attrName>
                                        </p:attrNameLst>
                                      </p:cBhvr>
                                      <p:to>
                                        <p:strVal val="visible"/>
                                      </p:to>
                                    </p:set>
                                    <p:animEffect transition="in" filter="fade">
                                      <p:cBhvr>
                                        <p:cTn id="57" dur="500"/>
                                        <p:tgtEl>
                                          <p:spTgt spid="46"/>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31"/>
                                        </p:tgtEl>
                                        <p:attrNameLst>
                                          <p:attrName>style.visibility</p:attrName>
                                        </p:attrNameLst>
                                      </p:cBhvr>
                                      <p:to>
                                        <p:strVal val="visible"/>
                                      </p:to>
                                    </p:set>
                                    <p:animEffect transition="in" filter="fade">
                                      <p:cBhvr>
                                        <p:cTn id="62" dur="500"/>
                                        <p:tgtEl>
                                          <p:spTgt spid="31"/>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34"/>
                                        </p:tgtEl>
                                        <p:attrNameLst>
                                          <p:attrName>style.visibility</p:attrName>
                                        </p:attrNameLst>
                                      </p:cBhvr>
                                      <p:to>
                                        <p:strVal val="visible"/>
                                      </p:to>
                                    </p:set>
                                    <p:animEffect transition="in" filter="fade">
                                      <p:cBhvr>
                                        <p:cTn id="65" dur="500"/>
                                        <p:tgtEl>
                                          <p:spTgt spid="34"/>
                                        </p:tgtEl>
                                      </p:cBhvr>
                                    </p:animEffect>
                                  </p:childTnLst>
                                </p:cTn>
                              </p:par>
                              <p:par>
                                <p:cTn id="66" presetID="10" presetClass="entr" presetSubtype="0" fill="hold" nodeType="with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fade">
                                      <p:cBhvr>
                                        <p:cTn id="68"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9" grpId="0"/>
      <p:bldP spid="21" grpId="0"/>
      <p:bldP spid="29" grpId="0"/>
      <p:bldP spid="34" grpId="0"/>
      <p:bldP spid="3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863" y="488"/>
            <a:ext cx="4675798" cy="899537"/>
          </a:xfrm>
          <a:prstGeom prst="rect">
            <a:avLst/>
          </a:prstGeom>
        </p:spPr>
        <p:txBody>
          <a:bodyPr lIns="365708" tIns="365708">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spcBef>
                <a:spcPts val="1200"/>
              </a:spcBef>
              <a:defRPr/>
            </a:pPr>
            <a:r>
              <a:rPr lang="en-US" sz="2800" cap="all" spc="800" dirty="0">
                <a:solidFill>
                  <a:srgbClr val="0078D7"/>
                </a:solidFill>
                <a:latin typeface="Segoe UI Semilight" charset="0"/>
                <a:ea typeface="Segoe UI Semilight" charset="0"/>
                <a:cs typeface="Segoe UI Semilight" charset="0"/>
              </a:rPr>
              <a:t>SQL SERVER 2017 </a:t>
            </a:r>
          </a:p>
        </p:txBody>
      </p:sp>
      <p:sp>
        <p:nvSpPr>
          <p:cNvPr id="155" name="Title 1">
            <a:extLst>
              <a:ext uri="{FF2B5EF4-FFF2-40B4-BE49-F238E27FC236}">
                <a16:creationId xmlns:a16="http://schemas.microsoft.com/office/drawing/2014/main" id="{1A979F03-27B5-439D-9049-850E8A1E6D08}"/>
              </a:ext>
            </a:extLst>
          </p:cNvPr>
          <p:cNvSpPr txBox="1">
            <a:spLocks/>
          </p:cNvSpPr>
          <p:nvPr/>
        </p:nvSpPr>
        <p:spPr>
          <a:xfrm>
            <a:off x="20832" y="468553"/>
            <a:ext cx="3811866" cy="899537"/>
          </a:xfrm>
          <a:prstGeom prst="rect">
            <a:avLst/>
          </a:prstGeom>
        </p:spPr>
        <p:txBody>
          <a:bodyPr lIns="365708" tIns="365708">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spcBef>
                <a:spcPts val="1200"/>
              </a:spcBef>
              <a:defRPr/>
            </a:pPr>
            <a:r>
              <a:rPr lang="en-US" sz="1600" spc="0" dirty="0">
                <a:solidFill>
                  <a:srgbClr val="0078D7"/>
                </a:solidFill>
                <a:latin typeface="Segoe UI Semilight" charset="0"/>
                <a:ea typeface="Segoe UI Semilight" charset="0"/>
                <a:cs typeface="Segoe UI Semilight" charset="0"/>
              </a:rPr>
              <a:t>Key New Functionality</a:t>
            </a:r>
          </a:p>
        </p:txBody>
      </p:sp>
      <p:grpSp>
        <p:nvGrpSpPr>
          <p:cNvPr id="3" name="Group 2">
            <a:extLst>
              <a:ext uri="{FF2B5EF4-FFF2-40B4-BE49-F238E27FC236}">
                <a16:creationId xmlns:a16="http://schemas.microsoft.com/office/drawing/2014/main" id="{FAC1151D-0DCE-4714-8951-2A494A078F5E}"/>
              </a:ext>
            </a:extLst>
          </p:cNvPr>
          <p:cNvGrpSpPr/>
          <p:nvPr/>
        </p:nvGrpSpPr>
        <p:grpSpPr>
          <a:xfrm>
            <a:off x="4606325" y="619426"/>
            <a:ext cx="2588016" cy="2714265"/>
            <a:chOff x="7720721" y="2327445"/>
            <a:chExt cx="2639911" cy="2768692"/>
          </a:xfrm>
        </p:grpSpPr>
        <p:sp>
          <p:nvSpPr>
            <p:cNvPr id="16" name="TextBox 15">
              <a:extLst>
                <a:ext uri="{FF2B5EF4-FFF2-40B4-BE49-F238E27FC236}">
                  <a16:creationId xmlns:a16="http://schemas.microsoft.com/office/drawing/2014/main" id="{BBF52E43-AE25-4477-BCE9-E7FAD6503773}"/>
                </a:ext>
              </a:extLst>
            </p:cNvPr>
            <p:cNvSpPr txBox="1"/>
            <p:nvPr/>
          </p:nvSpPr>
          <p:spPr>
            <a:xfrm>
              <a:off x="8693924" y="2742541"/>
              <a:ext cx="658515" cy="237782"/>
            </a:xfrm>
            <a:prstGeom prst="rect">
              <a:avLst/>
            </a:prstGeom>
            <a:noFill/>
            <a:ln w="38100">
              <a:noFill/>
              <a:miter lim="800000"/>
            </a:ln>
          </p:spPr>
          <p:txBody>
            <a:bodyPr wrap="square" lIns="75428" tIns="37714" rIns="75428" bIns="37714" rtlCol="0">
              <a:sp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algn="ctr" defTabSz="753730">
                <a:lnSpc>
                  <a:spcPct val="100000"/>
                </a:lnSpc>
                <a:defRPr/>
              </a:pPr>
              <a:r>
                <a:rPr lang="en-US" sz="1000" b="1" kern="0" spc="0" dirty="0">
                  <a:ln>
                    <a:solidFill>
                      <a:srgbClr val="FFFFFF">
                        <a:alpha val="0"/>
                      </a:srgbClr>
                    </a:solidFill>
                  </a:ln>
                  <a:solidFill>
                    <a:srgbClr val="000000"/>
                  </a:solidFill>
                  <a:latin typeface="Segoe UI Semibold" charset="0"/>
                  <a:cs typeface="Segoe UI Semibold" charset="0"/>
                </a:rPr>
                <a:t>Query</a:t>
              </a:r>
            </a:p>
          </p:txBody>
        </p:sp>
        <p:sp>
          <p:nvSpPr>
            <p:cNvPr id="17" name="TextBox 16">
              <a:extLst>
                <a:ext uri="{FF2B5EF4-FFF2-40B4-BE49-F238E27FC236}">
                  <a16:creationId xmlns:a16="http://schemas.microsoft.com/office/drawing/2014/main" id="{D50D4F34-827D-436D-8415-BD75979D31E9}"/>
                </a:ext>
              </a:extLst>
            </p:cNvPr>
            <p:cNvSpPr txBox="1"/>
            <p:nvPr/>
          </p:nvSpPr>
          <p:spPr>
            <a:xfrm>
              <a:off x="9669663" y="3727823"/>
              <a:ext cx="690969" cy="397873"/>
            </a:xfrm>
            <a:prstGeom prst="rect">
              <a:avLst/>
            </a:prstGeom>
            <a:noFill/>
            <a:ln w="38100">
              <a:noFill/>
              <a:miter lim="800000"/>
            </a:ln>
          </p:spPr>
          <p:txBody>
            <a:bodyPr wrap="square" lIns="75428" tIns="37714" rIns="75428" bIns="37714" rtlCol="0">
              <a:sp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algn="ctr" defTabSz="753730">
                <a:lnSpc>
                  <a:spcPct val="100000"/>
                </a:lnSpc>
                <a:defRPr/>
              </a:pPr>
              <a:r>
                <a:rPr lang="en-US" sz="1000" b="1" kern="0" spc="0" dirty="0">
                  <a:ln>
                    <a:solidFill>
                      <a:srgbClr val="FFFFFF">
                        <a:alpha val="0"/>
                      </a:srgbClr>
                    </a:solidFill>
                  </a:ln>
                  <a:solidFill>
                    <a:srgbClr val="000000"/>
                  </a:solidFill>
                  <a:latin typeface="Segoe UI Semibold" charset="0"/>
                  <a:cs typeface="Segoe UI Semibold" charset="0"/>
                </a:rPr>
                <a:t>Memory grant</a:t>
              </a:r>
            </a:p>
          </p:txBody>
        </p:sp>
        <p:sp>
          <p:nvSpPr>
            <p:cNvPr id="18" name="Arc 17">
              <a:extLst>
                <a:ext uri="{FF2B5EF4-FFF2-40B4-BE49-F238E27FC236}">
                  <a16:creationId xmlns:a16="http://schemas.microsoft.com/office/drawing/2014/main" id="{BD4D2719-BEA6-40DE-9620-DD837343B4CC}"/>
                </a:ext>
              </a:extLst>
            </p:cNvPr>
            <p:cNvSpPr/>
            <p:nvPr/>
          </p:nvSpPr>
          <p:spPr>
            <a:xfrm>
              <a:off x="8620100" y="2526673"/>
              <a:ext cx="1391377" cy="1391378"/>
            </a:xfrm>
            <a:prstGeom prst="arc">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754235">
                <a:defRPr/>
              </a:pPr>
              <a:endParaRPr lang="en-US" sz="1485" dirty="0">
                <a:solidFill>
                  <a:srgbClr val="505050"/>
                </a:solidFill>
                <a:latin typeface="Segoe UI"/>
              </a:endParaRPr>
            </a:p>
          </p:txBody>
        </p:sp>
        <p:sp>
          <p:nvSpPr>
            <p:cNvPr id="19" name="Arc 18">
              <a:extLst>
                <a:ext uri="{FF2B5EF4-FFF2-40B4-BE49-F238E27FC236}">
                  <a16:creationId xmlns:a16="http://schemas.microsoft.com/office/drawing/2014/main" id="{736492EC-EE24-4292-B22B-5237A056DA8E}"/>
                </a:ext>
              </a:extLst>
            </p:cNvPr>
            <p:cNvSpPr/>
            <p:nvPr/>
          </p:nvSpPr>
          <p:spPr>
            <a:xfrm rot="5400000">
              <a:off x="8611894" y="3240141"/>
              <a:ext cx="1391378" cy="1391377"/>
            </a:xfrm>
            <a:prstGeom prst="arc">
              <a:avLst>
                <a:gd name="adj1" fmla="val 17160506"/>
                <a:gd name="adj2" fmla="val 0"/>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754235">
                <a:defRPr/>
              </a:pPr>
              <a:endParaRPr lang="en-US" sz="1485" dirty="0">
                <a:solidFill>
                  <a:srgbClr val="505050"/>
                </a:solidFill>
                <a:latin typeface="Segoe UI"/>
              </a:endParaRPr>
            </a:p>
          </p:txBody>
        </p:sp>
        <p:sp>
          <p:nvSpPr>
            <p:cNvPr id="20" name="Arc 19">
              <a:extLst>
                <a:ext uri="{FF2B5EF4-FFF2-40B4-BE49-F238E27FC236}">
                  <a16:creationId xmlns:a16="http://schemas.microsoft.com/office/drawing/2014/main" id="{F761C144-D349-4D9A-9C00-4CD32064CB85}"/>
                </a:ext>
              </a:extLst>
            </p:cNvPr>
            <p:cNvSpPr/>
            <p:nvPr/>
          </p:nvSpPr>
          <p:spPr>
            <a:xfrm rot="10800000">
              <a:off x="7990655" y="3240139"/>
              <a:ext cx="1391377" cy="1391377"/>
            </a:xfrm>
            <a:prstGeom prst="arc">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754235">
                <a:defRPr/>
              </a:pPr>
              <a:endParaRPr lang="en-US" sz="1485" dirty="0">
                <a:solidFill>
                  <a:srgbClr val="505050"/>
                </a:solidFill>
                <a:latin typeface="Segoe UI"/>
              </a:endParaRPr>
            </a:p>
          </p:txBody>
        </p:sp>
        <p:sp>
          <p:nvSpPr>
            <p:cNvPr id="21" name="Arc 20">
              <a:extLst>
                <a:ext uri="{FF2B5EF4-FFF2-40B4-BE49-F238E27FC236}">
                  <a16:creationId xmlns:a16="http://schemas.microsoft.com/office/drawing/2014/main" id="{A763928B-C3FF-4F6D-94AD-F4D62B40D6B3}"/>
                </a:ext>
              </a:extLst>
            </p:cNvPr>
            <p:cNvSpPr/>
            <p:nvPr/>
          </p:nvSpPr>
          <p:spPr>
            <a:xfrm rot="16200000">
              <a:off x="7992617" y="2526675"/>
              <a:ext cx="1391377" cy="1391377"/>
            </a:xfrm>
            <a:prstGeom prst="arc">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754235">
                <a:defRPr/>
              </a:pPr>
              <a:endParaRPr lang="en-US" sz="1485" dirty="0">
                <a:solidFill>
                  <a:srgbClr val="505050"/>
                </a:solidFill>
                <a:latin typeface="Segoe UI"/>
              </a:endParaRPr>
            </a:p>
          </p:txBody>
        </p:sp>
        <p:sp>
          <p:nvSpPr>
            <p:cNvPr id="22" name="TextBox 21">
              <a:extLst>
                <a:ext uri="{FF2B5EF4-FFF2-40B4-BE49-F238E27FC236}">
                  <a16:creationId xmlns:a16="http://schemas.microsoft.com/office/drawing/2014/main" id="{578848E3-C901-46E5-A01C-2AF61463946F}"/>
                </a:ext>
              </a:extLst>
            </p:cNvPr>
            <p:cNvSpPr txBox="1"/>
            <p:nvPr/>
          </p:nvSpPr>
          <p:spPr>
            <a:xfrm>
              <a:off x="7720721" y="3691035"/>
              <a:ext cx="554139" cy="237782"/>
            </a:xfrm>
            <a:prstGeom prst="rect">
              <a:avLst/>
            </a:prstGeom>
            <a:noFill/>
            <a:ln w="38100">
              <a:noFill/>
              <a:miter lim="800000"/>
            </a:ln>
          </p:spPr>
          <p:txBody>
            <a:bodyPr wrap="square" lIns="75428" tIns="37714" rIns="75428" bIns="37714" rtlCol="0">
              <a:sp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algn="ctr" defTabSz="753730">
                <a:lnSpc>
                  <a:spcPct val="100000"/>
                </a:lnSpc>
                <a:defRPr/>
              </a:pPr>
              <a:r>
                <a:rPr lang="en-US" sz="1000" b="1" kern="0" spc="0" dirty="0">
                  <a:ln>
                    <a:solidFill>
                      <a:srgbClr val="FFFFFF">
                        <a:alpha val="0"/>
                      </a:srgbClr>
                    </a:solidFill>
                  </a:ln>
                  <a:solidFill>
                    <a:srgbClr val="000000"/>
                  </a:solidFill>
                  <a:latin typeface="Segoe UI Semibold" charset="0"/>
                  <a:cs typeface="Segoe UI Semibold" charset="0"/>
                </a:rPr>
                <a:t>Learn</a:t>
              </a:r>
            </a:p>
          </p:txBody>
        </p:sp>
        <p:sp>
          <p:nvSpPr>
            <p:cNvPr id="23" name="TextBox 22">
              <a:extLst>
                <a:ext uri="{FF2B5EF4-FFF2-40B4-BE49-F238E27FC236}">
                  <a16:creationId xmlns:a16="http://schemas.microsoft.com/office/drawing/2014/main" id="{EB4847C6-4B9C-4453-ADDF-1667B7C6D281}"/>
                </a:ext>
              </a:extLst>
            </p:cNvPr>
            <p:cNvSpPr txBox="1"/>
            <p:nvPr/>
          </p:nvSpPr>
          <p:spPr>
            <a:xfrm>
              <a:off x="8579356" y="4858355"/>
              <a:ext cx="842810" cy="237782"/>
            </a:xfrm>
            <a:prstGeom prst="rect">
              <a:avLst/>
            </a:prstGeom>
            <a:noFill/>
            <a:ln w="38100">
              <a:noFill/>
              <a:miter lim="800000"/>
            </a:ln>
          </p:spPr>
          <p:txBody>
            <a:bodyPr wrap="square" lIns="75428" tIns="37714" rIns="75428" bIns="37714" rtlCol="0">
              <a:sp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algn="ctr" defTabSz="753730">
                <a:lnSpc>
                  <a:spcPct val="100000"/>
                </a:lnSpc>
                <a:defRPr/>
              </a:pPr>
              <a:r>
                <a:rPr lang="en-US" sz="1000" b="1" kern="0" spc="0" dirty="0">
                  <a:ln>
                    <a:solidFill>
                      <a:srgbClr val="FFFFFF">
                        <a:alpha val="0"/>
                      </a:srgbClr>
                    </a:solidFill>
                  </a:ln>
                  <a:solidFill>
                    <a:srgbClr val="000000"/>
                  </a:solidFill>
                  <a:latin typeface="Segoe UI Semibold" charset="0"/>
                  <a:cs typeface="Segoe UI Semibold" charset="0"/>
                </a:rPr>
                <a:t>Run query</a:t>
              </a:r>
            </a:p>
          </p:txBody>
        </p:sp>
        <p:sp>
          <p:nvSpPr>
            <p:cNvPr id="24" name="Rectangle 23">
              <a:extLst>
                <a:ext uri="{FF2B5EF4-FFF2-40B4-BE49-F238E27FC236}">
                  <a16:creationId xmlns:a16="http://schemas.microsoft.com/office/drawing/2014/main" id="{88B9E8BC-0196-4072-AFFA-74AFB64859E6}"/>
                </a:ext>
              </a:extLst>
            </p:cNvPr>
            <p:cNvSpPr/>
            <p:nvPr/>
          </p:nvSpPr>
          <p:spPr>
            <a:xfrm>
              <a:off x="8388240" y="3396210"/>
              <a:ext cx="1273927" cy="414353"/>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Adaptive </a:t>
              </a:r>
              <a:br>
                <a:rPr lang="en-US" sz="1000" b="1" kern="0" dirty="0">
                  <a:ln>
                    <a:solidFill>
                      <a:srgbClr val="FFFFFF">
                        <a:alpha val="0"/>
                      </a:srgbClr>
                    </a:solidFill>
                  </a:ln>
                  <a:solidFill>
                    <a:srgbClr val="0078D7"/>
                  </a:solidFill>
                  <a:latin typeface="Segoe UI" charset="0"/>
                  <a:cs typeface="Segoe UI" charset="0"/>
                </a:rPr>
              </a:br>
              <a:r>
                <a:rPr lang="en-US" sz="1000" b="1" kern="0" dirty="0">
                  <a:ln>
                    <a:solidFill>
                      <a:srgbClr val="FFFFFF">
                        <a:alpha val="0"/>
                      </a:srgbClr>
                    </a:solidFill>
                  </a:ln>
                  <a:solidFill>
                    <a:srgbClr val="0078D7"/>
                  </a:solidFill>
                  <a:latin typeface="Segoe UI" charset="0"/>
                  <a:cs typeface="Segoe UI" charset="0"/>
                </a:rPr>
                <a:t>Query Processing</a:t>
              </a:r>
            </a:p>
          </p:txBody>
        </p:sp>
        <p:sp>
          <p:nvSpPr>
            <p:cNvPr id="25" name="Rectangle: Rounded Corners 44">
              <a:extLst>
                <a:ext uri="{FF2B5EF4-FFF2-40B4-BE49-F238E27FC236}">
                  <a16:creationId xmlns:a16="http://schemas.microsoft.com/office/drawing/2014/main" id="{8E5F8F9F-AB8D-4795-A9FA-EB9C9065B417}"/>
                </a:ext>
              </a:extLst>
            </p:cNvPr>
            <p:cNvSpPr/>
            <p:nvPr/>
          </p:nvSpPr>
          <p:spPr>
            <a:xfrm>
              <a:off x="9782932" y="3273436"/>
              <a:ext cx="455648" cy="440182"/>
            </a:xfrm>
            <a:prstGeom prst="round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27428" tIns="0" rIns="0" bIns="0" rtlCol="0" anchor="ctr"/>
            <a:lstStyle/>
            <a:p>
              <a:pPr algn="ctr" defTabSz="754235">
                <a:defRPr/>
              </a:pPr>
              <a:r>
                <a:rPr lang="en-US" sz="800" spc="248" dirty="0">
                  <a:solidFill>
                    <a:srgbClr val="0078D7"/>
                  </a:solidFill>
                  <a:latin typeface="Segoe UI"/>
                  <a:cs typeface="Segoe UI Semilight" panose="020B0402040204020203" pitchFamily="34" charset="0"/>
                </a:rPr>
                <a:t>101001010110</a:t>
              </a:r>
            </a:p>
          </p:txBody>
        </p:sp>
        <p:grpSp>
          <p:nvGrpSpPr>
            <p:cNvPr id="26" name="Group 11">
              <a:extLst>
                <a:ext uri="{FF2B5EF4-FFF2-40B4-BE49-F238E27FC236}">
                  <a16:creationId xmlns:a16="http://schemas.microsoft.com/office/drawing/2014/main" id="{46388ED4-3C9C-497A-9D5D-F518686B1D48}"/>
                </a:ext>
              </a:extLst>
            </p:cNvPr>
            <p:cNvGrpSpPr>
              <a:grpSpLocks noChangeAspect="1"/>
            </p:cNvGrpSpPr>
            <p:nvPr/>
          </p:nvGrpSpPr>
          <p:grpSpPr bwMode="auto">
            <a:xfrm>
              <a:off x="7864779" y="3383528"/>
              <a:ext cx="251750" cy="274229"/>
              <a:chOff x="3861" y="4291602"/>
              <a:chExt cx="112" cy="244433"/>
            </a:xfrm>
          </p:grpSpPr>
          <p:sp>
            <p:nvSpPr>
              <p:cNvPr id="27" name="Freeform 12">
                <a:extLst>
                  <a:ext uri="{FF2B5EF4-FFF2-40B4-BE49-F238E27FC236}">
                    <a16:creationId xmlns:a16="http://schemas.microsoft.com/office/drawing/2014/main" id="{E5F84F15-AC40-4784-BDF3-C354C0D6794D}"/>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sp>
            <p:nvSpPr>
              <p:cNvPr id="28" name="Line 13">
                <a:extLst>
                  <a:ext uri="{FF2B5EF4-FFF2-40B4-BE49-F238E27FC236}">
                    <a16:creationId xmlns:a16="http://schemas.microsoft.com/office/drawing/2014/main" id="{818783FE-20F7-441F-99FF-17EFCE67D990}"/>
                  </a:ext>
                </a:extLst>
              </p:cNvPr>
              <p:cNvSpPr>
                <a:spLocks noChangeShapeType="1"/>
              </p:cNvSpPr>
              <p:nvPr/>
            </p:nvSpPr>
            <p:spPr bwMode="auto">
              <a:xfrm>
                <a:off x="3872" y="4469918"/>
                <a:ext cx="9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sp>
            <p:nvSpPr>
              <p:cNvPr id="29" name="Line 14">
                <a:extLst>
                  <a:ext uri="{FF2B5EF4-FFF2-40B4-BE49-F238E27FC236}">
                    <a16:creationId xmlns:a16="http://schemas.microsoft.com/office/drawing/2014/main" id="{1ED67DE1-6777-4150-A2E6-7F028F412A01}"/>
                  </a:ext>
                </a:extLst>
              </p:cNvPr>
              <p:cNvSpPr>
                <a:spLocks noChangeShapeType="1"/>
              </p:cNvSpPr>
              <p:nvPr/>
            </p:nvSpPr>
            <p:spPr bwMode="auto">
              <a:xfrm>
                <a:off x="3923" y="4335680"/>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sp>
            <p:nvSpPr>
              <p:cNvPr id="30" name="Line 15">
                <a:extLst>
                  <a:ext uri="{FF2B5EF4-FFF2-40B4-BE49-F238E27FC236}">
                    <a16:creationId xmlns:a16="http://schemas.microsoft.com/office/drawing/2014/main" id="{7AB8A36D-3CC2-427C-B1A1-F76057119E1A}"/>
                  </a:ext>
                </a:extLst>
              </p:cNvPr>
              <p:cNvSpPr>
                <a:spLocks noChangeShapeType="1"/>
              </p:cNvSpPr>
              <p:nvPr/>
            </p:nvSpPr>
            <p:spPr bwMode="auto">
              <a:xfrm>
                <a:off x="3923" y="4379758"/>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sp>
            <p:nvSpPr>
              <p:cNvPr id="31" name="Line 16">
                <a:extLst>
                  <a:ext uri="{FF2B5EF4-FFF2-40B4-BE49-F238E27FC236}">
                    <a16:creationId xmlns:a16="http://schemas.microsoft.com/office/drawing/2014/main" id="{7D94F86A-E248-4B3C-9F6A-1C3D8FFB193F}"/>
                  </a:ext>
                </a:extLst>
              </p:cNvPr>
              <p:cNvSpPr>
                <a:spLocks noChangeShapeType="1"/>
              </p:cNvSpPr>
              <p:nvPr/>
            </p:nvSpPr>
            <p:spPr bwMode="auto">
              <a:xfrm>
                <a:off x="3923" y="4425840"/>
                <a:ext cx="2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sp>
            <p:nvSpPr>
              <p:cNvPr id="32" name="Line 17">
                <a:extLst>
                  <a:ext uri="{FF2B5EF4-FFF2-40B4-BE49-F238E27FC236}">
                    <a16:creationId xmlns:a16="http://schemas.microsoft.com/office/drawing/2014/main" id="{B5D18D42-3F8B-4091-AAAB-684D7DA961C1}"/>
                  </a:ext>
                </a:extLst>
              </p:cNvPr>
              <p:cNvSpPr>
                <a:spLocks noChangeShapeType="1"/>
              </p:cNvSpPr>
              <p:nvPr/>
            </p:nvSpPr>
            <p:spPr bwMode="auto">
              <a:xfrm>
                <a:off x="3883" y="4291602"/>
                <a:ext cx="6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grpSp>
        <p:grpSp>
          <p:nvGrpSpPr>
            <p:cNvPr id="33" name="Group 4">
              <a:extLst>
                <a:ext uri="{FF2B5EF4-FFF2-40B4-BE49-F238E27FC236}">
                  <a16:creationId xmlns:a16="http://schemas.microsoft.com/office/drawing/2014/main" id="{3604A716-40A3-4A62-93A4-0108FB4C12D2}"/>
                </a:ext>
              </a:extLst>
            </p:cNvPr>
            <p:cNvGrpSpPr>
              <a:grpSpLocks noChangeAspect="1"/>
            </p:cNvGrpSpPr>
            <p:nvPr/>
          </p:nvGrpSpPr>
          <p:grpSpPr bwMode="auto">
            <a:xfrm>
              <a:off x="8918138" y="2327445"/>
              <a:ext cx="210086" cy="368034"/>
              <a:chOff x="866" y="3346"/>
              <a:chExt cx="137" cy="240"/>
            </a:xfrm>
          </p:grpSpPr>
          <p:sp>
            <p:nvSpPr>
              <p:cNvPr id="34" name="Freeform 5">
                <a:extLst>
                  <a:ext uri="{FF2B5EF4-FFF2-40B4-BE49-F238E27FC236}">
                    <a16:creationId xmlns:a16="http://schemas.microsoft.com/office/drawing/2014/main" id="{4502F041-5BBA-4AFF-8B9B-C6FA269DCD72}"/>
                  </a:ext>
                </a:extLst>
              </p:cNvPr>
              <p:cNvSpPr>
                <a:spLocks/>
              </p:cNvSpPr>
              <p:nvPr/>
            </p:nvSpPr>
            <p:spPr bwMode="auto">
              <a:xfrm>
                <a:off x="866" y="3346"/>
                <a:ext cx="137" cy="158"/>
              </a:xfrm>
              <a:custGeom>
                <a:avLst/>
                <a:gdLst>
                  <a:gd name="T0" fmla="*/ 86 w 99"/>
                  <a:gd name="T1" fmla="*/ 82 h 114"/>
                  <a:gd name="T2" fmla="*/ 74 w 99"/>
                  <a:gd name="T3" fmla="*/ 114 h 114"/>
                  <a:gd name="T4" fmla="*/ 24 w 99"/>
                  <a:gd name="T5" fmla="*/ 114 h 114"/>
                  <a:gd name="T6" fmla="*/ 13 w 99"/>
                  <a:gd name="T7" fmla="*/ 84 h 114"/>
                  <a:gd name="T8" fmla="*/ 10 w 99"/>
                  <a:gd name="T9" fmla="*/ 79 h 114"/>
                  <a:gd name="T10" fmla="*/ 0 w 99"/>
                  <a:gd name="T11" fmla="*/ 49 h 114"/>
                  <a:gd name="T12" fmla="*/ 49 w 99"/>
                  <a:gd name="T13" fmla="*/ 0 h 114"/>
                  <a:gd name="T14" fmla="*/ 99 w 99"/>
                  <a:gd name="T15" fmla="*/ 49 h 114"/>
                  <a:gd name="T16" fmla="*/ 88 w 99"/>
                  <a:gd name="T17" fmla="*/ 78 h 114"/>
                  <a:gd name="T18" fmla="*/ 86 w 99"/>
                  <a:gd name="T19" fmla="*/ 82 h 114"/>
                  <a:gd name="T20" fmla="*/ 86 w 99"/>
                  <a:gd name="T21" fmla="*/ 8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114">
                    <a:moveTo>
                      <a:pt x="86" y="82"/>
                    </a:moveTo>
                    <a:cubicBezTo>
                      <a:pt x="75" y="99"/>
                      <a:pt x="74" y="114"/>
                      <a:pt x="74" y="114"/>
                    </a:cubicBezTo>
                    <a:cubicBezTo>
                      <a:pt x="24" y="114"/>
                      <a:pt x="24" y="114"/>
                      <a:pt x="24" y="114"/>
                    </a:cubicBezTo>
                    <a:cubicBezTo>
                      <a:pt x="25" y="105"/>
                      <a:pt x="13" y="84"/>
                      <a:pt x="13" y="84"/>
                    </a:cubicBezTo>
                    <a:cubicBezTo>
                      <a:pt x="10" y="79"/>
                      <a:pt x="10" y="79"/>
                      <a:pt x="10" y="79"/>
                    </a:cubicBezTo>
                    <a:cubicBezTo>
                      <a:pt x="3" y="71"/>
                      <a:pt x="0" y="61"/>
                      <a:pt x="0" y="49"/>
                    </a:cubicBezTo>
                    <a:cubicBezTo>
                      <a:pt x="0" y="21"/>
                      <a:pt x="22" y="0"/>
                      <a:pt x="49" y="0"/>
                    </a:cubicBezTo>
                    <a:cubicBezTo>
                      <a:pt x="77" y="0"/>
                      <a:pt x="99" y="21"/>
                      <a:pt x="99" y="49"/>
                    </a:cubicBezTo>
                    <a:cubicBezTo>
                      <a:pt x="99" y="61"/>
                      <a:pt x="96" y="70"/>
                      <a:pt x="88" y="78"/>
                    </a:cubicBezTo>
                    <a:cubicBezTo>
                      <a:pt x="86" y="82"/>
                      <a:pt x="86" y="82"/>
                      <a:pt x="86" y="82"/>
                    </a:cubicBezTo>
                    <a:cubicBezTo>
                      <a:pt x="86" y="82"/>
                      <a:pt x="86" y="82"/>
                      <a:pt x="86" y="82"/>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1800" dirty="0">
                  <a:solidFill>
                    <a:srgbClr val="000000"/>
                  </a:solidFill>
                  <a:latin typeface="Segoe UI"/>
                </a:endParaRPr>
              </a:p>
            </p:txBody>
          </p:sp>
          <p:sp>
            <p:nvSpPr>
              <p:cNvPr id="35" name="Freeform 6">
                <a:extLst>
                  <a:ext uri="{FF2B5EF4-FFF2-40B4-BE49-F238E27FC236}">
                    <a16:creationId xmlns:a16="http://schemas.microsoft.com/office/drawing/2014/main" id="{5815514F-0C35-43C2-B6C7-7033DEA99F95}"/>
                  </a:ext>
                </a:extLst>
              </p:cNvPr>
              <p:cNvSpPr>
                <a:spLocks/>
              </p:cNvSpPr>
              <p:nvPr/>
            </p:nvSpPr>
            <p:spPr bwMode="auto">
              <a:xfrm>
                <a:off x="899" y="3534"/>
                <a:ext cx="70" cy="0"/>
              </a:xfrm>
              <a:custGeom>
                <a:avLst/>
                <a:gdLst>
                  <a:gd name="T0" fmla="*/ 0 w 50"/>
                  <a:gd name="T1" fmla="*/ 50 w 50"/>
                </a:gdLst>
                <a:ahLst/>
                <a:cxnLst>
                  <a:cxn ang="0">
                    <a:pos x="T0" y="0"/>
                  </a:cxn>
                  <a:cxn ang="0">
                    <a:pos x="T1" y="0"/>
                  </a:cxn>
                </a:cxnLst>
                <a:rect l="0" t="0" r="r" b="b"/>
                <a:pathLst>
                  <a:path w="50">
                    <a:moveTo>
                      <a:pt x="0" y="0"/>
                    </a:moveTo>
                    <a:cubicBezTo>
                      <a:pt x="50" y="0"/>
                      <a:pt x="50" y="0"/>
                      <a:pt x="50" y="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1800" dirty="0">
                  <a:solidFill>
                    <a:srgbClr val="000000"/>
                  </a:solidFill>
                  <a:latin typeface="Segoe UI"/>
                </a:endParaRPr>
              </a:p>
            </p:txBody>
          </p:sp>
          <p:sp>
            <p:nvSpPr>
              <p:cNvPr id="36" name="Freeform 7">
                <a:extLst>
                  <a:ext uri="{FF2B5EF4-FFF2-40B4-BE49-F238E27FC236}">
                    <a16:creationId xmlns:a16="http://schemas.microsoft.com/office/drawing/2014/main" id="{CA32C27D-A4A5-451D-9681-13490CDA2E23}"/>
                  </a:ext>
                </a:extLst>
              </p:cNvPr>
              <p:cNvSpPr>
                <a:spLocks/>
              </p:cNvSpPr>
              <p:nvPr/>
            </p:nvSpPr>
            <p:spPr bwMode="auto">
              <a:xfrm>
                <a:off x="899" y="3560"/>
                <a:ext cx="70" cy="0"/>
              </a:xfrm>
              <a:custGeom>
                <a:avLst/>
                <a:gdLst>
                  <a:gd name="T0" fmla="*/ 0 w 50"/>
                  <a:gd name="T1" fmla="*/ 50 w 50"/>
                </a:gdLst>
                <a:ahLst/>
                <a:cxnLst>
                  <a:cxn ang="0">
                    <a:pos x="T0" y="0"/>
                  </a:cxn>
                  <a:cxn ang="0">
                    <a:pos x="T1" y="0"/>
                  </a:cxn>
                </a:cxnLst>
                <a:rect l="0" t="0" r="r" b="b"/>
                <a:pathLst>
                  <a:path w="50">
                    <a:moveTo>
                      <a:pt x="0" y="0"/>
                    </a:moveTo>
                    <a:cubicBezTo>
                      <a:pt x="50" y="0"/>
                      <a:pt x="50" y="0"/>
                      <a:pt x="50" y="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1800" dirty="0">
                  <a:solidFill>
                    <a:srgbClr val="000000"/>
                  </a:solidFill>
                  <a:latin typeface="Segoe UI"/>
                </a:endParaRPr>
              </a:p>
            </p:txBody>
          </p:sp>
          <p:sp>
            <p:nvSpPr>
              <p:cNvPr id="37" name="Freeform 8">
                <a:extLst>
                  <a:ext uri="{FF2B5EF4-FFF2-40B4-BE49-F238E27FC236}">
                    <a16:creationId xmlns:a16="http://schemas.microsoft.com/office/drawing/2014/main" id="{DD6EB556-77C8-4AFB-85E0-A93538BE6D4C}"/>
                  </a:ext>
                </a:extLst>
              </p:cNvPr>
              <p:cNvSpPr>
                <a:spLocks/>
              </p:cNvSpPr>
              <p:nvPr/>
            </p:nvSpPr>
            <p:spPr bwMode="auto">
              <a:xfrm>
                <a:off x="908" y="3586"/>
                <a:ext cx="54" cy="0"/>
              </a:xfrm>
              <a:custGeom>
                <a:avLst/>
                <a:gdLst>
                  <a:gd name="T0" fmla="*/ 0 w 39"/>
                  <a:gd name="T1" fmla="*/ 39 w 39"/>
                </a:gdLst>
                <a:ahLst/>
                <a:cxnLst>
                  <a:cxn ang="0">
                    <a:pos x="T0" y="0"/>
                  </a:cxn>
                  <a:cxn ang="0">
                    <a:pos x="T1" y="0"/>
                  </a:cxn>
                </a:cxnLst>
                <a:rect l="0" t="0" r="r" b="b"/>
                <a:pathLst>
                  <a:path w="39">
                    <a:moveTo>
                      <a:pt x="0" y="0"/>
                    </a:moveTo>
                    <a:cubicBezTo>
                      <a:pt x="39" y="0"/>
                      <a:pt x="39" y="0"/>
                      <a:pt x="39" y="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1800" dirty="0">
                  <a:solidFill>
                    <a:srgbClr val="000000"/>
                  </a:solidFill>
                  <a:latin typeface="Segoe UI"/>
                </a:endParaRPr>
              </a:p>
            </p:txBody>
          </p:sp>
        </p:grpSp>
        <p:grpSp>
          <p:nvGrpSpPr>
            <p:cNvPr id="38" name="Group 37">
              <a:extLst>
                <a:ext uri="{FF2B5EF4-FFF2-40B4-BE49-F238E27FC236}">
                  <a16:creationId xmlns:a16="http://schemas.microsoft.com/office/drawing/2014/main" id="{6305C487-D3F1-4FEB-97DB-7AD8A1C7107D}"/>
                </a:ext>
              </a:extLst>
            </p:cNvPr>
            <p:cNvGrpSpPr/>
            <p:nvPr/>
          </p:nvGrpSpPr>
          <p:grpSpPr>
            <a:xfrm>
              <a:off x="8816788" y="4469712"/>
              <a:ext cx="358220" cy="358220"/>
              <a:chOff x="8264695" y="4371468"/>
              <a:chExt cx="373230" cy="373230"/>
            </a:xfrm>
          </p:grpSpPr>
          <p:sp>
            <p:nvSpPr>
              <p:cNvPr id="39" name="Oval 38">
                <a:extLst>
                  <a:ext uri="{FF2B5EF4-FFF2-40B4-BE49-F238E27FC236}">
                    <a16:creationId xmlns:a16="http://schemas.microsoft.com/office/drawing/2014/main" id="{01009A6A-014E-4C8D-90CC-E1EEC322D128}"/>
                  </a:ext>
                </a:extLst>
              </p:cNvPr>
              <p:cNvSpPr/>
              <p:nvPr/>
            </p:nvSpPr>
            <p:spPr bwMode="auto">
              <a:xfrm>
                <a:off x="8264695" y="4371468"/>
                <a:ext cx="373230" cy="373230"/>
              </a:xfrm>
              <a:prstGeom prst="ellipse">
                <a:avLst/>
              </a:prstGeom>
              <a:no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40" name="Isosceles Triangle 39">
                <a:extLst>
                  <a:ext uri="{FF2B5EF4-FFF2-40B4-BE49-F238E27FC236}">
                    <a16:creationId xmlns:a16="http://schemas.microsoft.com/office/drawing/2014/main" id="{365F35CC-2337-452F-9D6E-ADB40926FEB0}"/>
                  </a:ext>
                </a:extLst>
              </p:cNvPr>
              <p:cNvSpPr/>
              <p:nvPr/>
            </p:nvSpPr>
            <p:spPr bwMode="auto">
              <a:xfrm rot="5400000">
                <a:off x="8391585" y="4511018"/>
                <a:ext cx="153781" cy="94132"/>
              </a:xfrm>
              <a:prstGeom prst="triangle">
                <a:avLst/>
              </a:prstGeom>
              <a:no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grpSp>
      </p:grpSp>
      <p:grpSp>
        <p:nvGrpSpPr>
          <p:cNvPr id="229" name="Group 228">
            <a:extLst>
              <a:ext uri="{FF2B5EF4-FFF2-40B4-BE49-F238E27FC236}">
                <a16:creationId xmlns:a16="http://schemas.microsoft.com/office/drawing/2014/main" id="{09FBDECD-0AD0-4747-8D8D-41AB39177BC5}"/>
              </a:ext>
            </a:extLst>
          </p:cNvPr>
          <p:cNvGrpSpPr/>
          <p:nvPr/>
        </p:nvGrpSpPr>
        <p:grpSpPr>
          <a:xfrm>
            <a:off x="4507990" y="3810691"/>
            <a:ext cx="2854110" cy="2545878"/>
            <a:chOff x="5038495" y="3838800"/>
            <a:chExt cx="2911341" cy="2596928"/>
          </a:xfrm>
        </p:grpSpPr>
        <p:sp>
          <p:nvSpPr>
            <p:cNvPr id="199" name="Oval 198">
              <a:extLst>
                <a:ext uri="{FF2B5EF4-FFF2-40B4-BE49-F238E27FC236}">
                  <a16:creationId xmlns:a16="http://schemas.microsoft.com/office/drawing/2014/main" id="{4F0F1E00-9167-49FF-980E-CAE6B0431367}"/>
                </a:ext>
              </a:extLst>
            </p:cNvPr>
            <p:cNvSpPr/>
            <p:nvPr/>
          </p:nvSpPr>
          <p:spPr>
            <a:xfrm>
              <a:off x="5038495" y="3971561"/>
              <a:ext cx="760495" cy="702181"/>
            </a:xfrm>
            <a:prstGeom prst="ellipse">
              <a:avLst/>
            </a:prstGeom>
            <a:noFill/>
            <a:ln w="12700" cap="flat" cmpd="sng" algn="ctr">
              <a:solidFill>
                <a:srgbClr val="FFFFFF">
                  <a:lumMod val="50000"/>
                </a:srgbClr>
              </a:solidFill>
              <a:prstDash val="solid"/>
              <a:miter lim="800000"/>
            </a:ln>
            <a:effectLst/>
          </p:spPr>
          <p:txBody>
            <a:bodyPr lIns="0" rIns="0" rtlCol="0" anchor="ctr"/>
            <a:lstStyle/>
            <a:p>
              <a:pPr algn="ctr" defTabSz="914225">
                <a:defRPr/>
              </a:pPr>
              <a:r>
                <a:rPr lang="en-US" sz="980" b="1" kern="0" dirty="0">
                  <a:solidFill>
                    <a:srgbClr val="000000">
                      <a:lumMod val="65000"/>
                      <a:lumOff val="35000"/>
                    </a:srgbClr>
                  </a:solidFill>
                  <a:latin typeface="Segoe UI"/>
                </a:rPr>
                <a:t>Statistics</a:t>
              </a:r>
            </a:p>
          </p:txBody>
        </p:sp>
        <p:sp>
          <p:nvSpPr>
            <p:cNvPr id="203" name="TextBox 202">
              <a:extLst>
                <a:ext uri="{FF2B5EF4-FFF2-40B4-BE49-F238E27FC236}">
                  <a16:creationId xmlns:a16="http://schemas.microsoft.com/office/drawing/2014/main" id="{B99AD71E-4E08-4EAD-AE11-B28E40385E14}"/>
                </a:ext>
              </a:extLst>
            </p:cNvPr>
            <p:cNvSpPr txBox="1"/>
            <p:nvPr/>
          </p:nvSpPr>
          <p:spPr>
            <a:xfrm>
              <a:off x="6876859" y="4802889"/>
              <a:ext cx="892868" cy="401854"/>
            </a:xfrm>
            <a:prstGeom prst="rect">
              <a:avLst/>
            </a:prstGeom>
            <a:noFill/>
          </p:spPr>
          <p:txBody>
            <a:bodyPr wrap="square" rtlCol="0">
              <a:spAutoFit/>
            </a:bodyPr>
            <a:lstStyle/>
            <a:p>
              <a:pPr defTabSz="914225">
                <a:defRPr/>
              </a:pPr>
              <a:r>
                <a:rPr lang="en-US" sz="980" b="1" kern="0" dirty="0">
                  <a:solidFill>
                    <a:srgbClr val="0078D7"/>
                  </a:solidFill>
                  <a:latin typeface="Segoe UI"/>
                </a:rPr>
                <a:t>Degree earned</a:t>
              </a:r>
            </a:p>
          </p:txBody>
        </p:sp>
        <p:sp>
          <p:nvSpPr>
            <p:cNvPr id="204" name="TextBox 203">
              <a:extLst>
                <a:ext uri="{FF2B5EF4-FFF2-40B4-BE49-F238E27FC236}">
                  <a16:creationId xmlns:a16="http://schemas.microsoft.com/office/drawing/2014/main" id="{3C300C20-B7D4-4CC7-80DC-E85DD100D77C}"/>
                </a:ext>
              </a:extLst>
            </p:cNvPr>
            <p:cNvSpPr txBox="1"/>
            <p:nvPr/>
          </p:nvSpPr>
          <p:spPr>
            <a:xfrm>
              <a:off x="6843825" y="5372640"/>
              <a:ext cx="892868" cy="248019"/>
            </a:xfrm>
            <a:prstGeom prst="rect">
              <a:avLst/>
            </a:prstGeom>
            <a:noFill/>
          </p:spPr>
          <p:txBody>
            <a:bodyPr wrap="square" rtlCol="0">
              <a:spAutoFit/>
            </a:bodyPr>
            <a:lstStyle/>
            <a:p>
              <a:pPr defTabSz="914225">
                <a:defRPr/>
              </a:pPr>
              <a:r>
                <a:rPr lang="en-US" sz="980" b="1" kern="0" dirty="0">
                  <a:solidFill>
                    <a:srgbClr val="0078D7"/>
                  </a:solidFill>
                  <a:latin typeface="Segoe UI"/>
                </a:rPr>
                <a:t>Position</a:t>
              </a:r>
            </a:p>
          </p:txBody>
        </p:sp>
        <p:sp>
          <p:nvSpPr>
            <p:cNvPr id="205" name="TextBox 204">
              <a:extLst>
                <a:ext uri="{FF2B5EF4-FFF2-40B4-BE49-F238E27FC236}">
                  <a16:creationId xmlns:a16="http://schemas.microsoft.com/office/drawing/2014/main" id="{FAA04E16-3CC5-4254-A60B-A357822B2979}"/>
                </a:ext>
              </a:extLst>
            </p:cNvPr>
            <p:cNvSpPr txBox="1"/>
            <p:nvPr/>
          </p:nvSpPr>
          <p:spPr>
            <a:xfrm>
              <a:off x="5873838" y="4560932"/>
              <a:ext cx="892868" cy="248019"/>
            </a:xfrm>
            <a:prstGeom prst="rect">
              <a:avLst/>
            </a:prstGeom>
            <a:noFill/>
          </p:spPr>
          <p:txBody>
            <a:bodyPr wrap="square" rtlCol="0">
              <a:spAutoFit/>
            </a:bodyPr>
            <a:lstStyle/>
            <a:p>
              <a:pPr defTabSz="914225">
                <a:defRPr/>
              </a:pPr>
              <a:r>
                <a:rPr lang="en-US" sz="980" b="1" kern="0" spc="-29" dirty="0">
                  <a:solidFill>
                    <a:srgbClr val="0078D7"/>
                  </a:solidFill>
                  <a:latin typeface="Segoe UI"/>
                  <a:cs typeface="Segoe UI Semibold" panose="020B0702040204020203" pitchFamily="34" charset="0"/>
                </a:rPr>
                <a:t>Skill</a:t>
              </a:r>
            </a:p>
          </p:txBody>
        </p:sp>
        <p:cxnSp>
          <p:nvCxnSpPr>
            <p:cNvPr id="206" name="Straight Connector 205">
              <a:extLst>
                <a:ext uri="{FF2B5EF4-FFF2-40B4-BE49-F238E27FC236}">
                  <a16:creationId xmlns:a16="http://schemas.microsoft.com/office/drawing/2014/main" id="{D8068754-5CE9-4113-83CA-6997935E96E8}"/>
                </a:ext>
              </a:extLst>
            </p:cNvPr>
            <p:cNvCxnSpPr>
              <a:cxnSpLocks/>
            </p:cNvCxnSpPr>
            <p:nvPr/>
          </p:nvCxnSpPr>
          <p:spPr>
            <a:xfrm flipV="1">
              <a:off x="5630202" y="5578362"/>
              <a:ext cx="572765" cy="665679"/>
            </a:xfrm>
            <a:prstGeom prst="line">
              <a:avLst/>
            </a:prstGeom>
            <a:noFill/>
            <a:ln w="12700" cap="flat" cmpd="sng" algn="ctr">
              <a:solidFill>
                <a:srgbClr val="0078D7"/>
              </a:solidFill>
              <a:prstDash val="sysDash"/>
              <a:headEnd type="none"/>
              <a:tailEnd type="triangle"/>
            </a:ln>
            <a:effectLst/>
          </p:spPr>
        </p:cxnSp>
        <p:cxnSp>
          <p:nvCxnSpPr>
            <p:cNvPr id="207" name="Straight Connector 206">
              <a:extLst>
                <a:ext uri="{FF2B5EF4-FFF2-40B4-BE49-F238E27FC236}">
                  <a16:creationId xmlns:a16="http://schemas.microsoft.com/office/drawing/2014/main" id="{AB844615-0B37-4D61-B5CB-625EF7965ADC}"/>
                </a:ext>
              </a:extLst>
            </p:cNvPr>
            <p:cNvCxnSpPr>
              <a:cxnSpLocks/>
              <a:endCxn id="199" idx="5"/>
            </p:cNvCxnSpPr>
            <p:nvPr/>
          </p:nvCxnSpPr>
          <p:spPr>
            <a:xfrm flipH="1" flipV="1">
              <a:off x="5687618" y="4570910"/>
              <a:ext cx="476770" cy="476370"/>
            </a:xfrm>
            <a:prstGeom prst="line">
              <a:avLst/>
            </a:prstGeom>
            <a:noFill/>
            <a:ln w="12700" cap="flat" cmpd="sng" algn="ctr">
              <a:solidFill>
                <a:srgbClr val="0078D7"/>
              </a:solidFill>
              <a:prstDash val="sysDash"/>
              <a:headEnd type="none"/>
              <a:tailEnd type="triangle"/>
            </a:ln>
            <a:effectLst/>
          </p:spPr>
        </p:cxnSp>
        <p:cxnSp>
          <p:nvCxnSpPr>
            <p:cNvPr id="208" name="Straight Connector 207">
              <a:extLst>
                <a:ext uri="{FF2B5EF4-FFF2-40B4-BE49-F238E27FC236}">
                  <a16:creationId xmlns:a16="http://schemas.microsoft.com/office/drawing/2014/main" id="{F9B89DC8-AA26-4FBA-8A35-A21DBD829B34}"/>
                </a:ext>
              </a:extLst>
            </p:cNvPr>
            <p:cNvCxnSpPr>
              <a:cxnSpLocks/>
              <a:stCxn id="215" idx="1"/>
            </p:cNvCxnSpPr>
            <p:nvPr/>
          </p:nvCxnSpPr>
          <p:spPr>
            <a:xfrm flipH="1" flipV="1">
              <a:off x="6756293" y="5474405"/>
              <a:ext cx="544420" cy="361974"/>
            </a:xfrm>
            <a:prstGeom prst="line">
              <a:avLst/>
            </a:prstGeom>
            <a:noFill/>
            <a:ln w="12700" cap="flat" cmpd="sng" algn="ctr">
              <a:solidFill>
                <a:srgbClr val="0078D7"/>
              </a:solidFill>
              <a:prstDash val="sysDash"/>
              <a:headEnd type="triangle"/>
              <a:tailEnd type="none"/>
            </a:ln>
            <a:effectLst/>
          </p:spPr>
        </p:cxnSp>
        <p:cxnSp>
          <p:nvCxnSpPr>
            <p:cNvPr id="209" name="Straight Connector 208">
              <a:extLst>
                <a:ext uri="{FF2B5EF4-FFF2-40B4-BE49-F238E27FC236}">
                  <a16:creationId xmlns:a16="http://schemas.microsoft.com/office/drawing/2014/main" id="{B0CF9C71-A573-40C5-AEFB-20310E4F4656}"/>
                </a:ext>
              </a:extLst>
            </p:cNvPr>
            <p:cNvCxnSpPr>
              <a:cxnSpLocks/>
              <a:stCxn id="213" idx="7"/>
              <a:endCxn id="214" idx="3"/>
            </p:cNvCxnSpPr>
            <p:nvPr/>
          </p:nvCxnSpPr>
          <p:spPr>
            <a:xfrm flipV="1">
              <a:off x="6678646" y="4564394"/>
              <a:ext cx="503912" cy="470694"/>
            </a:xfrm>
            <a:prstGeom prst="line">
              <a:avLst/>
            </a:prstGeom>
            <a:noFill/>
            <a:ln w="12700" cap="flat" cmpd="sng" algn="ctr">
              <a:solidFill>
                <a:srgbClr val="0078D7"/>
              </a:solidFill>
              <a:prstDash val="sysDash"/>
              <a:headEnd type="none"/>
              <a:tailEnd type="triangle"/>
            </a:ln>
            <a:effectLst/>
          </p:spPr>
        </p:cxnSp>
        <p:sp>
          <p:nvSpPr>
            <p:cNvPr id="213" name="Oval 212">
              <a:extLst>
                <a:ext uri="{FF2B5EF4-FFF2-40B4-BE49-F238E27FC236}">
                  <a16:creationId xmlns:a16="http://schemas.microsoft.com/office/drawing/2014/main" id="{37C96B7D-8BED-4769-BBA8-2AC485768C40}"/>
                </a:ext>
              </a:extLst>
            </p:cNvPr>
            <p:cNvSpPr/>
            <p:nvPr/>
          </p:nvSpPr>
          <p:spPr>
            <a:xfrm>
              <a:off x="6029523" y="4932256"/>
              <a:ext cx="760495" cy="702181"/>
            </a:xfrm>
            <a:prstGeom prst="ellipse">
              <a:avLst/>
            </a:prstGeom>
            <a:solidFill>
              <a:srgbClr val="0078D7"/>
            </a:solidFill>
            <a:ln w="12700" cap="flat" cmpd="sng" algn="ctr">
              <a:solidFill>
                <a:srgbClr val="FFFFFF">
                  <a:lumMod val="50000"/>
                </a:srgbClr>
              </a:solidFill>
              <a:prstDash val="solid"/>
              <a:miter lim="800000"/>
            </a:ln>
            <a:effectLst/>
          </p:spPr>
          <p:txBody>
            <a:bodyPr lIns="0" rIns="0" rtlCol="0" anchor="ctr"/>
            <a:lstStyle/>
            <a:p>
              <a:pPr algn="ctr" defTabSz="914225">
                <a:defRPr/>
              </a:pPr>
              <a:r>
                <a:rPr lang="en-US" sz="980" b="1" kern="0" dirty="0">
                  <a:solidFill>
                    <a:schemeClr val="bg1"/>
                  </a:solidFill>
                  <a:latin typeface="Segoe UI"/>
                </a:rPr>
                <a:t>Andy</a:t>
              </a:r>
            </a:p>
            <a:p>
              <a:pPr algn="ctr" defTabSz="914225">
                <a:defRPr/>
              </a:pPr>
              <a:r>
                <a:rPr lang="en-US" sz="980" b="1" kern="0" dirty="0">
                  <a:solidFill>
                    <a:schemeClr val="bg1"/>
                  </a:solidFill>
                  <a:latin typeface="Segoe UI"/>
                </a:rPr>
                <a:t>Smith</a:t>
              </a:r>
            </a:p>
          </p:txBody>
        </p:sp>
        <p:sp>
          <p:nvSpPr>
            <p:cNvPr id="214" name="Oval 213">
              <a:extLst>
                <a:ext uri="{FF2B5EF4-FFF2-40B4-BE49-F238E27FC236}">
                  <a16:creationId xmlns:a16="http://schemas.microsoft.com/office/drawing/2014/main" id="{5F99E484-87A7-40E4-A8F5-792843965395}"/>
                </a:ext>
              </a:extLst>
            </p:cNvPr>
            <p:cNvSpPr/>
            <p:nvPr/>
          </p:nvSpPr>
          <p:spPr>
            <a:xfrm>
              <a:off x="7071186" y="3965045"/>
              <a:ext cx="760495" cy="702181"/>
            </a:xfrm>
            <a:prstGeom prst="ellipse">
              <a:avLst/>
            </a:prstGeom>
            <a:noFill/>
            <a:ln w="12700" cap="flat" cmpd="sng" algn="ctr">
              <a:solidFill>
                <a:srgbClr val="FFFFFF">
                  <a:lumMod val="50000"/>
                </a:srgbClr>
              </a:solidFill>
              <a:prstDash val="solid"/>
              <a:miter lim="800000"/>
            </a:ln>
            <a:effectLst/>
          </p:spPr>
          <p:txBody>
            <a:bodyPr lIns="0" rIns="0" rtlCol="0" anchor="ctr"/>
            <a:lstStyle/>
            <a:p>
              <a:pPr algn="ctr" defTabSz="914225">
                <a:defRPr/>
              </a:pPr>
              <a:endParaRPr lang="en-US" sz="980" b="1" kern="0" dirty="0">
                <a:solidFill>
                  <a:srgbClr val="000000">
                    <a:lumMod val="65000"/>
                    <a:lumOff val="35000"/>
                  </a:srgbClr>
                </a:solidFill>
              </a:endParaRPr>
            </a:p>
            <a:p>
              <a:pPr algn="ctr" defTabSz="914225">
                <a:defRPr/>
              </a:pPr>
              <a:r>
                <a:rPr lang="en-US" sz="980" b="1" kern="0" dirty="0">
                  <a:solidFill>
                    <a:srgbClr val="000000">
                      <a:lumMod val="65000"/>
                      <a:lumOff val="35000"/>
                    </a:srgbClr>
                  </a:solidFill>
                </a:rPr>
                <a:t>B.S. Science, Finance</a:t>
              </a:r>
            </a:p>
            <a:p>
              <a:pPr algn="ctr" defTabSz="914225">
                <a:defRPr/>
              </a:pPr>
              <a:endParaRPr lang="en-US" sz="980" b="1" kern="0" dirty="0">
                <a:solidFill>
                  <a:srgbClr val="000000">
                    <a:lumMod val="65000"/>
                    <a:lumOff val="35000"/>
                  </a:srgbClr>
                </a:solidFill>
                <a:latin typeface="Segoe UI"/>
              </a:endParaRPr>
            </a:p>
          </p:txBody>
        </p:sp>
        <p:sp>
          <p:nvSpPr>
            <p:cNvPr id="215" name="Oval 214">
              <a:extLst>
                <a:ext uri="{FF2B5EF4-FFF2-40B4-BE49-F238E27FC236}">
                  <a16:creationId xmlns:a16="http://schemas.microsoft.com/office/drawing/2014/main" id="{74CFB3E3-2B39-4131-8ED8-87190690FE59}"/>
                </a:ext>
              </a:extLst>
            </p:cNvPr>
            <p:cNvSpPr/>
            <p:nvPr/>
          </p:nvSpPr>
          <p:spPr>
            <a:xfrm>
              <a:off x="7189341" y="5733547"/>
              <a:ext cx="760495" cy="702181"/>
            </a:xfrm>
            <a:prstGeom prst="ellipse">
              <a:avLst/>
            </a:prstGeom>
            <a:noFill/>
            <a:ln w="12700" cap="flat" cmpd="sng" algn="ctr">
              <a:solidFill>
                <a:srgbClr val="0078D7"/>
              </a:solidFill>
              <a:prstDash val="solid"/>
              <a:miter lim="800000"/>
            </a:ln>
            <a:effectLst/>
          </p:spPr>
          <p:txBody>
            <a:bodyPr lIns="0" rIns="0" rtlCol="0" anchor="ctr"/>
            <a:lstStyle/>
            <a:p>
              <a:pPr algn="ctr" defTabSz="914225">
                <a:defRPr/>
              </a:pPr>
              <a:endParaRPr lang="en-US" sz="980" b="1" kern="0" dirty="0">
                <a:solidFill>
                  <a:srgbClr val="0078D7"/>
                </a:solidFill>
              </a:endParaRPr>
            </a:p>
            <a:p>
              <a:pPr algn="ctr" defTabSz="914225">
                <a:defRPr/>
              </a:pPr>
              <a:r>
                <a:rPr lang="en-US" sz="980" b="1" kern="0" dirty="0">
                  <a:solidFill>
                    <a:srgbClr val="0078D7"/>
                  </a:solidFill>
                </a:rPr>
                <a:t>Business Analyst</a:t>
              </a:r>
            </a:p>
            <a:p>
              <a:pPr algn="ctr" defTabSz="914225">
                <a:defRPr/>
              </a:pPr>
              <a:endParaRPr lang="en-US" sz="980" b="1" kern="0" dirty="0">
                <a:solidFill>
                  <a:srgbClr val="000000">
                    <a:lumMod val="65000"/>
                    <a:lumOff val="35000"/>
                  </a:srgbClr>
                </a:solidFill>
                <a:latin typeface="Segoe UI"/>
              </a:endParaRPr>
            </a:p>
          </p:txBody>
        </p:sp>
        <p:sp>
          <p:nvSpPr>
            <p:cNvPr id="223" name="Rectangle 222">
              <a:extLst>
                <a:ext uri="{FF2B5EF4-FFF2-40B4-BE49-F238E27FC236}">
                  <a16:creationId xmlns:a16="http://schemas.microsoft.com/office/drawing/2014/main" id="{36E3B576-7DCE-4B93-BEFB-12B8AF3483E7}"/>
                </a:ext>
              </a:extLst>
            </p:cNvPr>
            <p:cNvSpPr/>
            <p:nvPr/>
          </p:nvSpPr>
          <p:spPr>
            <a:xfrm>
              <a:off x="6029523" y="3838800"/>
              <a:ext cx="885179" cy="249299"/>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Graph Data</a:t>
              </a:r>
            </a:p>
          </p:txBody>
        </p:sp>
      </p:grpSp>
      <p:grpSp>
        <p:nvGrpSpPr>
          <p:cNvPr id="231" name="Group 230">
            <a:extLst>
              <a:ext uri="{FF2B5EF4-FFF2-40B4-BE49-F238E27FC236}">
                <a16:creationId xmlns:a16="http://schemas.microsoft.com/office/drawing/2014/main" id="{6E2EEB93-DD25-45F0-9A11-DB55F996361E}"/>
              </a:ext>
            </a:extLst>
          </p:cNvPr>
          <p:cNvGrpSpPr/>
          <p:nvPr/>
        </p:nvGrpSpPr>
        <p:grpSpPr>
          <a:xfrm>
            <a:off x="-19415" y="3325930"/>
            <a:ext cx="4023256" cy="3280337"/>
            <a:chOff x="68243" y="3395701"/>
            <a:chExt cx="4103931" cy="3346115"/>
          </a:xfrm>
        </p:grpSpPr>
        <p:sp>
          <p:nvSpPr>
            <p:cNvPr id="184" name="Rectangle 183">
              <a:extLst>
                <a:ext uri="{FF2B5EF4-FFF2-40B4-BE49-F238E27FC236}">
                  <a16:creationId xmlns:a16="http://schemas.microsoft.com/office/drawing/2014/main" id="{EBFA92C0-0B70-4C9D-9592-C63F290FAA0E}"/>
                </a:ext>
              </a:extLst>
            </p:cNvPr>
            <p:cNvSpPr/>
            <p:nvPr/>
          </p:nvSpPr>
          <p:spPr bwMode="auto">
            <a:xfrm>
              <a:off x="263142" y="5234504"/>
              <a:ext cx="3770451" cy="1507312"/>
            </a:xfrm>
            <a:prstGeom prst="rect">
              <a:avLst/>
            </a:prstGeom>
            <a:noFill/>
            <a:ln w="9525">
              <a:solidFill>
                <a:schemeClr val="bg1">
                  <a:lumMod val="8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defRPr/>
              </a:pPr>
              <a:endParaRPr lang="en-US" sz="2000" b="1" kern="0" dirty="0">
                <a:solidFill>
                  <a:srgbClr val="FFFFFF"/>
                </a:solidFill>
                <a:latin typeface="Segoe UI Light"/>
                <a:ea typeface="Segoe UI" pitchFamily="34" charset="0"/>
                <a:cs typeface="Segoe UI" pitchFamily="34" charset="0"/>
              </a:endParaRPr>
            </a:p>
          </p:txBody>
        </p:sp>
        <p:sp>
          <p:nvSpPr>
            <p:cNvPr id="171" name="Rectangle 170">
              <a:extLst>
                <a:ext uri="{FF2B5EF4-FFF2-40B4-BE49-F238E27FC236}">
                  <a16:creationId xmlns:a16="http://schemas.microsoft.com/office/drawing/2014/main" id="{3B0CD489-321B-4D3A-B0F1-2C009DFA67D9}"/>
                </a:ext>
              </a:extLst>
            </p:cNvPr>
            <p:cNvSpPr/>
            <p:nvPr/>
          </p:nvSpPr>
          <p:spPr bwMode="auto">
            <a:xfrm>
              <a:off x="250190" y="3621912"/>
              <a:ext cx="3770451" cy="1507312"/>
            </a:xfrm>
            <a:prstGeom prst="rect">
              <a:avLst/>
            </a:prstGeom>
            <a:noFill/>
            <a:ln w="9525">
              <a:solidFill>
                <a:schemeClr val="bg1">
                  <a:lumMod val="8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defRPr/>
              </a:pPr>
              <a:endParaRPr lang="en-US" sz="2000" b="1" kern="0" dirty="0">
                <a:solidFill>
                  <a:srgbClr val="FFFFFF"/>
                </a:solidFill>
                <a:latin typeface="Segoe UI Light"/>
                <a:ea typeface="Segoe UI" pitchFamily="34" charset="0"/>
                <a:cs typeface="Segoe UI" pitchFamily="34" charset="0"/>
              </a:endParaRPr>
            </a:p>
          </p:txBody>
        </p:sp>
        <p:sp>
          <p:nvSpPr>
            <p:cNvPr id="172" name="Rectangle 171">
              <a:extLst>
                <a:ext uri="{FF2B5EF4-FFF2-40B4-BE49-F238E27FC236}">
                  <a16:creationId xmlns:a16="http://schemas.microsoft.com/office/drawing/2014/main" id="{A97410DB-71FF-4DEB-BB93-7AB93BFFC4B1}"/>
                </a:ext>
              </a:extLst>
            </p:cNvPr>
            <p:cNvSpPr/>
            <p:nvPr/>
          </p:nvSpPr>
          <p:spPr>
            <a:xfrm>
              <a:off x="234622" y="3707547"/>
              <a:ext cx="1054521" cy="197787"/>
            </a:xfrm>
            <a:prstGeom prst="rect">
              <a:avLst/>
            </a:prstGeom>
          </p:spPr>
          <p:txBody>
            <a:bodyPr wrap="square" lIns="0" tIns="0" rIns="0" bIns="0" anchor="ctr" anchorCtr="0">
              <a:spAutoFit/>
            </a:bodyPr>
            <a:lstStyle/>
            <a:p>
              <a:pPr algn="ctr" defTabSz="1109367">
                <a:lnSpc>
                  <a:spcPct val="90000"/>
                </a:lnSpc>
                <a:defRPr/>
              </a:pPr>
              <a:r>
                <a:rPr lang="en-US" sz="1400" b="1" kern="0" dirty="0">
                  <a:ln>
                    <a:solidFill>
                      <a:srgbClr val="FFFFFF">
                        <a:alpha val="0"/>
                      </a:srgbClr>
                    </a:solidFill>
                  </a:ln>
                  <a:solidFill>
                    <a:srgbClr val="FFFFFF">
                      <a:lumMod val="50000"/>
                    </a:srgbClr>
                  </a:solidFill>
                  <a:latin typeface="Segoe UI"/>
                  <a:cs typeface="Segoe UI Semibold" panose="020B0702040204020203" pitchFamily="34" charset="0"/>
                </a:rPr>
                <a:t>Windows</a:t>
              </a:r>
            </a:p>
          </p:txBody>
        </p:sp>
        <p:sp>
          <p:nvSpPr>
            <p:cNvPr id="173" name="Rectangle 172">
              <a:extLst>
                <a:ext uri="{FF2B5EF4-FFF2-40B4-BE49-F238E27FC236}">
                  <a16:creationId xmlns:a16="http://schemas.microsoft.com/office/drawing/2014/main" id="{F29EC50D-FF11-41D9-A607-E390011F609A}"/>
                </a:ext>
              </a:extLst>
            </p:cNvPr>
            <p:cNvSpPr/>
            <p:nvPr/>
          </p:nvSpPr>
          <p:spPr>
            <a:xfrm>
              <a:off x="473015" y="4845817"/>
              <a:ext cx="705152" cy="156974"/>
            </a:xfrm>
            <a:prstGeom prst="rect">
              <a:avLst/>
            </a:prstGeom>
          </p:spPr>
          <p:txBody>
            <a:bodyPr wrap="square" lIns="0" tIns="0" rIns="0" bIns="0" anchor="ctr" anchorCtr="0">
              <a:spAutoFit/>
            </a:bodyPr>
            <a:lstStyle/>
            <a:p>
              <a:pPr algn="ctr" defTabSz="1109367">
                <a:defRPr/>
              </a:pPr>
              <a:r>
                <a:rPr lang="en-US" sz="1000" b="1" kern="0" dirty="0">
                  <a:ln>
                    <a:solidFill>
                      <a:srgbClr val="FFFFFF">
                        <a:alpha val="0"/>
                      </a:srgbClr>
                    </a:solidFill>
                  </a:ln>
                  <a:solidFill>
                    <a:srgbClr val="000000"/>
                  </a:solidFill>
                  <a:latin typeface="Segoe UI Semibold" charset="0"/>
                  <a:ea typeface="Segoe UI Semibold" charset="0"/>
                  <a:cs typeface="Segoe UI Semibold" charset="0"/>
                </a:rPr>
                <a:t>Primary</a:t>
              </a:r>
            </a:p>
          </p:txBody>
        </p:sp>
        <p:sp>
          <p:nvSpPr>
            <p:cNvPr id="175" name="Freeform 62">
              <a:extLst>
                <a:ext uri="{FF2B5EF4-FFF2-40B4-BE49-F238E27FC236}">
                  <a16:creationId xmlns:a16="http://schemas.microsoft.com/office/drawing/2014/main" id="{43E3B9E5-0271-4794-9B00-D87211CB9962}"/>
                </a:ext>
              </a:extLst>
            </p:cNvPr>
            <p:cNvSpPr/>
            <p:nvPr/>
          </p:nvSpPr>
          <p:spPr bwMode="auto">
            <a:xfrm>
              <a:off x="526436" y="4038428"/>
              <a:ext cx="584105" cy="749144"/>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0" name="Rectangle 179">
              <a:extLst>
                <a:ext uri="{FF2B5EF4-FFF2-40B4-BE49-F238E27FC236}">
                  <a16:creationId xmlns:a16="http://schemas.microsoft.com/office/drawing/2014/main" id="{140FFCF9-2393-488C-AE14-F1E39A72A2E2}"/>
                </a:ext>
              </a:extLst>
            </p:cNvPr>
            <p:cNvSpPr/>
            <p:nvPr/>
          </p:nvSpPr>
          <p:spPr>
            <a:xfrm>
              <a:off x="2558763" y="4877691"/>
              <a:ext cx="1613411" cy="156974"/>
            </a:xfrm>
            <a:prstGeom prst="rect">
              <a:avLst/>
            </a:prstGeom>
          </p:spPr>
          <p:txBody>
            <a:bodyPr wrap="square" lIns="0" tIns="0" rIns="0" bIns="0" anchor="ctr" anchorCtr="0">
              <a:spAutoFit/>
            </a:bodyPr>
            <a:lstStyle/>
            <a:p>
              <a:pPr algn="ctr" defTabSz="1109367">
                <a:defRPr/>
              </a:pPr>
              <a:r>
                <a:rPr lang="en-US" sz="1000" b="1" kern="0" dirty="0">
                  <a:ln>
                    <a:solidFill>
                      <a:srgbClr val="FFFFFF">
                        <a:alpha val="0"/>
                      </a:srgbClr>
                    </a:solidFill>
                  </a:ln>
                  <a:solidFill>
                    <a:srgbClr val="000000"/>
                  </a:solidFill>
                  <a:latin typeface="Segoe UI Semibold" charset="0"/>
                  <a:ea typeface="Segoe UI Semibold" charset="0"/>
                  <a:cs typeface="Segoe UI Semibold" charset="0"/>
                </a:rPr>
                <a:t>Sync/Async Replicas</a:t>
              </a:r>
            </a:p>
          </p:txBody>
        </p:sp>
        <p:cxnSp>
          <p:nvCxnSpPr>
            <p:cNvPr id="181" name="Straight Arrow Connector 180">
              <a:extLst>
                <a:ext uri="{FF2B5EF4-FFF2-40B4-BE49-F238E27FC236}">
                  <a16:creationId xmlns:a16="http://schemas.microsoft.com/office/drawing/2014/main" id="{1F50ECDC-D770-4295-A548-64820832B05D}"/>
                </a:ext>
              </a:extLst>
            </p:cNvPr>
            <p:cNvCxnSpPr>
              <a:cxnSpLocks/>
            </p:cNvCxnSpPr>
            <p:nvPr/>
          </p:nvCxnSpPr>
          <p:spPr>
            <a:xfrm>
              <a:off x="1178167" y="4444840"/>
              <a:ext cx="1810912" cy="32012"/>
            </a:xfrm>
            <a:prstGeom prst="straightConnector1">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82" name="TextBox 181">
              <a:extLst>
                <a:ext uri="{FF2B5EF4-FFF2-40B4-BE49-F238E27FC236}">
                  <a16:creationId xmlns:a16="http://schemas.microsoft.com/office/drawing/2014/main" id="{DCB96A5E-E0A3-4A8C-9B23-A8C57358269B}"/>
                </a:ext>
              </a:extLst>
            </p:cNvPr>
            <p:cNvSpPr txBox="1"/>
            <p:nvPr/>
          </p:nvSpPr>
          <p:spPr>
            <a:xfrm>
              <a:off x="1682124" y="4237785"/>
              <a:ext cx="1075336" cy="141276"/>
            </a:xfrm>
            <a:prstGeom prst="rect">
              <a:avLst/>
            </a:prstGeom>
            <a:noFill/>
          </p:spPr>
          <p:txBody>
            <a:bodyPr wrap="square" lIns="0" tIns="0" rIns="0" bIns="0" rtlCol="0" anchor="ctr" anchorCtr="0">
              <a:spAutoFit/>
            </a:bodyPr>
            <a:lstStyle/>
            <a:p>
              <a:pPr defTabSz="1109367">
                <a:lnSpc>
                  <a:spcPct val="90000"/>
                </a:lnSpc>
                <a:defRPr/>
              </a:pPr>
              <a:r>
                <a:rPr lang="en-US" sz="1000" b="1" kern="0" dirty="0">
                  <a:ln>
                    <a:solidFill>
                      <a:srgbClr val="FFFFFF">
                        <a:alpha val="0"/>
                      </a:srgbClr>
                    </a:solidFill>
                  </a:ln>
                  <a:solidFill>
                    <a:srgbClr val="0078D7"/>
                  </a:solidFill>
                  <a:latin typeface="Segoe UI" charset="0"/>
                  <a:ea typeface="Segoe UI" charset="0"/>
                  <a:cs typeface="Segoe UI" charset="0"/>
                </a:rPr>
                <a:t>High availability</a:t>
              </a:r>
            </a:p>
          </p:txBody>
        </p:sp>
        <p:sp>
          <p:nvSpPr>
            <p:cNvPr id="183" name="Freeform 63">
              <a:extLst>
                <a:ext uri="{FF2B5EF4-FFF2-40B4-BE49-F238E27FC236}">
                  <a16:creationId xmlns:a16="http://schemas.microsoft.com/office/drawing/2014/main" id="{8D5D73D2-472B-41BB-937C-34CD61B4E69B}"/>
                </a:ext>
              </a:extLst>
            </p:cNvPr>
            <p:cNvSpPr/>
            <p:nvPr/>
          </p:nvSpPr>
          <p:spPr bwMode="auto">
            <a:xfrm>
              <a:off x="3110796" y="4038428"/>
              <a:ext cx="584105" cy="749144"/>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5" name="Rectangle 184">
              <a:extLst>
                <a:ext uri="{FF2B5EF4-FFF2-40B4-BE49-F238E27FC236}">
                  <a16:creationId xmlns:a16="http://schemas.microsoft.com/office/drawing/2014/main" id="{9133C21B-3DC2-48DE-ADF6-E86FBE8F586F}"/>
                </a:ext>
              </a:extLst>
            </p:cNvPr>
            <p:cNvSpPr/>
            <p:nvPr/>
          </p:nvSpPr>
          <p:spPr>
            <a:xfrm>
              <a:off x="68243" y="5262717"/>
              <a:ext cx="1054521" cy="197787"/>
            </a:xfrm>
            <a:prstGeom prst="rect">
              <a:avLst/>
            </a:prstGeom>
          </p:spPr>
          <p:txBody>
            <a:bodyPr wrap="square" lIns="0" tIns="0" rIns="0" bIns="0" anchor="ctr" anchorCtr="0">
              <a:spAutoFit/>
            </a:bodyPr>
            <a:lstStyle/>
            <a:p>
              <a:pPr algn="ctr" defTabSz="1109367">
                <a:lnSpc>
                  <a:spcPct val="90000"/>
                </a:lnSpc>
                <a:defRPr/>
              </a:pPr>
              <a:r>
                <a:rPr lang="en-US" sz="1400" b="1" kern="0" dirty="0">
                  <a:ln>
                    <a:solidFill>
                      <a:srgbClr val="FFFFFF">
                        <a:alpha val="0"/>
                      </a:srgbClr>
                    </a:solidFill>
                  </a:ln>
                  <a:solidFill>
                    <a:srgbClr val="FFFFFF">
                      <a:lumMod val="50000"/>
                    </a:srgbClr>
                  </a:solidFill>
                  <a:latin typeface="Segoe UI"/>
                  <a:cs typeface="Segoe UI Semibold" panose="020B0702040204020203" pitchFamily="34" charset="0"/>
                </a:rPr>
                <a:t>Linux</a:t>
              </a:r>
            </a:p>
          </p:txBody>
        </p:sp>
        <p:sp>
          <p:nvSpPr>
            <p:cNvPr id="186" name="TextBox 185">
              <a:extLst>
                <a:ext uri="{FF2B5EF4-FFF2-40B4-BE49-F238E27FC236}">
                  <a16:creationId xmlns:a16="http://schemas.microsoft.com/office/drawing/2014/main" id="{8113FB1A-A0F4-40F8-B81D-BBDBACF36230}"/>
                </a:ext>
              </a:extLst>
            </p:cNvPr>
            <p:cNvSpPr txBox="1"/>
            <p:nvPr/>
          </p:nvSpPr>
          <p:spPr>
            <a:xfrm>
              <a:off x="1427846" y="5686901"/>
              <a:ext cx="2162006" cy="141276"/>
            </a:xfrm>
            <a:prstGeom prst="rect">
              <a:avLst/>
            </a:prstGeom>
            <a:noFill/>
          </p:spPr>
          <p:txBody>
            <a:bodyPr wrap="square" lIns="0" tIns="0" rIns="0" bIns="0" rtlCol="0" anchor="ctr" anchorCtr="0">
              <a:spAutoFit/>
            </a:bodyPr>
            <a:lstStyle/>
            <a:p>
              <a:pPr defTabSz="1109367">
                <a:lnSpc>
                  <a:spcPct val="90000"/>
                </a:lnSpc>
                <a:defRPr/>
              </a:pPr>
              <a:r>
                <a:rPr lang="en-US" sz="1000" b="1" kern="0" dirty="0">
                  <a:ln>
                    <a:solidFill>
                      <a:srgbClr val="FFFFFF">
                        <a:alpha val="0"/>
                      </a:srgbClr>
                    </a:solidFill>
                  </a:ln>
                  <a:solidFill>
                    <a:srgbClr val="0078D7"/>
                  </a:solidFill>
                  <a:latin typeface="Segoe UI" charset="0"/>
                  <a:ea typeface="Segoe UI" charset="0"/>
                  <a:cs typeface="Segoe UI" charset="0"/>
                </a:rPr>
                <a:t>Cross-operating system</a:t>
              </a:r>
            </a:p>
          </p:txBody>
        </p:sp>
        <p:cxnSp>
          <p:nvCxnSpPr>
            <p:cNvPr id="187" name="Connector: Elbow 119">
              <a:extLst>
                <a:ext uri="{FF2B5EF4-FFF2-40B4-BE49-F238E27FC236}">
                  <a16:creationId xmlns:a16="http://schemas.microsoft.com/office/drawing/2014/main" id="{E7E1071F-9F4A-4701-A15B-AF656FFA8B51}"/>
                </a:ext>
              </a:extLst>
            </p:cNvPr>
            <p:cNvCxnSpPr>
              <a:cxnSpLocks/>
            </p:cNvCxnSpPr>
            <p:nvPr/>
          </p:nvCxnSpPr>
          <p:spPr>
            <a:xfrm>
              <a:off x="1187631" y="4532200"/>
              <a:ext cx="1798844" cy="1373096"/>
            </a:xfrm>
            <a:prstGeom prst="bentConnector3">
              <a:avLst>
                <a:gd name="adj1" fmla="val 8966"/>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88" name="Rectangle 187">
              <a:extLst>
                <a:ext uri="{FF2B5EF4-FFF2-40B4-BE49-F238E27FC236}">
                  <a16:creationId xmlns:a16="http://schemas.microsoft.com/office/drawing/2014/main" id="{5C635652-2A99-4835-84FE-096188977001}"/>
                </a:ext>
              </a:extLst>
            </p:cNvPr>
            <p:cNvSpPr/>
            <p:nvPr/>
          </p:nvSpPr>
          <p:spPr>
            <a:xfrm>
              <a:off x="2556526" y="6303078"/>
              <a:ext cx="1613411" cy="156974"/>
            </a:xfrm>
            <a:prstGeom prst="rect">
              <a:avLst/>
            </a:prstGeom>
          </p:spPr>
          <p:txBody>
            <a:bodyPr wrap="square" lIns="0" tIns="0" rIns="0" bIns="0" anchor="ctr" anchorCtr="0">
              <a:spAutoFit/>
            </a:bodyPr>
            <a:lstStyle/>
            <a:p>
              <a:pPr algn="ctr" defTabSz="1109367">
                <a:defRPr/>
              </a:pPr>
              <a:r>
                <a:rPr lang="en-US" sz="1000" b="1" kern="0" dirty="0">
                  <a:ln>
                    <a:solidFill>
                      <a:srgbClr val="FFFFFF">
                        <a:alpha val="0"/>
                      </a:srgbClr>
                    </a:solidFill>
                  </a:ln>
                  <a:solidFill>
                    <a:srgbClr val="000000"/>
                  </a:solidFill>
                  <a:latin typeface="Segoe UI Semibold" charset="0"/>
                  <a:ea typeface="Segoe UI Semibold" charset="0"/>
                  <a:cs typeface="Segoe UI Semibold" charset="0"/>
                </a:rPr>
                <a:t>Sync/Async Replicas</a:t>
              </a:r>
            </a:p>
          </p:txBody>
        </p:sp>
        <p:sp>
          <p:nvSpPr>
            <p:cNvPr id="189" name="Freeform 64">
              <a:extLst>
                <a:ext uri="{FF2B5EF4-FFF2-40B4-BE49-F238E27FC236}">
                  <a16:creationId xmlns:a16="http://schemas.microsoft.com/office/drawing/2014/main" id="{0688A0DA-90EC-44C2-AF96-281409265361}"/>
                </a:ext>
              </a:extLst>
            </p:cNvPr>
            <p:cNvSpPr/>
            <p:nvPr/>
          </p:nvSpPr>
          <p:spPr bwMode="auto">
            <a:xfrm>
              <a:off x="3059137" y="5447837"/>
              <a:ext cx="584105" cy="749144"/>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4" name="Rectangle 223">
              <a:extLst>
                <a:ext uri="{FF2B5EF4-FFF2-40B4-BE49-F238E27FC236}">
                  <a16:creationId xmlns:a16="http://schemas.microsoft.com/office/drawing/2014/main" id="{779C6967-3622-48D6-A96E-CB9AC18F7C6F}"/>
                </a:ext>
              </a:extLst>
            </p:cNvPr>
            <p:cNvSpPr/>
            <p:nvPr/>
          </p:nvSpPr>
          <p:spPr>
            <a:xfrm>
              <a:off x="1178167" y="3395701"/>
              <a:ext cx="2170787" cy="249299"/>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Clusterless” Availability Groups</a:t>
              </a:r>
            </a:p>
          </p:txBody>
        </p:sp>
      </p:grpSp>
      <p:grpSp>
        <p:nvGrpSpPr>
          <p:cNvPr id="227" name="Group 226">
            <a:extLst>
              <a:ext uri="{FF2B5EF4-FFF2-40B4-BE49-F238E27FC236}">
                <a16:creationId xmlns:a16="http://schemas.microsoft.com/office/drawing/2014/main" id="{6EC68BB1-F03B-4EE0-B979-A115A8B3F54D}"/>
              </a:ext>
            </a:extLst>
          </p:cNvPr>
          <p:cNvGrpSpPr/>
          <p:nvPr/>
        </p:nvGrpSpPr>
        <p:grpSpPr>
          <a:xfrm>
            <a:off x="1217780" y="1557778"/>
            <a:ext cx="1530671" cy="796864"/>
            <a:chOff x="960437" y="1598880"/>
            <a:chExt cx="1561364" cy="812843"/>
          </a:xfrm>
        </p:grpSpPr>
        <p:grpSp>
          <p:nvGrpSpPr>
            <p:cNvPr id="119" name="Group 118">
              <a:extLst>
                <a:ext uri="{FF2B5EF4-FFF2-40B4-BE49-F238E27FC236}">
                  <a16:creationId xmlns:a16="http://schemas.microsoft.com/office/drawing/2014/main" id="{87D03AEF-D5C8-45FD-816A-277DB883901B}"/>
                </a:ext>
              </a:extLst>
            </p:cNvPr>
            <p:cNvGrpSpPr/>
            <p:nvPr/>
          </p:nvGrpSpPr>
          <p:grpSpPr>
            <a:xfrm>
              <a:off x="960437" y="2049462"/>
              <a:ext cx="1561364" cy="362261"/>
              <a:chOff x="6576577" y="3318208"/>
              <a:chExt cx="2213304" cy="504999"/>
            </a:xfrm>
          </p:grpSpPr>
          <p:sp>
            <p:nvSpPr>
              <p:cNvPr id="120" name="Freeform 130">
                <a:extLst>
                  <a:ext uri="{FF2B5EF4-FFF2-40B4-BE49-F238E27FC236}">
                    <a16:creationId xmlns:a16="http://schemas.microsoft.com/office/drawing/2014/main" id="{C43ACB19-E53C-4A50-B6D2-13459181181D}"/>
                  </a:ext>
                </a:extLst>
              </p:cNvPr>
              <p:cNvSpPr>
                <a:spLocks noChangeAspect="1" noEditPoints="1"/>
              </p:cNvSpPr>
              <p:nvPr/>
            </p:nvSpPr>
            <p:spPr bwMode="black">
              <a:xfrm>
                <a:off x="7320545" y="3331545"/>
                <a:ext cx="480274" cy="478324"/>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178D7"/>
              </a:solidFill>
              <a:ln>
                <a:noFill/>
              </a:ln>
              <a:extLst/>
            </p:spPr>
            <p:txBody>
              <a:bodyPr vert="horz" wrap="square" lIns="91414" tIns="45706" rIns="91414" bIns="45706" numCol="1" anchor="t" anchorCtr="0" compatLnSpc="1">
                <a:prstTxWarp prst="textNoShape">
                  <a:avLst/>
                </a:prstTxWarp>
              </a:bodyPr>
              <a:lstStyle/>
              <a:p>
                <a:pPr defTabSz="932384">
                  <a:defRPr/>
                </a:pPr>
                <a:endParaRPr lang="en-US" sz="1800" kern="0" dirty="0">
                  <a:solidFill>
                    <a:prstClr val="white"/>
                  </a:solidFill>
                  <a:latin typeface="Segoe UI"/>
                </a:endParaRPr>
              </a:p>
            </p:txBody>
          </p:sp>
          <p:sp>
            <p:nvSpPr>
              <p:cNvPr id="121" name="Freeform: Shape 390">
                <a:extLst>
                  <a:ext uri="{FF2B5EF4-FFF2-40B4-BE49-F238E27FC236}">
                    <a16:creationId xmlns:a16="http://schemas.microsoft.com/office/drawing/2014/main" id="{DDDC94EB-88F4-4DB7-B451-36889D448983}"/>
                  </a:ext>
                </a:extLst>
              </p:cNvPr>
              <p:cNvSpPr/>
              <p:nvPr/>
            </p:nvSpPr>
            <p:spPr>
              <a:xfrm>
                <a:off x="8113431" y="3356687"/>
                <a:ext cx="676450" cy="428040"/>
              </a:xfrm>
              <a:custGeom>
                <a:avLst/>
                <a:gdLst>
                  <a:gd name="connsiteX0" fmla="*/ 1849531 w 7529578"/>
                  <a:gd name="connsiteY0" fmla="*/ 3903502 h 4764516"/>
                  <a:gd name="connsiteX1" fmla="*/ 1273554 w 7529578"/>
                  <a:gd name="connsiteY1" fmla="*/ 3987984 h 4764516"/>
                  <a:gd name="connsiteX2" fmla="*/ 1013662 w 7529578"/>
                  <a:gd name="connsiteY2" fmla="*/ 3995024 h 4764516"/>
                  <a:gd name="connsiteX3" fmla="*/ 676505 w 7529578"/>
                  <a:gd name="connsiteY3" fmla="*/ 3987984 h 4764516"/>
                  <a:gd name="connsiteX4" fmla="*/ 2439556 w 7529578"/>
                  <a:gd name="connsiteY4" fmla="*/ 4677914 h 4764516"/>
                  <a:gd name="connsiteX5" fmla="*/ 2636231 w 7529578"/>
                  <a:gd name="connsiteY5" fmla="*/ 4677914 h 4764516"/>
                  <a:gd name="connsiteX6" fmla="*/ 1849531 w 7529578"/>
                  <a:gd name="connsiteY6" fmla="*/ 3903502 h 4764516"/>
                  <a:gd name="connsiteX7" fmla="*/ 2161836 w 7529578"/>
                  <a:gd name="connsiteY7" fmla="*/ 3452194 h 4764516"/>
                  <a:gd name="connsiteX8" fmla="*/ 2209829 w 7529578"/>
                  <a:gd name="connsiteY8" fmla="*/ 3459914 h 4764516"/>
                  <a:gd name="connsiteX9" fmla="*/ 2185833 w 7529578"/>
                  <a:gd name="connsiteY9" fmla="*/ 3506232 h 4764516"/>
                  <a:gd name="connsiteX10" fmla="*/ 2241825 w 7529578"/>
                  <a:gd name="connsiteY10" fmla="*/ 3560270 h 4764516"/>
                  <a:gd name="connsiteX11" fmla="*/ 2289818 w 7529578"/>
                  <a:gd name="connsiteY11" fmla="*/ 3529391 h 4764516"/>
                  <a:gd name="connsiteX12" fmla="*/ 2297817 w 7529578"/>
                  <a:gd name="connsiteY12" fmla="*/ 3583429 h 4764516"/>
                  <a:gd name="connsiteX13" fmla="*/ 2161836 w 7529578"/>
                  <a:gd name="connsiteY13" fmla="*/ 3714663 h 4764516"/>
                  <a:gd name="connsiteX14" fmla="*/ 2017856 w 7529578"/>
                  <a:gd name="connsiteY14" fmla="*/ 3583429 h 4764516"/>
                  <a:gd name="connsiteX15" fmla="*/ 2161836 w 7529578"/>
                  <a:gd name="connsiteY15" fmla="*/ 3452194 h 4764516"/>
                  <a:gd name="connsiteX16" fmla="*/ 2157831 w 7529578"/>
                  <a:gd name="connsiteY16" fmla="*/ 3399707 h 4764516"/>
                  <a:gd name="connsiteX17" fmla="*/ 1965358 w 7529578"/>
                  <a:gd name="connsiteY17" fmla="*/ 3583434 h 4764516"/>
                  <a:gd name="connsiteX18" fmla="*/ 2157831 w 7529578"/>
                  <a:gd name="connsiteY18" fmla="*/ 3767161 h 4764516"/>
                  <a:gd name="connsiteX19" fmla="*/ 2350304 w 7529578"/>
                  <a:gd name="connsiteY19" fmla="*/ 3583434 h 4764516"/>
                  <a:gd name="connsiteX20" fmla="*/ 2157831 w 7529578"/>
                  <a:gd name="connsiteY20" fmla="*/ 3399707 h 4764516"/>
                  <a:gd name="connsiteX21" fmla="*/ 3907591 w 7529578"/>
                  <a:gd name="connsiteY21" fmla="*/ 1579947 h 4764516"/>
                  <a:gd name="connsiteX22" fmla="*/ 4607493 w 7529578"/>
                  <a:gd name="connsiteY22" fmla="*/ 1579947 h 4764516"/>
                  <a:gd name="connsiteX23" fmla="*/ 4607493 w 7529578"/>
                  <a:gd name="connsiteY23" fmla="*/ 2279850 h 4764516"/>
                  <a:gd name="connsiteX24" fmla="*/ 3907591 w 7529578"/>
                  <a:gd name="connsiteY24" fmla="*/ 2279850 h 4764516"/>
                  <a:gd name="connsiteX25" fmla="*/ 3102704 w 7529578"/>
                  <a:gd name="connsiteY25" fmla="*/ 1579947 h 4764516"/>
                  <a:gd name="connsiteX26" fmla="*/ 3802606 w 7529578"/>
                  <a:gd name="connsiteY26" fmla="*/ 1579947 h 4764516"/>
                  <a:gd name="connsiteX27" fmla="*/ 3802606 w 7529578"/>
                  <a:gd name="connsiteY27" fmla="*/ 2279850 h 4764516"/>
                  <a:gd name="connsiteX28" fmla="*/ 3102704 w 7529578"/>
                  <a:gd name="connsiteY28" fmla="*/ 2279850 h 4764516"/>
                  <a:gd name="connsiteX29" fmla="*/ 2315309 w 7529578"/>
                  <a:gd name="connsiteY29" fmla="*/ 1579947 h 4764516"/>
                  <a:gd name="connsiteX30" fmla="*/ 3015211 w 7529578"/>
                  <a:gd name="connsiteY30" fmla="*/ 1579947 h 4764516"/>
                  <a:gd name="connsiteX31" fmla="*/ 3015211 w 7529578"/>
                  <a:gd name="connsiteY31" fmla="*/ 2279850 h 4764516"/>
                  <a:gd name="connsiteX32" fmla="*/ 2315309 w 7529578"/>
                  <a:gd name="connsiteY32" fmla="*/ 2279850 h 4764516"/>
                  <a:gd name="connsiteX33" fmla="*/ 1510422 w 7529578"/>
                  <a:gd name="connsiteY33" fmla="*/ 1579947 h 4764516"/>
                  <a:gd name="connsiteX34" fmla="*/ 2210324 w 7529578"/>
                  <a:gd name="connsiteY34" fmla="*/ 1579947 h 4764516"/>
                  <a:gd name="connsiteX35" fmla="*/ 2210324 w 7529578"/>
                  <a:gd name="connsiteY35" fmla="*/ 2279850 h 4764516"/>
                  <a:gd name="connsiteX36" fmla="*/ 1510422 w 7529578"/>
                  <a:gd name="connsiteY36" fmla="*/ 2279850 h 4764516"/>
                  <a:gd name="connsiteX37" fmla="*/ 705534 w 7529578"/>
                  <a:gd name="connsiteY37" fmla="*/ 1579947 h 4764516"/>
                  <a:gd name="connsiteX38" fmla="*/ 1405436 w 7529578"/>
                  <a:gd name="connsiteY38" fmla="*/ 1579947 h 4764516"/>
                  <a:gd name="connsiteX39" fmla="*/ 1405436 w 7529578"/>
                  <a:gd name="connsiteY39" fmla="*/ 2279850 h 4764516"/>
                  <a:gd name="connsiteX40" fmla="*/ 705534 w 7529578"/>
                  <a:gd name="connsiteY40" fmla="*/ 2279850 h 4764516"/>
                  <a:gd name="connsiteX41" fmla="*/ 6082271 w 7529578"/>
                  <a:gd name="connsiteY41" fmla="*/ 862558 h 4764516"/>
                  <a:gd name="connsiteX42" fmla="*/ 6535589 w 7529578"/>
                  <a:gd name="connsiteY42" fmla="*/ 1754155 h 4764516"/>
                  <a:gd name="connsiteX43" fmla="*/ 7529578 w 7529578"/>
                  <a:gd name="connsiteY43" fmla="*/ 1761959 h 4764516"/>
                  <a:gd name="connsiteX44" fmla="*/ 6394775 w 7529578"/>
                  <a:gd name="connsiteY44" fmla="*/ 2238778 h 4764516"/>
                  <a:gd name="connsiteX45" fmla="*/ 2451200 w 7529578"/>
                  <a:gd name="connsiteY45" fmla="*/ 4764516 h 4764516"/>
                  <a:gd name="connsiteX46" fmla="*/ 518946 w 7529578"/>
                  <a:gd name="connsiteY46" fmla="*/ 4005975 h 4764516"/>
                  <a:gd name="connsiteX47" fmla="*/ 518946 w 7529578"/>
                  <a:gd name="connsiteY47" fmla="*/ 3998172 h 4764516"/>
                  <a:gd name="connsiteX48" fmla="*/ 400721 w 7529578"/>
                  <a:gd name="connsiteY48" fmla="*/ 3872918 h 4764516"/>
                  <a:gd name="connsiteX49" fmla="*/ 283250 w 7529578"/>
                  <a:gd name="connsiteY49" fmla="*/ 3693428 h 4764516"/>
                  <a:gd name="connsiteX50" fmla="*/ 220749 w 7529578"/>
                  <a:gd name="connsiteY50" fmla="*/ 3583783 h 4764516"/>
                  <a:gd name="connsiteX51" fmla="*/ 9903 w 7529578"/>
                  <a:gd name="connsiteY51" fmla="*/ 2403051 h 4764516"/>
                  <a:gd name="connsiteX52" fmla="*/ 5143252 w 7529578"/>
                  <a:gd name="connsiteY52" fmla="*/ 2403051 h 4764516"/>
                  <a:gd name="connsiteX53" fmla="*/ 6175645 w 7529578"/>
                  <a:gd name="connsiteY53" fmla="*/ 2074506 h 4764516"/>
                  <a:gd name="connsiteX54" fmla="*/ 6082271 w 7529578"/>
                  <a:gd name="connsiteY54" fmla="*/ 862558 h 4764516"/>
                  <a:gd name="connsiteX55" fmla="*/ 3102704 w 7529578"/>
                  <a:gd name="connsiteY55" fmla="*/ 792564 h 4764516"/>
                  <a:gd name="connsiteX56" fmla="*/ 3802606 w 7529578"/>
                  <a:gd name="connsiteY56" fmla="*/ 792564 h 4764516"/>
                  <a:gd name="connsiteX57" fmla="*/ 3802606 w 7529578"/>
                  <a:gd name="connsiteY57" fmla="*/ 1492467 h 4764516"/>
                  <a:gd name="connsiteX58" fmla="*/ 3102704 w 7529578"/>
                  <a:gd name="connsiteY58" fmla="*/ 1492467 h 4764516"/>
                  <a:gd name="connsiteX59" fmla="*/ 2315309 w 7529578"/>
                  <a:gd name="connsiteY59" fmla="*/ 792564 h 4764516"/>
                  <a:gd name="connsiteX60" fmla="*/ 3015211 w 7529578"/>
                  <a:gd name="connsiteY60" fmla="*/ 792564 h 4764516"/>
                  <a:gd name="connsiteX61" fmla="*/ 3015211 w 7529578"/>
                  <a:gd name="connsiteY61" fmla="*/ 1492467 h 4764516"/>
                  <a:gd name="connsiteX62" fmla="*/ 2315309 w 7529578"/>
                  <a:gd name="connsiteY62" fmla="*/ 1492467 h 4764516"/>
                  <a:gd name="connsiteX63" fmla="*/ 1510422 w 7529578"/>
                  <a:gd name="connsiteY63" fmla="*/ 792564 h 4764516"/>
                  <a:gd name="connsiteX64" fmla="*/ 2210324 w 7529578"/>
                  <a:gd name="connsiteY64" fmla="*/ 792564 h 4764516"/>
                  <a:gd name="connsiteX65" fmla="*/ 2210324 w 7529578"/>
                  <a:gd name="connsiteY65" fmla="*/ 1492467 h 4764516"/>
                  <a:gd name="connsiteX66" fmla="*/ 1510422 w 7529578"/>
                  <a:gd name="connsiteY66" fmla="*/ 1492467 h 4764516"/>
                  <a:gd name="connsiteX67" fmla="*/ 3102704 w 7529578"/>
                  <a:gd name="connsiteY67" fmla="*/ 0 h 4764516"/>
                  <a:gd name="connsiteX68" fmla="*/ 3802606 w 7529578"/>
                  <a:gd name="connsiteY68" fmla="*/ 0 h 4764516"/>
                  <a:gd name="connsiteX69" fmla="*/ 3802606 w 7529578"/>
                  <a:gd name="connsiteY69" fmla="*/ 699903 h 4764516"/>
                  <a:gd name="connsiteX70" fmla="*/ 3102704 w 7529578"/>
                  <a:gd name="connsiteY70" fmla="*/ 699903 h 4764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7529578" h="4764516">
                    <a:moveTo>
                      <a:pt x="1849531" y="3903502"/>
                    </a:moveTo>
                    <a:cubicBezTo>
                      <a:pt x="1687977" y="3945743"/>
                      <a:pt x="1498326" y="3973903"/>
                      <a:pt x="1273554" y="3987984"/>
                    </a:cubicBezTo>
                    <a:cubicBezTo>
                      <a:pt x="1196289" y="3995024"/>
                      <a:pt x="1104976" y="3995024"/>
                      <a:pt x="1013662" y="3995024"/>
                    </a:cubicBezTo>
                    <a:cubicBezTo>
                      <a:pt x="908301" y="3995024"/>
                      <a:pt x="795915" y="3995024"/>
                      <a:pt x="676505" y="3987984"/>
                    </a:cubicBezTo>
                    <a:cubicBezTo>
                      <a:pt x="1069855" y="4375190"/>
                      <a:pt x="1547495" y="4670874"/>
                      <a:pt x="2439556" y="4677914"/>
                    </a:cubicBezTo>
                    <a:cubicBezTo>
                      <a:pt x="2502773" y="4677914"/>
                      <a:pt x="2573014" y="4677914"/>
                      <a:pt x="2636231" y="4677914"/>
                    </a:cubicBezTo>
                    <a:cubicBezTo>
                      <a:pt x="2207761" y="4473751"/>
                      <a:pt x="1975965" y="4199187"/>
                      <a:pt x="1849531" y="3903502"/>
                    </a:cubicBezTo>
                    <a:close/>
                    <a:moveTo>
                      <a:pt x="2161836" y="3452194"/>
                    </a:moveTo>
                    <a:cubicBezTo>
                      <a:pt x="2177834" y="3452194"/>
                      <a:pt x="2193832" y="3452194"/>
                      <a:pt x="2209829" y="3459914"/>
                    </a:cubicBezTo>
                    <a:cubicBezTo>
                      <a:pt x="2193832" y="3467633"/>
                      <a:pt x="2185833" y="3483073"/>
                      <a:pt x="2185833" y="3506232"/>
                    </a:cubicBezTo>
                    <a:cubicBezTo>
                      <a:pt x="2185833" y="3537111"/>
                      <a:pt x="2209829" y="3560270"/>
                      <a:pt x="2241825" y="3560270"/>
                    </a:cubicBezTo>
                    <a:cubicBezTo>
                      <a:pt x="2257823" y="3560270"/>
                      <a:pt x="2281819" y="3552550"/>
                      <a:pt x="2289818" y="3529391"/>
                    </a:cubicBezTo>
                    <a:cubicBezTo>
                      <a:pt x="2297817" y="3544830"/>
                      <a:pt x="2297817" y="3567989"/>
                      <a:pt x="2297817" y="3583429"/>
                    </a:cubicBezTo>
                    <a:cubicBezTo>
                      <a:pt x="2297817" y="3660626"/>
                      <a:pt x="2241825" y="3714663"/>
                      <a:pt x="2161836" y="3714663"/>
                    </a:cubicBezTo>
                    <a:cubicBezTo>
                      <a:pt x="2081847" y="3714663"/>
                      <a:pt x="2017856" y="3660626"/>
                      <a:pt x="2017856" y="3583429"/>
                    </a:cubicBezTo>
                    <a:cubicBezTo>
                      <a:pt x="2017856" y="3506232"/>
                      <a:pt x="2081847" y="3452194"/>
                      <a:pt x="2161836" y="3452194"/>
                    </a:cubicBezTo>
                    <a:close/>
                    <a:moveTo>
                      <a:pt x="2157831" y="3399707"/>
                    </a:moveTo>
                    <a:cubicBezTo>
                      <a:pt x="2051531" y="3399707"/>
                      <a:pt x="1965358" y="3481964"/>
                      <a:pt x="1965358" y="3583434"/>
                    </a:cubicBezTo>
                    <a:cubicBezTo>
                      <a:pt x="1965358" y="3684904"/>
                      <a:pt x="2051531" y="3767161"/>
                      <a:pt x="2157831" y="3767161"/>
                    </a:cubicBezTo>
                    <a:cubicBezTo>
                      <a:pt x="2264131" y="3767161"/>
                      <a:pt x="2350304" y="3684904"/>
                      <a:pt x="2350304" y="3583434"/>
                    </a:cubicBezTo>
                    <a:cubicBezTo>
                      <a:pt x="2350304" y="3481964"/>
                      <a:pt x="2264131" y="3399707"/>
                      <a:pt x="2157831" y="3399707"/>
                    </a:cubicBezTo>
                    <a:close/>
                    <a:moveTo>
                      <a:pt x="3907591" y="1579947"/>
                    </a:moveTo>
                    <a:lnTo>
                      <a:pt x="4607493" y="1579947"/>
                    </a:lnTo>
                    <a:lnTo>
                      <a:pt x="4607493" y="2279850"/>
                    </a:lnTo>
                    <a:lnTo>
                      <a:pt x="3907591" y="2279850"/>
                    </a:lnTo>
                    <a:close/>
                    <a:moveTo>
                      <a:pt x="3102704" y="1579947"/>
                    </a:moveTo>
                    <a:lnTo>
                      <a:pt x="3802606" y="1579947"/>
                    </a:lnTo>
                    <a:lnTo>
                      <a:pt x="3802606" y="2279850"/>
                    </a:lnTo>
                    <a:lnTo>
                      <a:pt x="3102704" y="2279850"/>
                    </a:lnTo>
                    <a:close/>
                    <a:moveTo>
                      <a:pt x="2315309" y="1579947"/>
                    </a:moveTo>
                    <a:lnTo>
                      <a:pt x="3015211" y="1579947"/>
                    </a:lnTo>
                    <a:lnTo>
                      <a:pt x="3015211" y="2279850"/>
                    </a:lnTo>
                    <a:lnTo>
                      <a:pt x="2315309" y="2279850"/>
                    </a:lnTo>
                    <a:close/>
                    <a:moveTo>
                      <a:pt x="1510422" y="1579947"/>
                    </a:moveTo>
                    <a:lnTo>
                      <a:pt x="2210324" y="1579947"/>
                    </a:lnTo>
                    <a:lnTo>
                      <a:pt x="2210324" y="2279850"/>
                    </a:lnTo>
                    <a:lnTo>
                      <a:pt x="1510422" y="2279850"/>
                    </a:lnTo>
                    <a:close/>
                    <a:moveTo>
                      <a:pt x="705534" y="1579947"/>
                    </a:moveTo>
                    <a:lnTo>
                      <a:pt x="1405436" y="1579947"/>
                    </a:lnTo>
                    <a:lnTo>
                      <a:pt x="1405436" y="2279850"/>
                    </a:lnTo>
                    <a:lnTo>
                      <a:pt x="705534" y="2279850"/>
                    </a:lnTo>
                    <a:close/>
                    <a:moveTo>
                      <a:pt x="6082271" y="862558"/>
                    </a:moveTo>
                    <a:cubicBezTo>
                      <a:pt x="6278056" y="1019026"/>
                      <a:pt x="6590560" y="1347181"/>
                      <a:pt x="6535589" y="1754155"/>
                    </a:cubicBezTo>
                    <a:cubicBezTo>
                      <a:pt x="6778063" y="1636706"/>
                      <a:pt x="7200507" y="1574275"/>
                      <a:pt x="7529578" y="1761959"/>
                    </a:cubicBezTo>
                    <a:cubicBezTo>
                      <a:pt x="7326262" y="2168543"/>
                      <a:pt x="6872190" y="2285602"/>
                      <a:pt x="6394775" y="2238778"/>
                    </a:cubicBezTo>
                    <a:cubicBezTo>
                      <a:pt x="5729856" y="3982564"/>
                      <a:pt x="4226825" y="4764516"/>
                      <a:pt x="2451200" y="4764516"/>
                    </a:cubicBezTo>
                    <a:cubicBezTo>
                      <a:pt x="1613840" y="4764516"/>
                      <a:pt x="941391" y="4483185"/>
                      <a:pt x="518946" y="4005975"/>
                    </a:cubicBezTo>
                    <a:lnTo>
                      <a:pt x="518946" y="3998172"/>
                    </a:lnTo>
                    <a:cubicBezTo>
                      <a:pt x="499367" y="3975930"/>
                      <a:pt x="420300" y="3893989"/>
                      <a:pt x="400721" y="3872918"/>
                    </a:cubicBezTo>
                    <a:cubicBezTo>
                      <a:pt x="362318" y="3810487"/>
                      <a:pt x="323160" y="3748056"/>
                      <a:pt x="283250" y="3693428"/>
                    </a:cubicBezTo>
                    <a:cubicBezTo>
                      <a:pt x="262165" y="3656750"/>
                      <a:pt x="241834" y="3620462"/>
                      <a:pt x="220749" y="3583783"/>
                    </a:cubicBezTo>
                    <a:cubicBezTo>
                      <a:pt x="49061" y="3239631"/>
                      <a:pt x="-29254" y="2840851"/>
                      <a:pt x="9903" y="2403051"/>
                    </a:cubicBezTo>
                    <a:lnTo>
                      <a:pt x="5143252" y="2403051"/>
                    </a:lnTo>
                    <a:cubicBezTo>
                      <a:pt x="5565697" y="2403051"/>
                      <a:pt x="5979859" y="2246582"/>
                      <a:pt x="6175645" y="2074506"/>
                    </a:cubicBezTo>
                    <a:cubicBezTo>
                      <a:pt x="5823231" y="1793175"/>
                      <a:pt x="5863141" y="1120477"/>
                      <a:pt x="6082271" y="862558"/>
                    </a:cubicBezTo>
                    <a:close/>
                    <a:moveTo>
                      <a:pt x="3102704" y="792564"/>
                    </a:moveTo>
                    <a:lnTo>
                      <a:pt x="3802606" y="792564"/>
                    </a:lnTo>
                    <a:lnTo>
                      <a:pt x="3802606" y="1492467"/>
                    </a:lnTo>
                    <a:lnTo>
                      <a:pt x="3102704" y="1492467"/>
                    </a:lnTo>
                    <a:close/>
                    <a:moveTo>
                      <a:pt x="2315309" y="792564"/>
                    </a:moveTo>
                    <a:lnTo>
                      <a:pt x="3015211" y="792564"/>
                    </a:lnTo>
                    <a:lnTo>
                      <a:pt x="3015211" y="1492467"/>
                    </a:lnTo>
                    <a:lnTo>
                      <a:pt x="2315309" y="1492467"/>
                    </a:lnTo>
                    <a:close/>
                    <a:moveTo>
                      <a:pt x="1510422" y="792564"/>
                    </a:moveTo>
                    <a:lnTo>
                      <a:pt x="2210324" y="792564"/>
                    </a:lnTo>
                    <a:lnTo>
                      <a:pt x="2210324" y="1492467"/>
                    </a:lnTo>
                    <a:lnTo>
                      <a:pt x="1510422" y="1492467"/>
                    </a:lnTo>
                    <a:close/>
                    <a:moveTo>
                      <a:pt x="3102704" y="0"/>
                    </a:moveTo>
                    <a:lnTo>
                      <a:pt x="3802606" y="0"/>
                    </a:lnTo>
                    <a:lnTo>
                      <a:pt x="3802606" y="699903"/>
                    </a:lnTo>
                    <a:lnTo>
                      <a:pt x="3102704" y="699903"/>
                    </a:lnTo>
                    <a:close/>
                  </a:path>
                </a:pathLst>
              </a:custGeom>
              <a:solidFill>
                <a:srgbClr val="0178D7"/>
              </a:solidFill>
              <a:ln w="10795" cap="flat" cmpd="sng" algn="ctr">
                <a:noFill/>
                <a:prstDash val="solid"/>
              </a:ln>
              <a:effectLst/>
            </p:spPr>
            <p:txBody>
              <a:bodyPr rtlCol="0" anchor="ctr"/>
              <a:lstStyle/>
              <a:p>
                <a:pPr algn="ctr" defTabSz="932418">
                  <a:defRPr/>
                </a:pPr>
                <a:endParaRPr lang="en-US" sz="1836" kern="0" dirty="0">
                  <a:solidFill>
                    <a:prstClr val="white"/>
                  </a:solidFill>
                  <a:latin typeface="Segoe UI"/>
                </a:endParaRPr>
              </a:p>
            </p:txBody>
          </p:sp>
          <p:pic>
            <p:nvPicPr>
              <p:cNvPr id="122" name="Picture 121">
                <a:extLst>
                  <a:ext uri="{FF2B5EF4-FFF2-40B4-BE49-F238E27FC236}">
                    <a16:creationId xmlns:a16="http://schemas.microsoft.com/office/drawing/2014/main" id="{7BA4BC3A-07B3-4AD2-B242-F0637200EBE0}"/>
                  </a:ext>
                </a:extLst>
              </p:cNvPr>
              <p:cNvPicPr>
                <a:picLocks noChangeAspect="1"/>
              </p:cNvPicPr>
              <p:nvPr/>
            </p:nvPicPr>
            <p:blipFill>
              <a:blip r:embed="rId3" cstate="print">
                <a:duotone>
                  <a:srgbClr val="0078D7">
                    <a:shade val="45000"/>
                    <a:satMod val="135000"/>
                  </a:srgbClr>
                  <a:prstClr val="white"/>
                </a:duotone>
                <a:lum bright="14000" contrast="20000"/>
                <a:extLst>
                  <a:ext uri="{28A0092B-C50C-407E-A947-70E740481C1C}">
                    <a14:useLocalDpi xmlns:a14="http://schemas.microsoft.com/office/drawing/2010/main" val="0"/>
                  </a:ext>
                </a:extLst>
              </a:blip>
              <a:stretch>
                <a:fillRect/>
              </a:stretch>
            </p:blipFill>
            <p:spPr>
              <a:xfrm>
                <a:off x="6576577" y="3318208"/>
                <a:ext cx="431356" cy="504999"/>
              </a:xfrm>
              <a:prstGeom prst="rect">
                <a:avLst/>
              </a:prstGeom>
            </p:spPr>
          </p:pic>
        </p:grpSp>
        <p:sp>
          <p:nvSpPr>
            <p:cNvPr id="225" name="Rectangle 224">
              <a:extLst>
                <a:ext uri="{FF2B5EF4-FFF2-40B4-BE49-F238E27FC236}">
                  <a16:creationId xmlns:a16="http://schemas.microsoft.com/office/drawing/2014/main" id="{4BB33C8A-4342-4DA4-A9B6-EDCDC0ACFFF4}"/>
                </a:ext>
              </a:extLst>
            </p:cNvPr>
            <p:cNvSpPr/>
            <p:nvPr/>
          </p:nvSpPr>
          <p:spPr>
            <a:xfrm>
              <a:off x="1025665" y="1598880"/>
              <a:ext cx="1338828" cy="249299"/>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Platform of Choice</a:t>
              </a:r>
            </a:p>
          </p:txBody>
        </p:sp>
      </p:grpSp>
      <p:grpSp>
        <p:nvGrpSpPr>
          <p:cNvPr id="228" name="Group 227">
            <a:extLst>
              <a:ext uri="{FF2B5EF4-FFF2-40B4-BE49-F238E27FC236}">
                <a16:creationId xmlns:a16="http://schemas.microsoft.com/office/drawing/2014/main" id="{D754799D-B101-4F45-903F-E5BFAFCF8DB6}"/>
              </a:ext>
            </a:extLst>
          </p:cNvPr>
          <p:cNvGrpSpPr/>
          <p:nvPr/>
        </p:nvGrpSpPr>
        <p:grpSpPr>
          <a:xfrm>
            <a:off x="8940435" y="4378094"/>
            <a:ext cx="2404176" cy="1778837"/>
            <a:chOff x="9041704" y="4443175"/>
            <a:chExt cx="2452385" cy="1814506"/>
          </a:xfrm>
        </p:grpSpPr>
        <p:grpSp>
          <p:nvGrpSpPr>
            <p:cNvPr id="2" name="Group 1">
              <a:extLst>
                <a:ext uri="{FF2B5EF4-FFF2-40B4-BE49-F238E27FC236}">
                  <a16:creationId xmlns:a16="http://schemas.microsoft.com/office/drawing/2014/main" id="{DA9DE99D-68AC-45AC-ABC9-61BCB6A4DC15}"/>
                </a:ext>
              </a:extLst>
            </p:cNvPr>
            <p:cNvGrpSpPr/>
            <p:nvPr/>
          </p:nvGrpSpPr>
          <p:grpSpPr>
            <a:xfrm>
              <a:off x="9041704" y="4809164"/>
              <a:ext cx="2452385" cy="1448517"/>
              <a:chOff x="7513637" y="2907620"/>
              <a:chExt cx="2452385" cy="1448517"/>
            </a:xfrm>
          </p:grpSpPr>
          <p:sp>
            <p:nvSpPr>
              <p:cNvPr id="10" name="TextBox 9">
                <a:extLst>
                  <a:ext uri="{FF2B5EF4-FFF2-40B4-BE49-F238E27FC236}">
                    <a16:creationId xmlns:a16="http://schemas.microsoft.com/office/drawing/2014/main" id="{D86886AE-CB6E-4006-9D23-F01E0346ABD9}"/>
                  </a:ext>
                </a:extLst>
              </p:cNvPr>
              <p:cNvSpPr txBox="1"/>
              <p:nvPr/>
            </p:nvSpPr>
            <p:spPr>
              <a:xfrm>
                <a:off x="7731675" y="2907620"/>
                <a:ext cx="1111753" cy="627896"/>
              </a:xfrm>
              <a:prstGeom prst="rect">
                <a:avLst/>
              </a:prstGeom>
              <a:noFill/>
            </p:spPr>
            <p:txBody>
              <a:bodyPr wrap="square" lIns="0" tIns="0" rIns="0" bIns="0" rtlCol="0">
                <a:spAutoFit/>
              </a:bodyPr>
              <a:lstStyle/>
              <a:p>
                <a:pPr algn="ctr" defTabSz="1218935">
                  <a:defRPr/>
                </a:pPr>
                <a:r>
                  <a:rPr lang="en-US" sz="4000" b="1" kern="0" dirty="0">
                    <a:solidFill>
                      <a:srgbClr val="0078D7"/>
                    </a:solidFill>
                    <a:latin typeface="Segoe UI Semibold" charset="0"/>
                    <a:ea typeface="Segoe UI Semibold" charset="0"/>
                    <a:cs typeface="Segoe UI Semibold" charset="0"/>
                  </a:rPr>
                  <a:t>R</a:t>
                </a:r>
              </a:p>
            </p:txBody>
          </p:sp>
          <p:grpSp>
            <p:nvGrpSpPr>
              <p:cNvPr id="11" name="Group 10">
                <a:extLst>
                  <a:ext uri="{FF2B5EF4-FFF2-40B4-BE49-F238E27FC236}">
                    <a16:creationId xmlns:a16="http://schemas.microsoft.com/office/drawing/2014/main" id="{4A9E4BC2-1612-40F3-9A18-73CBB1269C03}"/>
                  </a:ext>
                </a:extLst>
              </p:cNvPr>
              <p:cNvGrpSpPr>
                <a:grpSpLocks noChangeAspect="1"/>
              </p:cNvGrpSpPr>
              <p:nvPr/>
            </p:nvGrpSpPr>
            <p:grpSpPr bwMode="auto">
              <a:xfrm>
                <a:off x="8899260" y="3010163"/>
                <a:ext cx="426595" cy="428476"/>
                <a:chOff x="522" y="2880"/>
                <a:chExt cx="908" cy="912"/>
              </a:xfrm>
              <a:solidFill>
                <a:schemeClr val="tx2"/>
              </a:solidFill>
            </p:grpSpPr>
            <p:sp>
              <p:nvSpPr>
                <p:cNvPr id="12" name="Freeform 5">
                  <a:extLst>
                    <a:ext uri="{FF2B5EF4-FFF2-40B4-BE49-F238E27FC236}">
                      <a16:creationId xmlns:a16="http://schemas.microsoft.com/office/drawing/2014/main" id="{0E1074E1-070A-45B4-AFAC-CF71F2069ECC}"/>
                    </a:ext>
                  </a:extLst>
                </p:cNvPr>
                <p:cNvSpPr>
                  <a:spLocks noEditPoints="1"/>
                </p:cNvSpPr>
                <p:nvPr/>
              </p:nvSpPr>
              <p:spPr bwMode="auto">
                <a:xfrm>
                  <a:off x="522" y="2880"/>
                  <a:ext cx="668" cy="669"/>
                </a:xfrm>
                <a:custGeom>
                  <a:avLst/>
                  <a:gdLst>
                    <a:gd name="T0" fmla="*/ 223 w 332"/>
                    <a:gd name="T1" fmla="*/ 0 h 332"/>
                    <a:gd name="T2" fmla="*/ 172 w 332"/>
                    <a:gd name="T3" fmla="*/ 4 h 332"/>
                    <a:gd name="T4" fmla="*/ 118 w 332"/>
                    <a:gd name="T5" fmla="*/ 60 h 332"/>
                    <a:gd name="T6" fmla="*/ 118 w 332"/>
                    <a:gd name="T7" fmla="*/ 101 h 332"/>
                    <a:gd name="T8" fmla="*/ 225 w 332"/>
                    <a:gd name="T9" fmla="*/ 101 h 332"/>
                    <a:gd name="T10" fmla="*/ 225 w 332"/>
                    <a:gd name="T11" fmla="*/ 114 h 332"/>
                    <a:gd name="T12" fmla="*/ 118 w 332"/>
                    <a:gd name="T13" fmla="*/ 114 h 332"/>
                    <a:gd name="T14" fmla="*/ 78 w 332"/>
                    <a:gd name="T15" fmla="*/ 114 h 332"/>
                    <a:gd name="T16" fmla="*/ 11 w 332"/>
                    <a:gd name="T17" fmla="*/ 169 h 332"/>
                    <a:gd name="T18" fmla="*/ 11 w 332"/>
                    <a:gd name="T19" fmla="*/ 278 h 332"/>
                    <a:gd name="T20" fmla="*/ 68 w 332"/>
                    <a:gd name="T21" fmla="*/ 332 h 332"/>
                    <a:gd name="T22" fmla="*/ 105 w 332"/>
                    <a:gd name="T23" fmla="*/ 332 h 332"/>
                    <a:gd name="T24" fmla="*/ 105 w 332"/>
                    <a:gd name="T25" fmla="*/ 283 h 332"/>
                    <a:gd name="T26" fmla="*/ 172 w 332"/>
                    <a:gd name="T27" fmla="*/ 216 h 332"/>
                    <a:gd name="T28" fmla="*/ 279 w 332"/>
                    <a:gd name="T29" fmla="*/ 216 h 332"/>
                    <a:gd name="T30" fmla="*/ 332 w 332"/>
                    <a:gd name="T31" fmla="*/ 162 h 332"/>
                    <a:gd name="T32" fmla="*/ 332 w 332"/>
                    <a:gd name="T33" fmla="*/ 60 h 332"/>
                    <a:gd name="T34" fmla="*/ 279 w 332"/>
                    <a:gd name="T35" fmla="*/ 4 h 332"/>
                    <a:gd name="T36" fmla="*/ 223 w 332"/>
                    <a:gd name="T37" fmla="*/ 0 h 332"/>
                    <a:gd name="T38" fmla="*/ 165 w 332"/>
                    <a:gd name="T39" fmla="*/ 33 h 332"/>
                    <a:gd name="T40" fmla="*/ 185 w 332"/>
                    <a:gd name="T41" fmla="*/ 53 h 332"/>
                    <a:gd name="T42" fmla="*/ 165 w 332"/>
                    <a:gd name="T43" fmla="*/ 73 h 332"/>
                    <a:gd name="T44" fmla="*/ 145 w 332"/>
                    <a:gd name="T45" fmla="*/ 53 h 332"/>
                    <a:gd name="T46" fmla="*/ 165 w 332"/>
                    <a:gd name="T47" fmla="*/ 33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2" h="332">
                      <a:moveTo>
                        <a:pt x="223" y="0"/>
                      </a:moveTo>
                      <a:cubicBezTo>
                        <a:pt x="205" y="0"/>
                        <a:pt x="187" y="1"/>
                        <a:pt x="172" y="4"/>
                      </a:cubicBezTo>
                      <a:cubicBezTo>
                        <a:pt x="126" y="12"/>
                        <a:pt x="118" y="29"/>
                        <a:pt x="118" y="60"/>
                      </a:cubicBezTo>
                      <a:cubicBezTo>
                        <a:pt x="118" y="101"/>
                        <a:pt x="118" y="101"/>
                        <a:pt x="118" y="101"/>
                      </a:cubicBezTo>
                      <a:cubicBezTo>
                        <a:pt x="225" y="101"/>
                        <a:pt x="225" y="101"/>
                        <a:pt x="225" y="101"/>
                      </a:cubicBezTo>
                      <a:cubicBezTo>
                        <a:pt x="225" y="114"/>
                        <a:pt x="225" y="114"/>
                        <a:pt x="225" y="114"/>
                      </a:cubicBezTo>
                      <a:cubicBezTo>
                        <a:pt x="118" y="114"/>
                        <a:pt x="118" y="114"/>
                        <a:pt x="118" y="114"/>
                      </a:cubicBezTo>
                      <a:cubicBezTo>
                        <a:pt x="78" y="114"/>
                        <a:pt x="78" y="114"/>
                        <a:pt x="78" y="114"/>
                      </a:cubicBezTo>
                      <a:cubicBezTo>
                        <a:pt x="47" y="114"/>
                        <a:pt x="19" y="133"/>
                        <a:pt x="11" y="169"/>
                      </a:cubicBezTo>
                      <a:cubicBezTo>
                        <a:pt x="1" y="210"/>
                        <a:pt x="0" y="235"/>
                        <a:pt x="11" y="278"/>
                      </a:cubicBezTo>
                      <a:cubicBezTo>
                        <a:pt x="18" y="309"/>
                        <a:pt x="37" y="332"/>
                        <a:pt x="68" y="332"/>
                      </a:cubicBezTo>
                      <a:cubicBezTo>
                        <a:pt x="105" y="332"/>
                        <a:pt x="105" y="332"/>
                        <a:pt x="105" y="332"/>
                      </a:cubicBezTo>
                      <a:cubicBezTo>
                        <a:pt x="105" y="283"/>
                        <a:pt x="105" y="283"/>
                        <a:pt x="105" y="283"/>
                      </a:cubicBezTo>
                      <a:cubicBezTo>
                        <a:pt x="105" y="248"/>
                        <a:pt x="135" y="216"/>
                        <a:pt x="172" y="216"/>
                      </a:cubicBezTo>
                      <a:cubicBezTo>
                        <a:pt x="279" y="216"/>
                        <a:pt x="279" y="216"/>
                        <a:pt x="279" y="216"/>
                      </a:cubicBezTo>
                      <a:cubicBezTo>
                        <a:pt x="309" y="216"/>
                        <a:pt x="332" y="192"/>
                        <a:pt x="332" y="162"/>
                      </a:cubicBezTo>
                      <a:cubicBezTo>
                        <a:pt x="332" y="60"/>
                        <a:pt x="332" y="60"/>
                        <a:pt x="332" y="60"/>
                      </a:cubicBezTo>
                      <a:cubicBezTo>
                        <a:pt x="332" y="31"/>
                        <a:pt x="308" y="9"/>
                        <a:pt x="279" y="4"/>
                      </a:cubicBezTo>
                      <a:cubicBezTo>
                        <a:pt x="260" y="1"/>
                        <a:pt x="241" y="0"/>
                        <a:pt x="223" y="0"/>
                      </a:cubicBezTo>
                      <a:close/>
                      <a:moveTo>
                        <a:pt x="165" y="33"/>
                      </a:moveTo>
                      <a:cubicBezTo>
                        <a:pt x="176" y="33"/>
                        <a:pt x="185" y="42"/>
                        <a:pt x="185" y="53"/>
                      </a:cubicBezTo>
                      <a:cubicBezTo>
                        <a:pt x="185" y="64"/>
                        <a:pt x="176" y="73"/>
                        <a:pt x="165" y="73"/>
                      </a:cubicBezTo>
                      <a:cubicBezTo>
                        <a:pt x="154" y="73"/>
                        <a:pt x="145" y="64"/>
                        <a:pt x="145" y="53"/>
                      </a:cubicBezTo>
                      <a:cubicBezTo>
                        <a:pt x="145" y="42"/>
                        <a:pt x="154" y="33"/>
                        <a:pt x="165"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kern="0" dirty="0">
                    <a:solidFill>
                      <a:srgbClr val="505050"/>
                    </a:solidFill>
                    <a:latin typeface="Segoe UI"/>
                  </a:endParaRPr>
                </a:p>
              </p:txBody>
            </p:sp>
            <p:sp>
              <p:nvSpPr>
                <p:cNvPr id="13" name="Freeform 6">
                  <a:extLst>
                    <a:ext uri="{FF2B5EF4-FFF2-40B4-BE49-F238E27FC236}">
                      <a16:creationId xmlns:a16="http://schemas.microsoft.com/office/drawing/2014/main" id="{217EFD84-B2C8-4D21-AF45-D0A17526079E}"/>
                    </a:ext>
                  </a:extLst>
                </p:cNvPr>
                <p:cNvSpPr>
                  <a:spLocks noEditPoints="1"/>
                </p:cNvSpPr>
                <p:nvPr/>
              </p:nvSpPr>
              <p:spPr bwMode="auto">
                <a:xfrm>
                  <a:off x="760" y="3110"/>
                  <a:ext cx="670" cy="682"/>
                </a:xfrm>
                <a:custGeom>
                  <a:avLst/>
                  <a:gdLst>
                    <a:gd name="T0" fmla="*/ 228 w 333"/>
                    <a:gd name="T1" fmla="*/ 0 h 339"/>
                    <a:gd name="T2" fmla="*/ 228 w 333"/>
                    <a:gd name="T3" fmla="*/ 48 h 339"/>
                    <a:gd name="T4" fmla="*/ 161 w 333"/>
                    <a:gd name="T5" fmla="*/ 116 h 339"/>
                    <a:gd name="T6" fmla="*/ 54 w 333"/>
                    <a:gd name="T7" fmla="*/ 116 h 339"/>
                    <a:gd name="T8" fmla="*/ 0 w 333"/>
                    <a:gd name="T9" fmla="*/ 170 h 339"/>
                    <a:gd name="T10" fmla="*/ 0 w 333"/>
                    <a:gd name="T11" fmla="*/ 273 h 339"/>
                    <a:gd name="T12" fmla="*/ 54 w 333"/>
                    <a:gd name="T13" fmla="*/ 327 h 339"/>
                    <a:gd name="T14" fmla="*/ 161 w 333"/>
                    <a:gd name="T15" fmla="*/ 327 h 339"/>
                    <a:gd name="T16" fmla="*/ 214 w 333"/>
                    <a:gd name="T17" fmla="*/ 273 h 339"/>
                    <a:gd name="T18" fmla="*/ 214 w 333"/>
                    <a:gd name="T19" fmla="*/ 232 h 339"/>
                    <a:gd name="T20" fmla="*/ 107 w 333"/>
                    <a:gd name="T21" fmla="*/ 232 h 339"/>
                    <a:gd name="T22" fmla="*/ 107 w 333"/>
                    <a:gd name="T23" fmla="*/ 218 h 339"/>
                    <a:gd name="T24" fmla="*/ 214 w 333"/>
                    <a:gd name="T25" fmla="*/ 218 h 339"/>
                    <a:gd name="T26" fmla="*/ 268 w 333"/>
                    <a:gd name="T27" fmla="*/ 218 h 339"/>
                    <a:gd name="T28" fmla="*/ 322 w 333"/>
                    <a:gd name="T29" fmla="*/ 164 h 339"/>
                    <a:gd name="T30" fmla="*/ 322 w 333"/>
                    <a:gd name="T31" fmla="*/ 55 h 339"/>
                    <a:gd name="T32" fmla="*/ 268 w 333"/>
                    <a:gd name="T33" fmla="*/ 0 h 339"/>
                    <a:gd name="T34" fmla="*/ 228 w 333"/>
                    <a:gd name="T35" fmla="*/ 0 h 339"/>
                    <a:gd name="T36" fmla="*/ 167 w 333"/>
                    <a:gd name="T37" fmla="*/ 259 h 339"/>
                    <a:gd name="T38" fmla="*/ 188 w 333"/>
                    <a:gd name="T39" fmla="*/ 279 h 339"/>
                    <a:gd name="T40" fmla="*/ 167 w 333"/>
                    <a:gd name="T41" fmla="*/ 300 h 339"/>
                    <a:gd name="T42" fmla="*/ 147 w 333"/>
                    <a:gd name="T43" fmla="*/ 279 h 339"/>
                    <a:gd name="T44" fmla="*/ 167 w 333"/>
                    <a:gd name="T45" fmla="*/ 259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3" h="339">
                      <a:moveTo>
                        <a:pt x="228" y="0"/>
                      </a:moveTo>
                      <a:cubicBezTo>
                        <a:pt x="228" y="48"/>
                        <a:pt x="228" y="48"/>
                        <a:pt x="228" y="48"/>
                      </a:cubicBezTo>
                      <a:cubicBezTo>
                        <a:pt x="228" y="85"/>
                        <a:pt x="196" y="116"/>
                        <a:pt x="161" y="116"/>
                      </a:cubicBezTo>
                      <a:cubicBezTo>
                        <a:pt x="54" y="116"/>
                        <a:pt x="54" y="116"/>
                        <a:pt x="54" y="116"/>
                      </a:cubicBezTo>
                      <a:cubicBezTo>
                        <a:pt x="24" y="116"/>
                        <a:pt x="0" y="141"/>
                        <a:pt x="0" y="170"/>
                      </a:cubicBezTo>
                      <a:cubicBezTo>
                        <a:pt x="0" y="273"/>
                        <a:pt x="0" y="273"/>
                        <a:pt x="0" y="273"/>
                      </a:cubicBezTo>
                      <a:cubicBezTo>
                        <a:pt x="0" y="302"/>
                        <a:pt x="25" y="319"/>
                        <a:pt x="54" y="327"/>
                      </a:cubicBezTo>
                      <a:cubicBezTo>
                        <a:pt x="88" y="337"/>
                        <a:pt x="120" y="339"/>
                        <a:pt x="161" y="327"/>
                      </a:cubicBezTo>
                      <a:cubicBezTo>
                        <a:pt x="188" y="319"/>
                        <a:pt x="214" y="304"/>
                        <a:pt x="214" y="273"/>
                      </a:cubicBezTo>
                      <a:cubicBezTo>
                        <a:pt x="214" y="232"/>
                        <a:pt x="214" y="232"/>
                        <a:pt x="214" y="232"/>
                      </a:cubicBezTo>
                      <a:cubicBezTo>
                        <a:pt x="107" y="232"/>
                        <a:pt x="107" y="232"/>
                        <a:pt x="107" y="232"/>
                      </a:cubicBezTo>
                      <a:cubicBezTo>
                        <a:pt x="107" y="218"/>
                        <a:pt x="107" y="218"/>
                        <a:pt x="107" y="218"/>
                      </a:cubicBezTo>
                      <a:cubicBezTo>
                        <a:pt x="214" y="218"/>
                        <a:pt x="214" y="218"/>
                        <a:pt x="214" y="218"/>
                      </a:cubicBezTo>
                      <a:cubicBezTo>
                        <a:pt x="268" y="218"/>
                        <a:pt x="268" y="218"/>
                        <a:pt x="268" y="218"/>
                      </a:cubicBezTo>
                      <a:cubicBezTo>
                        <a:pt x="299" y="218"/>
                        <a:pt x="311" y="196"/>
                        <a:pt x="322" y="164"/>
                      </a:cubicBezTo>
                      <a:cubicBezTo>
                        <a:pt x="333" y="130"/>
                        <a:pt x="332" y="98"/>
                        <a:pt x="322" y="55"/>
                      </a:cubicBezTo>
                      <a:cubicBezTo>
                        <a:pt x="314" y="24"/>
                        <a:pt x="299" y="0"/>
                        <a:pt x="268" y="0"/>
                      </a:cubicBezTo>
                      <a:lnTo>
                        <a:pt x="228" y="0"/>
                      </a:lnTo>
                      <a:close/>
                      <a:moveTo>
                        <a:pt x="167" y="259"/>
                      </a:moveTo>
                      <a:cubicBezTo>
                        <a:pt x="179" y="259"/>
                        <a:pt x="188" y="268"/>
                        <a:pt x="188" y="279"/>
                      </a:cubicBezTo>
                      <a:cubicBezTo>
                        <a:pt x="188" y="291"/>
                        <a:pt x="179" y="300"/>
                        <a:pt x="167" y="300"/>
                      </a:cubicBezTo>
                      <a:cubicBezTo>
                        <a:pt x="156" y="300"/>
                        <a:pt x="147" y="291"/>
                        <a:pt x="147" y="279"/>
                      </a:cubicBezTo>
                      <a:cubicBezTo>
                        <a:pt x="147" y="268"/>
                        <a:pt x="156" y="259"/>
                        <a:pt x="167" y="2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kern="0" dirty="0">
                    <a:solidFill>
                      <a:srgbClr val="505050"/>
                    </a:solidFill>
                    <a:latin typeface="Segoe UI"/>
                  </a:endParaRPr>
                </a:p>
              </p:txBody>
            </p:sp>
          </p:grpSp>
          <p:sp>
            <p:nvSpPr>
              <p:cNvPr id="14" name="TextBox 13">
                <a:extLst>
                  <a:ext uri="{FF2B5EF4-FFF2-40B4-BE49-F238E27FC236}">
                    <a16:creationId xmlns:a16="http://schemas.microsoft.com/office/drawing/2014/main" id="{4BF0F10C-8D3F-498A-A11E-26FA859FBC8F}"/>
                  </a:ext>
                </a:extLst>
              </p:cNvPr>
              <p:cNvSpPr txBox="1"/>
              <p:nvPr/>
            </p:nvSpPr>
            <p:spPr>
              <a:xfrm>
                <a:off x="7513637" y="4030662"/>
                <a:ext cx="2452385" cy="325475"/>
              </a:xfrm>
              <a:prstGeom prst="rect">
                <a:avLst/>
              </a:prstGeom>
              <a:noFill/>
            </p:spPr>
            <p:txBody>
              <a:bodyPr wrap="none" lIns="0" tIns="0" rIns="0" bIns="0" rtlCol="0" anchor="b">
                <a:noAutofit/>
              </a:bodyPr>
              <a:lstStyle/>
              <a:p>
                <a:pPr algn="ctr" defTabSz="930968">
                  <a:spcBef>
                    <a:spcPts val="600"/>
                  </a:spcBef>
                  <a:spcAft>
                    <a:spcPts val="600"/>
                  </a:spcAft>
                  <a:defRPr/>
                </a:pPr>
                <a:r>
                  <a:rPr lang="en-US" sz="1100" kern="0" spc="49" dirty="0">
                    <a:solidFill>
                      <a:srgbClr val="505050"/>
                    </a:solidFill>
                    <a:latin typeface="Segoe UI Semilight" charset="0"/>
                    <a:ea typeface="Segoe UI Semilight" charset="0"/>
                    <a:cs typeface="Segoe UI Semilight" charset="0"/>
                  </a:rPr>
                  <a:t>R and Python + </a:t>
                </a:r>
                <a:br>
                  <a:rPr lang="en-US" sz="1100" kern="0" spc="49" dirty="0">
                    <a:solidFill>
                      <a:srgbClr val="505050"/>
                    </a:solidFill>
                    <a:latin typeface="Segoe UI Semilight" charset="0"/>
                    <a:ea typeface="Segoe UI Semilight" charset="0"/>
                    <a:cs typeface="Segoe UI Semilight" charset="0"/>
                  </a:rPr>
                </a:br>
                <a:r>
                  <a:rPr lang="en-US" sz="1100" kern="0" spc="49" dirty="0">
                    <a:solidFill>
                      <a:srgbClr val="505050"/>
                    </a:solidFill>
                    <a:latin typeface="Segoe UI Semilight" charset="0"/>
                    <a:ea typeface="Segoe UI Semilight" charset="0"/>
                    <a:cs typeface="Segoe UI Semilight" charset="0"/>
                  </a:rPr>
                  <a:t>in-memory at massive scale</a:t>
                </a:r>
              </a:p>
              <a:p>
                <a:pPr algn="ctr" defTabSz="930968">
                  <a:spcBef>
                    <a:spcPts val="600"/>
                  </a:spcBef>
                  <a:spcAft>
                    <a:spcPts val="600"/>
                  </a:spcAft>
                  <a:defRPr/>
                </a:pPr>
                <a:r>
                  <a:rPr lang="en-US" sz="1100" kern="0" spc="49" dirty="0">
                    <a:solidFill>
                      <a:srgbClr val="505050"/>
                    </a:solidFill>
                    <a:latin typeface="Segoe UI Semilight" charset="0"/>
                    <a:ea typeface="Segoe UI Semilight" charset="0"/>
                    <a:cs typeface="Segoe UI Semilight" charset="0"/>
                  </a:rPr>
                  <a:t>Native T-SQL scoring</a:t>
                </a:r>
              </a:p>
            </p:txBody>
          </p:sp>
        </p:grpSp>
        <p:sp>
          <p:nvSpPr>
            <p:cNvPr id="226" name="Rectangle 225">
              <a:extLst>
                <a:ext uri="{FF2B5EF4-FFF2-40B4-BE49-F238E27FC236}">
                  <a16:creationId xmlns:a16="http://schemas.microsoft.com/office/drawing/2014/main" id="{DDE076D6-3A61-462B-8DD2-786AFC380478}"/>
                </a:ext>
              </a:extLst>
            </p:cNvPr>
            <p:cNvSpPr/>
            <p:nvPr/>
          </p:nvSpPr>
          <p:spPr>
            <a:xfrm>
              <a:off x="9359107" y="4443175"/>
              <a:ext cx="1771639" cy="249299"/>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Built-in Machine Learning</a:t>
              </a:r>
            </a:p>
          </p:txBody>
        </p:sp>
      </p:grpSp>
      <p:grpSp>
        <p:nvGrpSpPr>
          <p:cNvPr id="5" name="Group 4">
            <a:extLst>
              <a:ext uri="{FF2B5EF4-FFF2-40B4-BE49-F238E27FC236}">
                <a16:creationId xmlns:a16="http://schemas.microsoft.com/office/drawing/2014/main" id="{656B246E-8FC6-422E-B30B-7E48D8D23E8E}"/>
              </a:ext>
            </a:extLst>
          </p:cNvPr>
          <p:cNvGrpSpPr/>
          <p:nvPr/>
        </p:nvGrpSpPr>
        <p:grpSpPr>
          <a:xfrm>
            <a:off x="8187658" y="965920"/>
            <a:ext cx="3583381" cy="2864270"/>
            <a:chOff x="8351837" y="984791"/>
            <a:chExt cx="3655235" cy="2921705"/>
          </a:xfrm>
        </p:grpSpPr>
        <p:grpSp>
          <p:nvGrpSpPr>
            <p:cNvPr id="6" name="Group 5">
              <a:extLst>
                <a:ext uri="{FF2B5EF4-FFF2-40B4-BE49-F238E27FC236}">
                  <a16:creationId xmlns:a16="http://schemas.microsoft.com/office/drawing/2014/main" id="{20E56635-5F44-4B4E-B453-98EE68E3FA5B}"/>
                </a:ext>
              </a:extLst>
            </p:cNvPr>
            <p:cNvGrpSpPr/>
            <p:nvPr/>
          </p:nvGrpSpPr>
          <p:grpSpPr>
            <a:xfrm>
              <a:off x="8789920" y="1556792"/>
              <a:ext cx="3033942" cy="1217220"/>
              <a:chOff x="2483470" y="566299"/>
              <a:chExt cx="6006709" cy="3838251"/>
            </a:xfrm>
          </p:grpSpPr>
          <p:sp>
            <p:nvSpPr>
              <p:cNvPr id="104" name="Rectangle 103">
                <a:extLst>
                  <a:ext uri="{FF2B5EF4-FFF2-40B4-BE49-F238E27FC236}">
                    <a16:creationId xmlns:a16="http://schemas.microsoft.com/office/drawing/2014/main" id="{65E22075-DACA-4AD2-94F7-32C5E0F4F810}"/>
                  </a:ext>
                </a:extLst>
              </p:cNvPr>
              <p:cNvSpPr/>
              <p:nvPr/>
            </p:nvSpPr>
            <p:spPr bwMode="auto">
              <a:xfrm>
                <a:off x="2483470" y="3451359"/>
                <a:ext cx="132660" cy="953189"/>
              </a:xfrm>
              <a:prstGeom prst="rect">
                <a:avLst/>
              </a:prstGeom>
              <a:solidFill>
                <a:schemeClr val="bg1"/>
              </a:solid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5" name="Rectangle 104">
                <a:extLst>
                  <a:ext uri="{FF2B5EF4-FFF2-40B4-BE49-F238E27FC236}">
                    <a16:creationId xmlns:a16="http://schemas.microsoft.com/office/drawing/2014/main" id="{53121F75-B9A0-4C32-AF38-7EF6DD782744}"/>
                  </a:ext>
                </a:extLst>
              </p:cNvPr>
              <p:cNvSpPr/>
              <p:nvPr/>
            </p:nvSpPr>
            <p:spPr bwMode="auto">
              <a:xfrm>
                <a:off x="2738863" y="3755288"/>
                <a:ext cx="132660" cy="649260"/>
              </a:xfrm>
              <a:prstGeom prst="rect">
                <a:avLst/>
              </a:prstGeom>
              <a:solidFill>
                <a:schemeClr val="bg1"/>
              </a:solid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6" name="Rectangle 105">
                <a:extLst>
                  <a:ext uri="{FF2B5EF4-FFF2-40B4-BE49-F238E27FC236}">
                    <a16:creationId xmlns:a16="http://schemas.microsoft.com/office/drawing/2014/main" id="{919A02C7-831C-4D81-B69D-1AFDE8CBB16F}"/>
                  </a:ext>
                </a:extLst>
              </p:cNvPr>
              <p:cNvSpPr/>
              <p:nvPr/>
            </p:nvSpPr>
            <p:spPr bwMode="auto">
              <a:xfrm>
                <a:off x="2994257" y="3882966"/>
                <a:ext cx="132660" cy="521582"/>
              </a:xfrm>
              <a:prstGeom prst="rect">
                <a:avLst/>
              </a:prstGeom>
              <a:solidFill>
                <a:schemeClr val="bg1"/>
              </a:solid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7" name="Rectangle 106">
                <a:extLst>
                  <a:ext uri="{FF2B5EF4-FFF2-40B4-BE49-F238E27FC236}">
                    <a16:creationId xmlns:a16="http://schemas.microsoft.com/office/drawing/2014/main" id="{325F30CF-F0D4-48D0-BE92-47D2BA835715}"/>
                  </a:ext>
                </a:extLst>
              </p:cNvPr>
              <p:cNvSpPr/>
              <p:nvPr/>
            </p:nvSpPr>
            <p:spPr bwMode="auto">
              <a:xfrm>
                <a:off x="3249651" y="3720593"/>
                <a:ext cx="132660" cy="683955"/>
              </a:xfrm>
              <a:prstGeom prst="rect">
                <a:avLst/>
              </a:prstGeom>
              <a:solidFill>
                <a:schemeClr val="bg1"/>
              </a:solid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8" name="Rectangle 107">
                <a:extLst>
                  <a:ext uri="{FF2B5EF4-FFF2-40B4-BE49-F238E27FC236}">
                    <a16:creationId xmlns:a16="http://schemas.microsoft.com/office/drawing/2014/main" id="{32E19D8E-7D93-4B59-B586-AFFCA9CB976A}"/>
                  </a:ext>
                </a:extLst>
              </p:cNvPr>
              <p:cNvSpPr/>
              <p:nvPr/>
            </p:nvSpPr>
            <p:spPr bwMode="auto">
              <a:xfrm>
                <a:off x="3505045" y="3492994"/>
                <a:ext cx="132660" cy="911554"/>
              </a:xfrm>
              <a:prstGeom prst="rect">
                <a:avLst/>
              </a:prstGeom>
              <a:solidFill>
                <a:schemeClr val="bg1"/>
              </a:solid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9" name="Rectangle 108">
                <a:extLst>
                  <a:ext uri="{FF2B5EF4-FFF2-40B4-BE49-F238E27FC236}">
                    <a16:creationId xmlns:a16="http://schemas.microsoft.com/office/drawing/2014/main" id="{12AF1004-3258-417D-93C6-A94E215130FF}"/>
                  </a:ext>
                </a:extLst>
              </p:cNvPr>
              <p:cNvSpPr/>
              <p:nvPr/>
            </p:nvSpPr>
            <p:spPr bwMode="auto">
              <a:xfrm>
                <a:off x="3760438" y="3787207"/>
                <a:ext cx="132660" cy="617341"/>
              </a:xfrm>
              <a:prstGeom prst="rect">
                <a:avLst/>
              </a:prstGeom>
              <a:solidFill>
                <a:schemeClr val="bg1"/>
              </a:solid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10" name="Rectangle 109">
                <a:extLst>
                  <a:ext uri="{FF2B5EF4-FFF2-40B4-BE49-F238E27FC236}">
                    <a16:creationId xmlns:a16="http://schemas.microsoft.com/office/drawing/2014/main" id="{26A7E77B-5616-499E-91A3-96B696AFBB58}"/>
                  </a:ext>
                </a:extLst>
              </p:cNvPr>
              <p:cNvSpPr/>
              <p:nvPr/>
            </p:nvSpPr>
            <p:spPr bwMode="auto">
              <a:xfrm>
                <a:off x="4015832" y="3698013"/>
                <a:ext cx="132660" cy="706535"/>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11" name="Rectangle 110">
                <a:extLst>
                  <a:ext uri="{FF2B5EF4-FFF2-40B4-BE49-F238E27FC236}">
                    <a16:creationId xmlns:a16="http://schemas.microsoft.com/office/drawing/2014/main" id="{FDE6435C-9C28-494C-AA30-D2B00545AF52}"/>
                  </a:ext>
                </a:extLst>
              </p:cNvPr>
              <p:cNvSpPr/>
              <p:nvPr/>
            </p:nvSpPr>
            <p:spPr bwMode="auto">
              <a:xfrm>
                <a:off x="4271226" y="3867325"/>
                <a:ext cx="132660" cy="537223"/>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12" name="Rectangle 111">
                <a:extLst>
                  <a:ext uri="{FF2B5EF4-FFF2-40B4-BE49-F238E27FC236}">
                    <a16:creationId xmlns:a16="http://schemas.microsoft.com/office/drawing/2014/main" id="{7B7FF4AE-F230-4E92-A209-6199B19FB0CC}"/>
                  </a:ext>
                </a:extLst>
              </p:cNvPr>
              <p:cNvSpPr/>
              <p:nvPr/>
            </p:nvSpPr>
            <p:spPr bwMode="auto">
              <a:xfrm>
                <a:off x="4526620" y="3720592"/>
                <a:ext cx="132660" cy="683956"/>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13" name="Rectangle 112">
                <a:extLst>
                  <a:ext uri="{FF2B5EF4-FFF2-40B4-BE49-F238E27FC236}">
                    <a16:creationId xmlns:a16="http://schemas.microsoft.com/office/drawing/2014/main" id="{1FEAC611-9366-40DB-8F10-01A6F2FF5E18}"/>
                  </a:ext>
                </a:extLst>
              </p:cNvPr>
              <p:cNvSpPr/>
              <p:nvPr/>
            </p:nvSpPr>
            <p:spPr bwMode="auto">
              <a:xfrm>
                <a:off x="4782013" y="3942112"/>
                <a:ext cx="132660" cy="462436"/>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14" name="Rectangle 113">
                <a:extLst>
                  <a:ext uri="{FF2B5EF4-FFF2-40B4-BE49-F238E27FC236}">
                    <a16:creationId xmlns:a16="http://schemas.microsoft.com/office/drawing/2014/main" id="{CE09E56E-73C6-456C-B0E3-5C575AED404E}"/>
                  </a:ext>
                </a:extLst>
              </p:cNvPr>
              <p:cNvSpPr/>
              <p:nvPr/>
            </p:nvSpPr>
            <p:spPr bwMode="auto">
              <a:xfrm>
                <a:off x="5037407" y="3720592"/>
                <a:ext cx="132660" cy="683956"/>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15" name="Rectangle 114">
                <a:extLst>
                  <a:ext uri="{FF2B5EF4-FFF2-40B4-BE49-F238E27FC236}">
                    <a16:creationId xmlns:a16="http://schemas.microsoft.com/office/drawing/2014/main" id="{14A4A90A-DA0E-4362-A163-F938C98D2544}"/>
                  </a:ext>
                </a:extLst>
              </p:cNvPr>
              <p:cNvSpPr/>
              <p:nvPr/>
            </p:nvSpPr>
            <p:spPr bwMode="auto">
              <a:xfrm>
                <a:off x="5292801" y="3544480"/>
                <a:ext cx="132660" cy="860068"/>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16" name="Rectangle 115">
                <a:extLst>
                  <a:ext uri="{FF2B5EF4-FFF2-40B4-BE49-F238E27FC236}">
                    <a16:creationId xmlns:a16="http://schemas.microsoft.com/office/drawing/2014/main" id="{547FDDD3-5FBA-4BB0-BBFF-0C3FDDDFAF24}"/>
                  </a:ext>
                </a:extLst>
              </p:cNvPr>
              <p:cNvSpPr/>
              <p:nvPr/>
            </p:nvSpPr>
            <p:spPr bwMode="auto">
              <a:xfrm>
                <a:off x="5548195" y="1658530"/>
                <a:ext cx="132660" cy="2746018"/>
              </a:xfrm>
              <a:prstGeom prst="rect">
                <a:avLst/>
              </a:prstGeom>
              <a:solidFill>
                <a:schemeClr val="bg1"/>
              </a:solid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17" name="Rectangle 116">
                <a:extLst>
                  <a:ext uri="{FF2B5EF4-FFF2-40B4-BE49-F238E27FC236}">
                    <a16:creationId xmlns:a16="http://schemas.microsoft.com/office/drawing/2014/main" id="{9BE6B60E-37BA-4DC0-8EB1-BC637459BC83}"/>
                  </a:ext>
                </a:extLst>
              </p:cNvPr>
              <p:cNvSpPr/>
              <p:nvPr/>
            </p:nvSpPr>
            <p:spPr bwMode="auto">
              <a:xfrm>
                <a:off x="5803589" y="1175167"/>
                <a:ext cx="132660" cy="3229383"/>
              </a:xfrm>
              <a:prstGeom prst="rect">
                <a:avLst/>
              </a:prstGeom>
              <a:solidFill>
                <a:schemeClr val="bg1"/>
              </a:solid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23" name="Rectangle 122">
                <a:extLst>
                  <a:ext uri="{FF2B5EF4-FFF2-40B4-BE49-F238E27FC236}">
                    <a16:creationId xmlns:a16="http://schemas.microsoft.com/office/drawing/2014/main" id="{366E63B8-C3E1-4181-BD9D-A63E5FF48CCF}"/>
                  </a:ext>
                </a:extLst>
              </p:cNvPr>
              <p:cNvSpPr/>
              <p:nvPr/>
            </p:nvSpPr>
            <p:spPr bwMode="auto">
              <a:xfrm>
                <a:off x="6058982" y="781693"/>
                <a:ext cx="132660" cy="3622856"/>
              </a:xfrm>
              <a:prstGeom prst="rect">
                <a:avLst/>
              </a:prstGeom>
              <a:solidFill>
                <a:schemeClr val="bg1"/>
              </a:solid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24" name="Rectangle 123">
                <a:extLst>
                  <a:ext uri="{FF2B5EF4-FFF2-40B4-BE49-F238E27FC236}">
                    <a16:creationId xmlns:a16="http://schemas.microsoft.com/office/drawing/2014/main" id="{B65ABABB-CCF4-4B7D-8A78-FA4B48FAFC19}"/>
                  </a:ext>
                </a:extLst>
              </p:cNvPr>
              <p:cNvSpPr/>
              <p:nvPr/>
            </p:nvSpPr>
            <p:spPr bwMode="auto">
              <a:xfrm>
                <a:off x="6314376" y="1068318"/>
                <a:ext cx="132660" cy="3336231"/>
              </a:xfrm>
              <a:prstGeom prst="rect">
                <a:avLst/>
              </a:prstGeom>
              <a:solidFill>
                <a:schemeClr val="bg1"/>
              </a:solid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25" name="Rectangle 124">
                <a:extLst>
                  <a:ext uri="{FF2B5EF4-FFF2-40B4-BE49-F238E27FC236}">
                    <a16:creationId xmlns:a16="http://schemas.microsoft.com/office/drawing/2014/main" id="{253E6396-4014-4DA2-A91D-4CA49A596AE3}"/>
                  </a:ext>
                </a:extLst>
              </p:cNvPr>
              <p:cNvSpPr/>
              <p:nvPr/>
            </p:nvSpPr>
            <p:spPr bwMode="auto">
              <a:xfrm>
                <a:off x="6569770" y="691804"/>
                <a:ext cx="132660" cy="3712745"/>
              </a:xfrm>
              <a:prstGeom prst="rect">
                <a:avLst/>
              </a:prstGeom>
              <a:solidFill>
                <a:schemeClr val="bg1"/>
              </a:solid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26" name="Rectangle 125">
                <a:extLst>
                  <a:ext uri="{FF2B5EF4-FFF2-40B4-BE49-F238E27FC236}">
                    <a16:creationId xmlns:a16="http://schemas.microsoft.com/office/drawing/2014/main" id="{75337F73-1BE6-4926-9572-0227AFB8CF29}"/>
                  </a:ext>
                </a:extLst>
              </p:cNvPr>
              <p:cNvSpPr/>
              <p:nvPr/>
            </p:nvSpPr>
            <p:spPr bwMode="auto">
              <a:xfrm>
                <a:off x="6825164" y="566299"/>
                <a:ext cx="132660" cy="3838250"/>
              </a:xfrm>
              <a:prstGeom prst="rect">
                <a:avLst/>
              </a:prstGeom>
              <a:solidFill>
                <a:schemeClr val="bg1"/>
              </a:solid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27" name="Rectangle 126">
                <a:extLst>
                  <a:ext uri="{FF2B5EF4-FFF2-40B4-BE49-F238E27FC236}">
                    <a16:creationId xmlns:a16="http://schemas.microsoft.com/office/drawing/2014/main" id="{DCB540D6-B8A7-419E-9361-2A3B2A50F689}"/>
                  </a:ext>
                </a:extLst>
              </p:cNvPr>
              <p:cNvSpPr/>
              <p:nvPr/>
            </p:nvSpPr>
            <p:spPr bwMode="auto">
              <a:xfrm>
                <a:off x="7080557" y="3544480"/>
                <a:ext cx="132660" cy="860068"/>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28" name="Rectangle 127">
                <a:extLst>
                  <a:ext uri="{FF2B5EF4-FFF2-40B4-BE49-F238E27FC236}">
                    <a16:creationId xmlns:a16="http://schemas.microsoft.com/office/drawing/2014/main" id="{8FF3E9F0-CEE0-4E2E-A9CA-83D6EF73E520}"/>
                  </a:ext>
                </a:extLst>
              </p:cNvPr>
              <p:cNvSpPr/>
              <p:nvPr/>
            </p:nvSpPr>
            <p:spPr bwMode="auto">
              <a:xfrm>
                <a:off x="7335951" y="3643889"/>
                <a:ext cx="132660" cy="760659"/>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29" name="Rectangle 128">
                <a:extLst>
                  <a:ext uri="{FF2B5EF4-FFF2-40B4-BE49-F238E27FC236}">
                    <a16:creationId xmlns:a16="http://schemas.microsoft.com/office/drawing/2014/main" id="{74678E93-9EB2-4EEB-963C-723883AE64DB}"/>
                  </a:ext>
                </a:extLst>
              </p:cNvPr>
              <p:cNvSpPr/>
              <p:nvPr/>
            </p:nvSpPr>
            <p:spPr bwMode="auto">
              <a:xfrm>
                <a:off x="7591345" y="3720592"/>
                <a:ext cx="132660" cy="683956"/>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30" name="Rectangle 129">
                <a:extLst>
                  <a:ext uri="{FF2B5EF4-FFF2-40B4-BE49-F238E27FC236}">
                    <a16:creationId xmlns:a16="http://schemas.microsoft.com/office/drawing/2014/main" id="{71520104-5C3F-4BD2-8604-604BF73763BC}"/>
                  </a:ext>
                </a:extLst>
              </p:cNvPr>
              <p:cNvSpPr/>
              <p:nvPr/>
            </p:nvSpPr>
            <p:spPr bwMode="auto">
              <a:xfrm>
                <a:off x="7846739" y="3942112"/>
                <a:ext cx="132660" cy="462436"/>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31" name="Rectangle 130">
                <a:extLst>
                  <a:ext uri="{FF2B5EF4-FFF2-40B4-BE49-F238E27FC236}">
                    <a16:creationId xmlns:a16="http://schemas.microsoft.com/office/drawing/2014/main" id="{AF7E9A7E-5C35-4532-901B-DFF6E82FDAC6}"/>
                  </a:ext>
                </a:extLst>
              </p:cNvPr>
              <p:cNvSpPr/>
              <p:nvPr/>
            </p:nvSpPr>
            <p:spPr bwMode="auto">
              <a:xfrm>
                <a:off x="8102132" y="3867325"/>
                <a:ext cx="132660" cy="537223"/>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32" name="Rectangle 131">
                <a:extLst>
                  <a:ext uri="{FF2B5EF4-FFF2-40B4-BE49-F238E27FC236}">
                    <a16:creationId xmlns:a16="http://schemas.microsoft.com/office/drawing/2014/main" id="{D308BAAA-9085-4AF4-97CB-3A8B56EAA424}"/>
                  </a:ext>
                </a:extLst>
              </p:cNvPr>
              <p:cNvSpPr/>
              <p:nvPr/>
            </p:nvSpPr>
            <p:spPr bwMode="auto">
              <a:xfrm>
                <a:off x="8357519" y="3679972"/>
                <a:ext cx="132660" cy="724576"/>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grpSp>
        <p:cxnSp>
          <p:nvCxnSpPr>
            <p:cNvPr id="133" name="Straight Arrow Connector 132">
              <a:extLst>
                <a:ext uri="{FF2B5EF4-FFF2-40B4-BE49-F238E27FC236}">
                  <a16:creationId xmlns:a16="http://schemas.microsoft.com/office/drawing/2014/main" id="{24D67E43-E131-4323-A24F-5B35A68F6A30}"/>
                </a:ext>
              </a:extLst>
            </p:cNvPr>
            <p:cNvCxnSpPr>
              <a:cxnSpLocks/>
            </p:cNvCxnSpPr>
            <p:nvPr/>
          </p:nvCxnSpPr>
          <p:spPr>
            <a:xfrm flipV="1">
              <a:off x="8654272" y="1183263"/>
              <a:ext cx="0" cy="1716536"/>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4" name="Straight Arrow Connector 133">
              <a:extLst>
                <a:ext uri="{FF2B5EF4-FFF2-40B4-BE49-F238E27FC236}">
                  <a16:creationId xmlns:a16="http://schemas.microsoft.com/office/drawing/2014/main" id="{2213C3EB-9EA3-4D59-945F-AFB25E6164BD}"/>
                </a:ext>
              </a:extLst>
            </p:cNvPr>
            <p:cNvCxnSpPr>
              <a:cxnSpLocks/>
            </p:cNvCxnSpPr>
            <p:nvPr/>
          </p:nvCxnSpPr>
          <p:spPr>
            <a:xfrm>
              <a:off x="8659040" y="2899799"/>
              <a:ext cx="3348032"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35" name="Rectangle 134">
              <a:extLst>
                <a:ext uri="{FF2B5EF4-FFF2-40B4-BE49-F238E27FC236}">
                  <a16:creationId xmlns:a16="http://schemas.microsoft.com/office/drawing/2014/main" id="{84E3D607-F363-4B86-BF08-1C2DD8307F2B}"/>
                </a:ext>
              </a:extLst>
            </p:cNvPr>
            <p:cNvSpPr/>
            <p:nvPr/>
          </p:nvSpPr>
          <p:spPr>
            <a:xfrm rot="16200000">
              <a:off x="8005497" y="1923623"/>
              <a:ext cx="946942" cy="254262"/>
            </a:xfrm>
            <a:prstGeom prst="rect">
              <a:avLst/>
            </a:prstGeom>
          </p:spPr>
          <p:txBody>
            <a:bodyPr wrap="none">
              <a:spAutoFit/>
            </a:bodyPr>
            <a:lstStyle/>
            <a:p>
              <a:pPr algn="ctr" defTabSz="914225">
                <a:defRPr/>
              </a:pPr>
              <a:r>
                <a:rPr lang="en-US" sz="1000" b="1" dirty="0">
                  <a:solidFill>
                    <a:srgbClr val="0078D7"/>
                  </a:solidFill>
                  <a:latin typeface="Segoe UI"/>
                </a:rPr>
                <a:t>Query times</a:t>
              </a:r>
            </a:p>
          </p:txBody>
        </p:sp>
        <p:sp>
          <p:nvSpPr>
            <p:cNvPr id="136" name="Rectangle 135">
              <a:extLst>
                <a:ext uri="{FF2B5EF4-FFF2-40B4-BE49-F238E27FC236}">
                  <a16:creationId xmlns:a16="http://schemas.microsoft.com/office/drawing/2014/main" id="{CF6BF073-BE53-466A-8384-183A207D31FF}"/>
                </a:ext>
              </a:extLst>
            </p:cNvPr>
            <p:cNvSpPr/>
            <p:nvPr/>
          </p:nvSpPr>
          <p:spPr>
            <a:xfrm>
              <a:off x="9787922" y="984791"/>
              <a:ext cx="827471" cy="406265"/>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Automatic</a:t>
              </a:r>
            </a:p>
            <a:p>
              <a:pPr algn="ctr" defTabSz="754235">
                <a:defRPr/>
              </a:pPr>
              <a:r>
                <a:rPr lang="en-US" sz="1000" b="1" kern="0" dirty="0">
                  <a:ln>
                    <a:solidFill>
                      <a:srgbClr val="FFFFFF">
                        <a:alpha val="0"/>
                      </a:srgbClr>
                    </a:solidFill>
                  </a:ln>
                  <a:solidFill>
                    <a:srgbClr val="0078D7"/>
                  </a:solidFill>
                  <a:latin typeface="Segoe UI" charset="0"/>
                  <a:cs typeface="Segoe UI" charset="0"/>
                </a:rPr>
                <a:t>Tuning</a:t>
              </a:r>
            </a:p>
          </p:txBody>
        </p:sp>
        <p:sp>
          <p:nvSpPr>
            <p:cNvPr id="137" name="Rectangle 136">
              <a:extLst>
                <a:ext uri="{FF2B5EF4-FFF2-40B4-BE49-F238E27FC236}">
                  <a16:creationId xmlns:a16="http://schemas.microsoft.com/office/drawing/2014/main" id="{3F00FC15-2693-42F3-8011-2481BDE2911E}"/>
                </a:ext>
              </a:extLst>
            </p:cNvPr>
            <p:cNvSpPr/>
            <p:nvPr/>
          </p:nvSpPr>
          <p:spPr>
            <a:xfrm>
              <a:off x="8833561" y="3012030"/>
              <a:ext cx="574182" cy="254262"/>
            </a:xfrm>
            <a:prstGeom prst="rect">
              <a:avLst/>
            </a:prstGeom>
          </p:spPr>
          <p:txBody>
            <a:bodyPr wrap="none">
              <a:spAutoFit/>
            </a:bodyPr>
            <a:lstStyle/>
            <a:p>
              <a:pPr algn="ctr" defTabSz="914225">
                <a:defRPr/>
              </a:pPr>
              <a:r>
                <a:rPr lang="en-US" sz="1000" b="1" dirty="0">
                  <a:solidFill>
                    <a:srgbClr val="D2D2D2">
                      <a:lumMod val="75000"/>
                    </a:srgbClr>
                  </a:solidFill>
                  <a:latin typeface="Segoe UI"/>
                </a:rPr>
                <a:t>Plan 1</a:t>
              </a:r>
            </a:p>
          </p:txBody>
        </p:sp>
        <p:sp>
          <p:nvSpPr>
            <p:cNvPr id="138" name="Rectangle 137">
              <a:extLst>
                <a:ext uri="{FF2B5EF4-FFF2-40B4-BE49-F238E27FC236}">
                  <a16:creationId xmlns:a16="http://schemas.microsoft.com/office/drawing/2014/main" id="{B0DF76E9-045D-4576-94A5-EC01CE7ECFF8}"/>
                </a:ext>
              </a:extLst>
            </p:cNvPr>
            <p:cNvSpPr/>
            <p:nvPr/>
          </p:nvSpPr>
          <p:spPr>
            <a:xfrm>
              <a:off x="9652678" y="2992582"/>
              <a:ext cx="574182" cy="254262"/>
            </a:xfrm>
            <a:prstGeom prst="rect">
              <a:avLst/>
            </a:prstGeom>
          </p:spPr>
          <p:txBody>
            <a:bodyPr wrap="none">
              <a:spAutoFit/>
            </a:bodyPr>
            <a:lstStyle/>
            <a:p>
              <a:pPr algn="ctr" defTabSz="914225">
                <a:defRPr/>
              </a:pPr>
              <a:r>
                <a:rPr lang="en-US" sz="1000" b="1" dirty="0">
                  <a:solidFill>
                    <a:srgbClr val="0078D7"/>
                  </a:solidFill>
                  <a:latin typeface="Segoe UI"/>
                </a:rPr>
                <a:t>Plan 2</a:t>
              </a:r>
            </a:p>
          </p:txBody>
        </p:sp>
        <p:sp>
          <p:nvSpPr>
            <p:cNvPr id="139" name="Rectangle 138">
              <a:extLst>
                <a:ext uri="{FF2B5EF4-FFF2-40B4-BE49-F238E27FC236}">
                  <a16:creationId xmlns:a16="http://schemas.microsoft.com/office/drawing/2014/main" id="{DB2C5B10-84D7-4CF9-9677-DB274F85883A}"/>
                </a:ext>
              </a:extLst>
            </p:cNvPr>
            <p:cNvSpPr/>
            <p:nvPr/>
          </p:nvSpPr>
          <p:spPr>
            <a:xfrm>
              <a:off x="10408694" y="3005790"/>
              <a:ext cx="574182" cy="254262"/>
            </a:xfrm>
            <a:prstGeom prst="rect">
              <a:avLst/>
            </a:prstGeom>
          </p:spPr>
          <p:txBody>
            <a:bodyPr wrap="none">
              <a:spAutoFit/>
            </a:bodyPr>
            <a:lstStyle/>
            <a:p>
              <a:pPr algn="ctr" defTabSz="914225">
                <a:defRPr/>
              </a:pPr>
              <a:r>
                <a:rPr lang="en-US" sz="1000" b="1" dirty="0">
                  <a:solidFill>
                    <a:srgbClr val="D2D2D2">
                      <a:lumMod val="50000"/>
                    </a:srgbClr>
                  </a:solidFill>
                  <a:latin typeface="Segoe UI"/>
                </a:rPr>
                <a:t>Plan 3</a:t>
              </a:r>
            </a:p>
          </p:txBody>
        </p:sp>
        <p:sp>
          <p:nvSpPr>
            <p:cNvPr id="140" name="Rectangle 139">
              <a:extLst>
                <a:ext uri="{FF2B5EF4-FFF2-40B4-BE49-F238E27FC236}">
                  <a16:creationId xmlns:a16="http://schemas.microsoft.com/office/drawing/2014/main" id="{08654A1A-CEF1-426A-8D51-1EF71D0810EE}"/>
                </a:ext>
              </a:extLst>
            </p:cNvPr>
            <p:cNvSpPr/>
            <p:nvPr/>
          </p:nvSpPr>
          <p:spPr>
            <a:xfrm>
              <a:off x="11227811" y="2992582"/>
              <a:ext cx="574182" cy="254262"/>
            </a:xfrm>
            <a:prstGeom prst="rect">
              <a:avLst/>
            </a:prstGeom>
          </p:spPr>
          <p:txBody>
            <a:bodyPr wrap="none">
              <a:spAutoFit/>
            </a:bodyPr>
            <a:lstStyle/>
            <a:p>
              <a:pPr algn="ctr" defTabSz="914225">
                <a:defRPr/>
              </a:pPr>
              <a:r>
                <a:rPr lang="en-US" sz="1000" b="1" dirty="0">
                  <a:solidFill>
                    <a:srgbClr val="0078D7"/>
                  </a:solidFill>
                  <a:latin typeface="Segoe UI"/>
                </a:rPr>
                <a:t>Plan 2</a:t>
              </a:r>
            </a:p>
          </p:txBody>
        </p:sp>
        <p:sp>
          <p:nvSpPr>
            <p:cNvPr id="141" name="Rectangle 140">
              <a:extLst>
                <a:ext uri="{FF2B5EF4-FFF2-40B4-BE49-F238E27FC236}">
                  <a16:creationId xmlns:a16="http://schemas.microsoft.com/office/drawing/2014/main" id="{EE660718-2BBA-402D-9AC0-8E9196981E5E}"/>
                </a:ext>
              </a:extLst>
            </p:cNvPr>
            <p:cNvSpPr/>
            <p:nvPr/>
          </p:nvSpPr>
          <p:spPr>
            <a:xfrm>
              <a:off x="10272891" y="3319797"/>
              <a:ext cx="1099981" cy="586699"/>
            </a:xfrm>
            <a:prstGeom prst="rect">
              <a:avLst/>
            </a:prstGeom>
          </p:spPr>
          <p:txBody>
            <a:bodyPr wrap="none">
              <a:spAutoFit/>
            </a:bodyPr>
            <a:lstStyle/>
            <a:p>
              <a:pPr algn="ctr" defTabSz="914225">
                <a:defRPr/>
              </a:pPr>
              <a:r>
                <a:rPr lang="en-US" sz="1050" b="1" dirty="0">
                  <a:solidFill>
                    <a:srgbClr val="0078D7"/>
                  </a:solidFill>
                  <a:latin typeface="Segoe UI"/>
                </a:rPr>
                <a:t>Revert to </a:t>
              </a:r>
            </a:p>
            <a:p>
              <a:pPr algn="ctr" defTabSz="914225">
                <a:defRPr/>
              </a:pPr>
              <a:r>
                <a:rPr lang="en-US" sz="1050" b="1" dirty="0">
                  <a:solidFill>
                    <a:srgbClr val="0078D7"/>
                  </a:solidFill>
                  <a:latin typeface="Segoe UI"/>
                </a:rPr>
                <a:t>previously</a:t>
              </a:r>
              <a:br>
                <a:rPr lang="en-US" sz="1050" b="1" dirty="0">
                  <a:solidFill>
                    <a:srgbClr val="0078D7"/>
                  </a:solidFill>
                  <a:latin typeface="Segoe UI"/>
                </a:rPr>
              </a:br>
              <a:r>
                <a:rPr lang="en-US" sz="1050" b="1" dirty="0">
                  <a:solidFill>
                    <a:srgbClr val="0078D7"/>
                  </a:solidFill>
                  <a:latin typeface="Segoe UI"/>
                </a:rPr>
                <a:t> effective plan</a:t>
              </a:r>
            </a:p>
          </p:txBody>
        </p:sp>
        <p:sp>
          <p:nvSpPr>
            <p:cNvPr id="142" name="Freeform 4">
              <a:extLst>
                <a:ext uri="{FF2B5EF4-FFF2-40B4-BE49-F238E27FC236}">
                  <a16:creationId xmlns:a16="http://schemas.microsoft.com/office/drawing/2014/main" id="{266358F5-AC11-49BD-925D-920CC96852E7}"/>
                </a:ext>
              </a:extLst>
            </p:cNvPr>
            <p:cNvSpPr/>
            <p:nvPr/>
          </p:nvSpPr>
          <p:spPr bwMode="auto">
            <a:xfrm>
              <a:off x="9950895" y="3340902"/>
              <a:ext cx="453999" cy="190572"/>
            </a:xfrm>
            <a:custGeom>
              <a:avLst/>
              <a:gdLst>
                <a:gd name="connsiteX0" fmla="*/ 0 w 862642"/>
                <a:gd name="connsiteY0" fmla="*/ 0 h 336430"/>
                <a:gd name="connsiteX1" fmla="*/ 0 w 862642"/>
                <a:gd name="connsiteY1" fmla="*/ 336430 h 336430"/>
                <a:gd name="connsiteX2" fmla="*/ 862642 w 862642"/>
                <a:gd name="connsiteY2" fmla="*/ 336430 h 336430"/>
              </a:gdLst>
              <a:ahLst/>
              <a:cxnLst>
                <a:cxn ang="0">
                  <a:pos x="connsiteX0" y="connsiteY0"/>
                </a:cxn>
                <a:cxn ang="0">
                  <a:pos x="connsiteX1" y="connsiteY1"/>
                </a:cxn>
                <a:cxn ang="0">
                  <a:pos x="connsiteX2" y="connsiteY2"/>
                </a:cxn>
              </a:cxnLst>
              <a:rect l="l" t="t" r="r" b="b"/>
              <a:pathLst>
                <a:path w="862642" h="336430">
                  <a:moveTo>
                    <a:pt x="0" y="0"/>
                  </a:moveTo>
                  <a:lnTo>
                    <a:pt x="0" y="336430"/>
                  </a:lnTo>
                  <a:lnTo>
                    <a:pt x="862642" y="336430"/>
                  </a:lnTo>
                </a:path>
              </a:pathLst>
            </a:custGeom>
            <a:noFill/>
            <a:ln w="12700">
              <a:solidFill>
                <a:schemeClr val="tx2"/>
              </a:solidFill>
              <a:prstDash val="sys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800" dirty="0">
                <a:solidFill>
                  <a:srgbClr val="FFFFFF"/>
                </a:solidFill>
                <a:latin typeface="Segoe UI"/>
              </a:endParaRPr>
            </a:p>
          </p:txBody>
        </p:sp>
        <p:sp>
          <p:nvSpPr>
            <p:cNvPr id="143" name="Freeform 61">
              <a:extLst>
                <a:ext uri="{FF2B5EF4-FFF2-40B4-BE49-F238E27FC236}">
                  <a16:creationId xmlns:a16="http://schemas.microsoft.com/office/drawing/2014/main" id="{91901112-C1DF-4E6C-97FB-E8A0F85B1702}"/>
                </a:ext>
              </a:extLst>
            </p:cNvPr>
            <p:cNvSpPr/>
            <p:nvPr/>
          </p:nvSpPr>
          <p:spPr bwMode="auto">
            <a:xfrm flipH="1">
              <a:off x="11228359" y="3200814"/>
              <a:ext cx="257996" cy="325475"/>
            </a:xfrm>
            <a:custGeom>
              <a:avLst/>
              <a:gdLst>
                <a:gd name="connsiteX0" fmla="*/ 0 w 862642"/>
                <a:gd name="connsiteY0" fmla="*/ 0 h 336430"/>
                <a:gd name="connsiteX1" fmla="*/ 0 w 862642"/>
                <a:gd name="connsiteY1" fmla="*/ 336430 h 336430"/>
                <a:gd name="connsiteX2" fmla="*/ 862642 w 862642"/>
                <a:gd name="connsiteY2" fmla="*/ 336430 h 336430"/>
              </a:gdLst>
              <a:ahLst/>
              <a:cxnLst>
                <a:cxn ang="0">
                  <a:pos x="connsiteX0" y="connsiteY0"/>
                </a:cxn>
                <a:cxn ang="0">
                  <a:pos x="connsiteX1" y="connsiteY1"/>
                </a:cxn>
                <a:cxn ang="0">
                  <a:pos x="connsiteX2" y="connsiteY2"/>
                </a:cxn>
              </a:cxnLst>
              <a:rect l="l" t="t" r="r" b="b"/>
              <a:pathLst>
                <a:path w="862642" h="336430">
                  <a:moveTo>
                    <a:pt x="0" y="0"/>
                  </a:moveTo>
                  <a:lnTo>
                    <a:pt x="0" y="336430"/>
                  </a:lnTo>
                  <a:lnTo>
                    <a:pt x="862642" y="336430"/>
                  </a:lnTo>
                </a:path>
              </a:pathLst>
            </a:custGeom>
            <a:noFill/>
            <a:ln w="12700">
              <a:solidFill>
                <a:schemeClr val="tx2"/>
              </a:solidFill>
              <a:prstDash val="sysDash"/>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800" dirty="0">
                <a:solidFill>
                  <a:srgbClr val="FFFFFF"/>
                </a:solidFill>
                <a:latin typeface="Segoe UI"/>
              </a:endParaRPr>
            </a:p>
          </p:txBody>
        </p:sp>
        <p:sp>
          <p:nvSpPr>
            <p:cNvPr id="144" name="Freeform 13">
              <a:extLst>
                <a:ext uri="{FF2B5EF4-FFF2-40B4-BE49-F238E27FC236}">
                  <a16:creationId xmlns:a16="http://schemas.microsoft.com/office/drawing/2014/main" id="{8B407818-B163-4CE5-922E-369FEEFAC91B}"/>
                </a:ext>
              </a:extLst>
            </p:cNvPr>
            <p:cNvSpPr/>
            <p:nvPr/>
          </p:nvSpPr>
          <p:spPr bwMode="auto">
            <a:xfrm rot="10800000">
              <a:off x="9652677" y="3234780"/>
              <a:ext cx="623219" cy="65793"/>
            </a:xfrm>
            <a:custGeom>
              <a:avLst/>
              <a:gdLst>
                <a:gd name="connsiteX0" fmla="*/ 0 w 570640"/>
                <a:gd name="connsiteY0" fmla="*/ 96252 h 103128"/>
                <a:gd name="connsiteX1" fmla="*/ 0 w 570640"/>
                <a:gd name="connsiteY1" fmla="*/ 0 h 103128"/>
                <a:gd name="connsiteX2" fmla="*/ 570640 w 570640"/>
                <a:gd name="connsiteY2" fmla="*/ 0 h 103128"/>
                <a:gd name="connsiteX3" fmla="*/ 570640 w 570640"/>
                <a:gd name="connsiteY3" fmla="*/ 103128 h 103128"/>
              </a:gdLst>
              <a:ahLst/>
              <a:cxnLst>
                <a:cxn ang="0">
                  <a:pos x="connsiteX0" y="connsiteY0"/>
                </a:cxn>
                <a:cxn ang="0">
                  <a:pos x="connsiteX1" y="connsiteY1"/>
                </a:cxn>
                <a:cxn ang="0">
                  <a:pos x="connsiteX2" y="connsiteY2"/>
                </a:cxn>
                <a:cxn ang="0">
                  <a:pos x="connsiteX3" y="connsiteY3"/>
                </a:cxn>
              </a:cxnLst>
              <a:rect l="l" t="t" r="r" b="b"/>
              <a:pathLst>
                <a:path w="570640" h="103128">
                  <a:moveTo>
                    <a:pt x="0" y="96252"/>
                  </a:moveTo>
                  <a:lnTo>
                    <a:pt x="0" y="0"/>
                  </a:lnTo>
                  <a:lnTo>
                    <a:pt x="570640" y="0"/>
                  </a:lnTo>
                  <a:lnTo>
                    <a:pt x="570640" y="103128"/>
                  </a:lnTo>
                </a:path>
              </a:pathLst>
            </a:custGeom>
            <a:noFill/>
            <a:ln w="12700">
              <a:solidFill>
                <a:schemeClr val="tx2"/>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800" dirty="0">
                <a:solidFill>
                  <a:srgbClr val="FFFFFF"/>
                </a:solidFill>
                <a:latin typeface="Segoe UI"/>
              </a:endParaRPr>
            </a:p>
          </p:txBody>
        </p:sp>
      </p:grpSp>
    </p:spTree>
    <p:extLst>
      <p:ext uri="{BB962C8B-B14F-4D97-AF65-F5344CB8AC3E}">
        <p14:creationId xmlns:p14="http://schemas.microsoft.com/office/powerpoint/2010/main" val="40864527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7"/>
                                        </p:tgtEl>
                                        <p:attrNameLst>
                                          <p:attrName>style.visibility</p:attrName>
                                        </p:attrNameLst>
                                      </p:cBhvr>
                                      <p:to>
                                        <p:strVal val="visible"/>
                                      </p:to>
                                    </p:set>
                                    <p:animEffect transition="in" filter="fade">
                                      <p:cBhvr>
                                        <p:cTn id="7" dur="500"/>
                                        <p:tgtEl>
                                          <p:spTgt spid="22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10" presetClass="entr" presetSubtype="0" fill="hold" nodeType="with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31"/>
                                        </p:tgtEl>
                                        <p:attrNameLst>
                                          <p:attrName>style.visibility</p:attrName>
                                        </p:attrNameLst>
                                      </p:cBhvr>
                                      <p:to>
                                        <p:strVal val="visible"/>
                                      </p:to>
                                    </p:set>
                                    <p:animEffect transition="in" filter="fade">
                                      <p:cBhvr>
                                        <p:cTn id="20" dur="500"/>
                                        <p:tgtEl>
                                          <p:spTgt spid="231"/>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229"/>
                                        </p:tgtEl>
                                        <p:attrNameLst>
                                          <p:attrName>style.visibility</p:attrName>
                                        </p:attrNameLst>
                                      </p:cBhvr>
                                      <p:to>
                                        <p:strVal val="visible"/>
                                      </p:to>
                                    </p:set>
                                    <p:animEffect transition="in" filter="fade">
                                      <p:cBhvr>
                                        <p:cTn id="25" dur="500"/>
                                        <p:tgtEl>
                                          <p:spTgt spid="229"/>
                                        </p:tgtEl>
                                      </p:cBhvr>
                                    </p:animEffect>
                                  </p:childTnLst>
                                </p:cTn>
                              </p:par>
                              <p:par>
                                <p:cTn id="26" presetID="10" presetClass="entr" presetSubtype="0" fill="hold" nodeType="withEffect">
                                  <p:stCondLst>
                                    <p:cond delay="0"/>
                                  </p:stCondLst>
                                  <p:childTnLst>
                                    <p:set>
                                      <p:cBhvr>
                                        <p:cTn id="27" dur="1" fill="hold">
                                          <p:stCondLst>
                                            <p:cond delay="0"/>
                                          </p:stCondLst>
                                        </p:cTn>
                                        <p:tgtEl>
                                          <p:spTgt spid="228"/>
                                        </p:tgtEl>
                                        <p:attrNameLst>
                                          <p:attrName>style.visibility</p:attrName>
                                        </p:attrNameLst>
                                      </p:cBhvr>
                                      <p:to>
                                        <p:strVal val="visible"/>
                                      </p:to>
                                    </p:set>
                                    <p:animEffect transition="in" filter="fade">
                                      <p:cBhvr>
                                        <p:cTn id="28" dur="500"/>
                                        <p:tgtEl>
                                          <p:spTgt spid="2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5" y="2534625"/>
            <a:ext cx="6922489" cy="997196"/>
          </a:xfrm>
        </p:spPr>
        <p:txBody>
          <a:bodyPr/>
          <a:lstStyle/>
          <a:p>
            <a:r>
              <a:rPr lang="en-US" dirty="0"/>
              <a:t>Module 8 Activity: The SQL Server Data Hub</a:t>
            </a:r>
          </a:p>
        </p:txBody>
      </p:sp>
      <p:sp>
        <p:nvSpPr>
          <p:cNvPr id="4" name="Text Placeholder 3">
            <a:extLst>
              <a:ext uri="{FF2B5EF4-FFF2-40B4-BE49-F238E27FC236}">
                <a16:creationId xmlns:a16="http://schemas.microsoft.com/office/drawing/2014/main" id="{19845D98-2CE9-45E6-9AA5-7DA5B4AF1C6D}"/>
              </a:ext>
            </a:extLst>
          </p:cNvPr>
          <p:cNvSpPr>
            <a:spLocks noGrp="1"/>
          </p:cNvSpPr>
          <p:nvPr>
            <p:ph type="body" sz="quarter" idx="12"/>
          </p:nvPr>
        </p:nvSpPr>
        <p:spPr>
          <a:xfrm>
            <a:off x="585216" y="3977319"/>
            <a:ext cx="6400800" cy="307777"/>
          </a:xfrm>
        </p:spPr>
        <p:txBody>
          <a:bodyPr/>
          <a:lstStyle/>
          <a:p>
            <a:r>
              <a:rPr lang="en-US" dirty="0"/>
              <a:t>Polybase in SQL Server 2019</a:t>
            </a:r>
          </a:p>
        </p:txBody>
      </p:sp>
    </p:spTree>
    <p:extLst>
      <p:ext uri="{BB962C8B-B14F-4D97-AF65-F5344CB8AC3E}">
        <p14:creationId xmlns:p14="http://schemas.microsoft.com/office/powerpoint/2010/main" val="42549633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414092" y="300093"/>
            <a:ext cx="11018520" cy="553998"/>
          </a:xfrm>
        </p:spPr>
        <p:txBody>
          <a:bodyPr/>
          <a:lstStyle/>
          <a:p>
            <a:r>
              <a:rPr lang="en-US" dirty="0"/>
              <a:t>SQL Server 2019 Big Data Clusters and Polybase</a:t>
            </a:r>
          </a:p>
        </p:txBody>
      </p:sp>
      <p:sp>
        <p:nvSpPr>
          <p:cNvPr id="6" name="Text Placeholder 5"/>
          <p:cNvSpPr>
            <a:spLocks noGrp="1"/>
          </p:cNvSpPr>
          <p:nvPr>
            <p:ph type="body" sz="quarter" idx="10"/>
          </p:nvPr>
        </p:nvSpPr>
        <p:spPr>
          <a:xfrm>
            <a:off x="586740" y="1039705"/>
            <a:ext cx="11483340" cy="2203680"/>
          </a:xfrm>
        </p:spPr>
        <p:txBody>
          <a:bodyPr/>
          <a:lstStyle/>
          <a:p>
            <a:r>
              <a:rPr lang="en-US" b="1" dirty="0"/>
              <a:t>The Problem</a:t>
            </a:r>
          </a:p>
          <a:p>
            <a:pPr marL="457200" indent="-457200">
              <a:buFont typeface="Arial" panose="020B0604020202020204" pitchFamily="34" charset="0"/>
              <a:buChar char="•"/>
            </a:pPr>
            <a:r>
              <a:rPr lang="en-US" sz="2400" dirty="0"/>
              <a:t>Customers want to integrate with Big Data and other data sources easily</a:t>
            </a:r>
          </a:p>
          <a:p>
            <a:pPr marL="457200" indent="-457200">
              <a:buFont typeface="Arial" panose="020B0604020202020204" pitchFamily="34" charset="0"/>
              <a:buChar char="•"/>
            </a:pPr>
            <a:r>
              <a:rPr lang="en-US" sz="2400" dirty="0"/>
              <a:t>Polybase is not simple to setup, configure, maintain, and scale elastically</a:t>
            </a:r>
          </a:p>
          <a:p>
            <a:pPr marL="457200" indent="-457200">
              <a:buFont typeface="Arial" panose="020B0604020202020204" pitchFamily="34" charset="0"/>
              <a:buChar char="•"/>
            </a:pPr>
            <a:r>
              <a:rPr lang="en-US" sz="2400" dirty="0"/>
              <a:t>Customers may not have a Hadoop cluster or want to build one</a:t>
            </a:r>
          </a:p>
          <a:p>
            <a:pPr marL="457200" indent="-457200">
              <a:buFont typeface="Arial" panose="020B0604020202020204" pitchFamily="34" charset="0"/>
              <a:buChar char="•"/>
            </a:pPr>
            <a:r>
              <a:rPr lang="en-US" sz="2400" dirty="0"/>
              <a:t>Polybase “classic” (MapReduce) could be better</a:t>
            </a:r>
          </a:p>
        </p:txBody>
      </p:sp>
      <p:sp>
        <p:nvSpPr>
          <p:cNvPr id="4" name="Text Placeholder 5">
            <a:extLst>
              <a:ext uri="{FF2B5EF4-FFF2-40B4-BE49-F238E27FC236}">
                <a16:creationId xmlns:a16="http://schemas.microsoft.com/office/drawing/2014/main" id="{D64C8EF5-3EB9-4B87-AD96-80AE119ACF34}"/>
              </a:ext>
            </a:extLst>
          </p:cNvPr>
          <p:cNvSpPr txBox="1">
            <a:spLocks/>
          </p:cNvSpPr>
          <p:nvPr/>
        </p:nvSpPr>
        <p:spPr>
          <a:xfrm>
            <a:off x="586740" y="3429000"/>
            <a:ext cx="11018520" cy="309007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t>The Solution</a:t>
            </a:r>
          </a:p>
          <a:p>
            <a:pPr marL="457200" indent="-457200">
              <a:buFont typeface="Wingdings" panose="05000000000000000000" pitchFamily="2" charset="2"/>
              <a:buChar char="ü"/>
            </a:pPr>
            <a:r>
              <a:rPr lang="en-US" sz="2400" dirty="0"/>
              <a:t>Kubernetes and containers to deploy and scale elastically</a:t>
            </a:r>
          </a:p>
          <a:p>
            <a:pPr marL="457200" indent="-457200">
              <a:buFont typeface="Wingdings" panose="05000000000000000000" pitchFamily="2" charset="2"/>
              <a:buChar char="ü"/>
            </a:pPr>
            <a:r>
              <a:rPr lang="en-US" sz="2400" dirty="0"/>
              <a:t>Everything pre-installed including HDFS cluster</a:t>
            </a:r>
          </a:p>
          <a:p>
            <a:pPr marL="457200" indent="-457200">
              <a:buFont typeface="Wingdings" panose="05000000000000000000" pitchFamily="2" charset="2"/>
              <a:buChar char="ü"/>
            </a:pPr>
            <a:r>
              <a:rPr lang="en-US" sz="2400" dirty="0"/>
              <a:t>Build a control plane to help manage and monitor</a:t>
            </a:r>
          </a:p>
          <a:p>
            <a:pPr marL="457200" indent="-457200">
              <a:buFont typeface="Wingdings" panose="05000000000000000000" pitchFamily="2" charset="2"/>
              <a:buChar char="ü"/>
            </a:pPr>
            <a:r>
              <a:rPr lang="en-US" sz="2400" dirty="0"/>
              <a:t>Enhance SQL Server to read from HDFS natively</a:t>
            </a:r>
          </a:p>
          <a:p>
            <a:pPr marL="457200" indent="-457200">
              <a:buFont typeface="Wingdings" panose="05000000000000000000" pitchFamily="2" charset="2"/>
              <a:buChar char="ü"/>
            </a:pPr>
            <a:r>
              <a:rPr lang="en-US" sz="2400" dirty="0"/>
              <a:t>Provide a data mart for cached results</a:t>
            </a:r>
          </a:p>
          <a:p>
            <a:pPr marL="457200" indent="-457200">
              <a:buFont typeface="Wingdings" panose="05000000000000000000" pitchFamily="2" charset="2"/>
              <a:buChar char="ü"/>
            </a:pPr>
            <a:r>
              <a:rPr lang="en-US" sz="2400" dirty="0"/>
              <a:t>Introduce Spark and Notebooks for Data scientists</a:t>
            </a:r>
          </a:p>
        </p:txBody>
      </p:sp>
    </p:spTree>
    <p:extLst>
      <p:ext uri="{BB962C8B-B14F-4D97-AF65-F5344CB8AC3E}">
        <p14:creationId xmlns:p14="http://schemas.microsoft.com/office/powerpoint/2010/main" val="2525588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childTnLst>
                                </p:cTn>
                              </p:par>
                            </p:childTnLst>
                          </p:cTn>
                        </p:par>
                        <p:par>
                          <p:cTn id="10" fill="hold">
                            <p:stCondLst>
                              <p:cond delay="0"/>
                            </p:stCondLst>
                            <p:childTnLst>
                              <p:par>
                                <p:cTn id="11" presetID="1" presetClass="entr" presetSubtype="0" fill="hold" grpId="0" nodeType="after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childTnLst>
                                </p:cTn>
                              </p:par>
                            </p:childTnLst>
                          </p:cTn>
                        </p:par>
                        <p:par>
                          <p:cTn id="13" fill="hold">
                            <p:stCondLst>
                              <p:cond delay="0"/>
                            </p:stCondLst>
                            <p:childTnLst>
                              <p:par>
                                <p:cTn id="14" presetID="1" presetClass="entr" presetSubtype="0" fill="hold" grpId="0" nodeType="afterEffect">
                                  <p:stCondLst>
                                    <p:cond delay="0"/>
                                  </p:stCondLst>
                                  <p:childTnLst>
                                    <p:set>
                                      <p:cBhvr>
                                        <p:cTn id="15" dur="1" fill="hold">
                                          <p:stCondLst>
                                            <p:cond delay="0"/>
                                          </p:stCondLst>
                                        </p:cTn>
                                        <p:tgtEl>
                                          <p:spTgt spid="6">
                                            <p:txEl>
                                              <p:pRg st="3" end="3"/>
                                            </p:txEl>
                                          </p:spTgt>
                                        </p:tgtEl>
                                        <p:attrNameLst>
                                          <p:attrName>style.visibility</p:attrName>
                                        </p:attrNameLst>
                                      </p:cBhvr>
                                      <p:to>
                                        <p:strVal val="visible"/>
                                      </p:to>
                                    </p:set>
                                  </p:childTnLst>
                                </p:cTn>
                              </p:par>
                            </p:childTnLst>
                          </p:cTn>
                        </p:par>
                        <p:par>
                          <p:cTn id="16" fill="hold">
                            <p:stCondLst>
                              <p:cond delay="0"/>
                            </p:stCondLst>
                            <p:childTnLst>
                              <p:par>
                                <p:cTn id="17" presetID="1" presetClass="entr" presetSubtype="0" fill="hold" grpId="0" nodeType="afterEffect">
                                  <p:stCondLst>
                                    <p:cond delay="0"/>
                                  </p:stCondLst>
                                  <p:childTnLst>
                                    <p:set>
                                      <p:cBhvr>
                                        <p:cTn id="18"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P spid="4" grpId="0"/>
    </p:bldLst>
  </p:timing>
</p:sld>
</file>

<file path=ppt/slides/slide7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A5CF3B-983E-CA45-AB7C-45DFEE004F70}"/>
              </a:ext>
            </a:extLst>
          </p:cNvPr>
          <p:cNvSpPr>
            <a:spLocks noGrp="1"/>
          </p:cNvSpPr>
          <p:nvPr>
            <p:ph type="title"/>
          </p:nvPr>
        </p:nvSpPr>
        <p:spPr/>
        <p:txBody>
          <a:bodyPr/>
          <a:lstStyle/>
          <a:p>
            <a:r>
              <a:rPr lang="en-US" dirty="0"/>
              <a:t>SQL Server 2019 Big Data Cluster Scenarios</a:t>
            </a:r>
          </a:p>
        </p:txBody>
      </p:sp>
      <p:cxnSp>
        <p:nvCxnSpPr>
          <p:cNvPr id="29" name="Straight Connector 28">
            <a:extLst>
              <a:ext uri="{FF2B5EF4-FFF2-40B4-BE49-F238E27FC236}">
                <a16:creationId xmlns:a16="http://schemas.microsoft.com/office/drawing/2014/main" id="{58F4F72E-B980-854B-A820-9577646DB1C1}"/>
              </a:ext>
            </a:extLst>
          </p:cNvPr>
          <p:cNvCxnSpPr/>
          <p:nvPr/>
        </p:nvCxnSpPr>
        <p:spPr>
          <a:xfrm>
            <a:off x="4051880" y="1501428"/>
            <a:ext cx="0" cy="4937760"/>
          </a:xfrm>
          <a:prstGeom prst="line">
            <a:avLst/>
          </a:prstGeom>
          <a:ln w="9525">
            <a:solidFill>
              <a:schemeClr val="bg1">
                <a:lumMod val="7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24" name="Straight Connector 323">
            <a:extLst>
              <a:ext uri="{FF2B5EF4-FFF2-40B4-BE49-F238E27FC236}">
                <a16:creationId xmlns:a16="http://schemas.microsoft.com/office/drawing/2014/main" id="{16CA4950-4665-DE48-8042-8F244BF1BA4B}"/>
              </a:ext>
            </a:extLst>
          </p:cNvPr>
          <p:cNvCxnSpPr/>
          <p:nvPr/>
        </p:nvCxnSpPr>
        <p:spPr>
          <a:xfrm>
            <a:off x="8142440" y="1501428"/>
            <a:ext cx="0" cy="4937760"/>
          </a:xfrm>
          <a:prstGeom prst="line">
            <a:avLst/>
          </a:prstGeom>
          <a:ln w="9525">
            <a:solidFill>
              <a:schemeClr val="bg1">
                <a:lumMod val="7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21EF42A5-D378-43D0-B1E1-B3CC8DA47BE2}"/>
              </a:ext>
            </a:extLst>
          </p:cNvPr>
          <p:cNvSpPr txBox="1"/>
          <p:nvPr/>
        </p:nvSpPr>
        <p:spPr>
          <a:xfrm>
            <a:off x="4573524" y="1559089"/>
            <a:ext cx="3044952" cy="58477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7D7"/>
                </a:solidFill>
                <a:effectLst/>
                <a:uLnTx/>
                <a:uFillTx/>
                <a:latin typeface="Segoe UI Semibold" panose="020B0502040204020203" pitchFamily="34" charset="0"/>
                <a:ea typeface="+mn-ea"/>
                <a:cs typeface="Segoe UI Semibold" panose="020B0502040204020203" pitchFamily="34" charset="0"/>
              </a:rPr>
              <a:t>Managed SQL Server, Spark, and data lake</a:t>
            </a:r>
          </a:p>
        </p:txBody>
      </p:sp>
      <p:sp>
        <p:nvSpPr>
          <p:cNvPr id="111" name="TextBox 110">
            <a:extLst>
              <a:ext uri="{FF2B5EF4-FFF2-40B4-BE49-F238E27FC236}">
                <a16:creationId xmlns:a16="http://schemas.microsoft.com/office/drawing/2014/main" id="{FD671B07-54DB-9048-BC27-1DC9D311CAA2}"/>
              </a:ext>
            </a:extLst>
          </p:cNvPr>
          <p:cNvSpPr txBox="1"/>
          <p:nvPr/>
        </p:nvSpPr>
        <p:spPr>
          <a:xfrm>
            <a:off x="4359800" y="5356532"/>
            <a:ext cx="3474720" cy="90794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Store high volume data in a data lake and access it easily using either SQL or Spark</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Management services, admin portal, and integrated security make it all easy to manage</a:t>
            </a:r>
          </a:p>
        </p:txBody>
      </p:sp>
      <p:sp>
        <p:nvSpPr>
          <p:cNvPr id="188" name="Rectangle 187">
            <a:extLst>
              <a:ext uri="{FF2B5EF4-FFF2-40B4-BE49-F238E27FC236}">
                <a16:creationId xmlns:a16="http://schemas.microsoft.com/office/drawing/2014/main" id="{D603C2D0-6400-C448-BA15-49D0AD68433C}"/>
              </a:ext>
            </a:extLst>
          </p:cNvPr>
          <p:cNvSpPr/>
          <p:nvPr/>
        </p:nvSpPr>
        <p:spPr>
          <a:xfrm>
            <a:off x="4942392" y="3438915"/>
            <a:ext cx="833342" cy="480131"/>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QL Server </a:t>
            </a:r>
          </a:p>
        </p:txBody>
      </p:sp>
      <p:sp>
        <p:nvSpPr>
          <p:cNvPr id="24" name="TextBox 23">
            <a:extLst>
              <a:ext uri="{FF2B5EF4-FFF2-40B4-BE49-F238E27FC236}">
                <a16:creationId xmlns:a16="http://schemas.microsoft.com/office/drawing/2014/main" id="{44565CAF-231F-49AB-9EC9-739AB973B4EB}"/>
              </a:ext>
            </a:extLst>
          </p:cNvPr>
          <p:cNvSpPr txBox="1"/>
          <p:nvPr/>
        </p:nvSpPr>
        <p:spPr>
          <a:xfrm>
            <a:off x="689017" y="1559089"/>
            <a:ext cx="3044952"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7D7"/>
                </a:solidFill>
                <a:effectLst/>
                <a:uLnTx/>
                <a:uFillTx/>
                <a:latin typeface="Segoe UI Semibold" panose="020B0502040204020203" pitchFamily="34" charset="0"/>
                <a:ea typeface="+mn-ea"/>
                <a:cs typeface="Segoe UI Semibold" panose="020B0502040204020203" pitchFamily="34" charset="0"/>
              </a:rPr>
              <a:t>Data virtualization</a:t>
            </a:r>
          </a:p>
        </p:txBody>
      </p:sp>
      <p:sp>
        <p:nvSpPr>
          <p:cNvPr id="69" name="TextBox 68">
            <a:extLst>
              <a:ext uri="{FF2B5EF4-FFF2-40B4-BE49-F238E27FC236}">
                <a16:creationId xmlns:a16="http://schemas.microsoft.com/office/drawing/2014/main" id="{909EA6A2-FB82-EA49-99C0-0AE167BE263F}"/>
              </a:ext>
            </a:extLst>
          </p:cNvPr>
          <p:cNvSpPr txBox="1"/>
          <p:nvPr/>
        </p:nvSpPr>
        <p:spPr>
          <a:xfrm>
            <a:off x="269240" y="5356532"/>
            <a:ext cx="3474720" cy="907941"/>
          </a:xfrm>
          <a:prstGeom prst="rect">
            <a:avLst/>
          </a:prstGeom>
          <a:noFill/>
        </p:spPr>
        <p:txBody>
          <a:bodyPr wrap="square" rtlCol="0" anchor="t">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EAEAEA">
                    <a:lumMod val="10000"/>
                  </a:srgbClr>
                </a:solidFill>
                <a:effectLst/>
                <a:uLnTx/>
                <a:uFillTx/>
                <a:latin typeface="Segoe UI" panose="020B0502040204020203" pitchFamily="34" charset="0"/>
                <a:ea typeface="+mn-ea"/>
                <a:cs typeface="Segoe UI" panose="020B0502040204020203" pitchFamily="34" charset="0"/>
              </a:rPr>
              <a:t>Combine data from many sources without moving or replicating it</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EAEAEA">
                    <a:lumMod val="10000"/>
                  </a:srgbClr>
                </a:solidFill>
                <a:effectLst/>
                <a:uLnTx/>
                <a:uFillTx/>
                <a:latin typeface="Segoe UI" panose="020B0502040204020203" pitchFamily="34" charset="0"/>
                <a:ea typeface="+mn-ea"/>
                <a:cs typeface="Segoe UI" panose="020B0502040204020203" pitchFamily="34" charset="0"/>
              </a:rPr>
              <a:t>Scale out compute and caching to boost performance</a:t>
            </a:r>
          </a:p>
        </p:txBody>
      </p:sp>
      <p:sp>
        <p:nvSpPr>
          <p:cNvPr id="137" name="TextBox 136">
            <a:extLst>
              <a:ext uri="{FF2B5EF4-FFF2-40B4-BE49-F238E27FC236}">
                <a16:creationId xmlns:a16="http://schemas.microsoft.com/office/drawing/2014/main" id="{996E2F63-C1CF-3247-A85C-66F26332A0D0}"/>
              </a:ext>
            </a:extLst>
          </p:cNvPr>
          <p:cNvSpPr txBox="1"/>
          <p:nvPr/>
        </p:nvSpPr>
        <p:spPr>
          <a:xfrm>
            <a:off x="1890237" y="2864692"/>
            <a:ext cx="642514" cy="261610"/>
          </a:xfrm>
          <a:prstGeom prst="rect">
            <a:avLst/>
          </a:prstGeom>
          <a:noFill/>
          <a:ln>
            <a:noFill/>
          </a:ln>
        </p:spPr>
        <p:txBody>
          <a:bodyPr wrap="square" bIns="45720" rtlCol="0">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1000" u="none" strike="noStrike" cap="none" spc="0" normalizeH="0" baseline="0">
                <a:ln>
                  <a:noFill/>
                </a:ln>
                <a:solidFill>
                  <a:srgbClr val="000000"/>
                </a:solidFill>
                <a:effectLst/>
                <a:uLnTx/>
                <a:uFillTx/>
                <a:latin typeface="Segoe UI" panose="020B0502040204020203" pitchFamily="34" charset="0"/>
                <a:cs typeface="Segoe UI" panose="020B0502040204020203"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T-SQL</a:t>
            </a:r>
          </a:p>
        </p:txBody>
      </p:sp>
      <p:sp>
        <p:nvSpPr>
          <p:cNvPr id="138" name="TextBox 137">
            <a:extLst>
              <a:ext uri="{FF2B5EF4-FFF2-40B4-BE49-F238E27FC236}">
                <a16:creationId xmlns:a16="http://schemas.microsoft.com/office/drawing/2014/main" id="{D8B24D6B-F35C-0C46-87C9-D7D42C27894E}"/>
              </a:ext>
            </a:extLst>
          </p:cNvPr>
          <p:cNvSpPr txBox="1"/>
          <p:nvPr/>
        </p:nvSpPr>
        <p:spPr>
          <a:xfrm>
            <a:off x="917787" y="2783437"/>
            <a:ext cx="777240" cy="261610"/>
          </a:xfrm>
          <a:prstGeom prst="rect">
            <a:avLst/>
          </a:prstGeom>
          <a:noFill/>
          <a:ln>
            <a:noFill/>
          </a:ln>
        </p:spPr>
        <p:txBody>
          <a:bodyPr wrap="square" lIns="91440" tIns="45720" rIns="91440" bIns="45720" rtlCol="0">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1000" u="none" strike="noStrike" cap="none" spc="0" normalizeH="0" baseline="0">
                <a:ln>
                  <a:noFill/>
                </a:ln>
                <a:solidFill>
                  <a:srgbClr val="000000"/>
                </a:solidFill>
                <a:effectLst/>
                <a:uLnTx/>
                <a:uFillTx/>
                <a:latin typeface="Segoe UI" panose="020B0502040204020203" pitchFamily="34" charset="0"/>
                <a:cs typeface="Segoe UI" panose="020B0502040204020203"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Analytics</a:t>
            </a:r>
          </a:p>
        </p:txBody>
      </p:sp>
      <p:sp>
        <p:nvSpPr>
          <p:cNvPr id="139" name="TextBox 138">
            <a:extLst>
              <a:ext uri="{FF2B5EF4-FFF2-40B4-BE49-F238E27FC236}">
                <a16:creationId xmlns:a16="http://schemas.microsoft.com/office/drawing/2014/main" id="{7E448BC4-AE39-7F42-9EFA-989CFA41489E}"/>
              </a:ext>
            </a:extLst>
          </p:cNvPr>
          <p:cNvSpPr txBox="1"/>
          <p:nvPr/>
        </p:nvSpPr>
        <p:spPr>
          <a:xfrm>
            <a:off x="2727961" y="2783437"/>
            <a:ext cx="777240" cy="261610"/>
          </a:xfrm>
          <a:prstGeom prst="rect">
            <a:avLst/>
          </a:prstGeom>
          <a:noFill/>
          <a:ln>
            <a:noFill/>
          </a:ln>
        </p:spPr>
        <p:txBody>
          <a:bodyPr wrap="square" lIns="91440" tIns="45720" rIns="91440" bIns="45720" rtlCol="0">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1000" u="none" strike="noStrike" cap="none" spc="0" normalizeH="0" baseline="0">
                <a:ln>
                  <a:noFill/>
                </a:ln>
                <a:solidFill>
                  <a:srgbClr val="000000"/>
                </a:solidFill>
                <a:effectLst/>
                <a:uLnTx/>
                <a:uFillTx/>
                <a:latin typeface="Segoe UI" panose="020B0502040204020203" pitchFamily="34" charset="0"/>
                <a:cs typeface="Segoe UI" panose="020B0502040204020203"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Apps</a:t>
            </a:r>
          </a:p>
        </p:txBody>
      </p:sp>
      <p:sp>
        <p:nvSpPr>
          <p:cNvPr id="140" name="TextBox 139">
            <a:extLst>
              <a:ext uri="{FF2B5EF4-FFF2-40B4-BE49-F238E27FC236}">
                <a16:creationId xmlns:a16="http://schemas.microsoft.com/office/drawing/2014/main" id="{450E5ADC-AF69-E249-843C-3953655DD238}"/>
              </a:ext>
            </a:extLst>
          </p:cNvPr>
          <p:cNvSpPr txBox="1"/>
          <p:nvPr/>
        </p:nvSpPr>
        <p:spPr>
          <a:xfrm>
            <a:off x="626685" y="4665096"/>
            <a:ext cx="859066" cy="507831"/>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1200" b="1" u="none" strike="noStrike" cap="none" spc="0" normalizeH="0" baseline="0">
                <a:ln>
                  <a:noFill/>
                </a:ln>
                <a:solidFill>
                  <a:schemeClr val="bg1"/>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Open database connectivity</a:t>
            </a:r>
          </a:p>
        </p:txBody>
      </p:sp>
      <p:sp>
        <p:nvSpPr>
          <p:cNvPr id="141" name="TextBox 140">
            <a:extLst>
              <a:ext uri="{FF2B5EF4-FFF2-40B4-BE49-F238E27FC236}">
                <a16:creationId xmlns:a16="http://schemas.microsoft.com/office/drawing/2014/main" id="{F1B1CD1D-05A2-B94E-A7E8-687ABEE8DB37}"/>
              </a:ext>
            </a:extLst>
          </p:cNvPr>
          <p:cNvSpPr txBox="1"/>
          <p:nvPr/>
        </p:nvSpPr>
        <p:spPr>
          <a:xfrm>
            <a:off x="1389664" y="4665096"/>
            <a:ext cx="859066" cy="2308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u="none" strike="noStrike" cap="none" spc="0" normalizeH="0" baseline="0">
                <a:ln>
                  <a:noFill/>
                </a:ln>
                <a:solidFill>
                  <a:schemeClr val="bg1"/>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NoSQL</a:t>
            </a:r>
          </a:p>
        </p:txBody>
      </p:sp>
      <p:sp>
        <p:nvSpPr>
          <p:cNvPr id="142" name="TextBox 141">
            <a:extLst>
              <a:ext uri="{FF2B5EF4-FFF2-40B4-BE49-F238E27FC236}">
                <a16:creationId xmlns:a16="http://schemas.microsoft.com/office/drawing/2014/main" id="{0A9C9BEE-EAEE-1F40-86C6-EA6C67267265}"/>
              </a:ext>
            </a:extLst>
          </p:cNvPr>
          <p:cNvSpPr txBox="1"/>
          <p:nvPr/>
        </p:nvSpPr>
        <p:spPr>
          <a:xfrm>
            <a:off x="2152643" y="4665096"/>
            <a:ext cx="859066" cy="3693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1200" b="1" u="none" strike="noStrike" cap="none" spc="0" normalizeH="0" baseline="0">
                <a:ln>
                  <a:noFill/>
                </a:ln>
                <a:solidFill>
                  <a:schemeClr val="bg1"/>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Relational databases</a:t>
            </a:r>
          </a:p>
        </p:txBody>
      </p:sp>
      <p:sp>
        <p:nvSpPr>
          <p:cNvPr id="144" name="TextBox 143">
            <a:extLst>
              <a:ext uri="{FF2B5EF4-FFF2-40B4-BE49-F238E27FC236}">
                <a16:creationId xmlns:a16="http://schemas.microsoft.com/office/drawing/2014/main" id="{C7B49734-72A9-0F4D-8A09-F5FA3A4686A0}"/>
              </a:ext>
            </a:extLst>
          </p:cNvPr>
          <p:cNvSpPr txBox="1"/>
          <p:nvPr/>
        </p:nvSpPr>
        <p:spPr>
          <a:xfrm>
            <a:off x="2915621" y="4665096"/>
            <a:ext cx="859066" cy="2308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u="none" strike="noStrike" cap="none" spc="0" normalizeH="0" baseline="0">
                <a:ln>
                  <a:noFill/>
                </a:ln>
                <a:solidFill>
                  <a:schemeClr val="bg1"/>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HDFS</a:t>
            </a:r>
          </a:p>
        </p:txBody>
      </p:sp>
      <p:grpSp>
        <p:nvGrpSpPr>
          <p:cNvPr id="295" name="Group 294">
            <a:extLst>
              <a:ext uri="{FF2B5EF4-FFF2-40B4-BE49-F238E27FC236}">
                <a16:creationId xmlns:a16="http://schemas.microsoft.com/office/drawing/2014/main" id="{6E9AE9D5-EADA-E045-A81D-96DCFCA54440}"/>
              </a:ext>
            </a:extLst>
          </p:cNvPr>
          <p:cNvGrpSpPr/>
          <p:nvPr/>
        </p:nvGrpSpPr>
        <p:grpSpPr>
          <a:xfrm flipH="1">
            <a:off x="2917870" y="2360371"/>
            <a:ext cx="397423" cy="398542"/>
            <a:chOff x="4825203" y="4636641"/>
            <a:chExt cx="484632" cy="485997"/>
          </a:xfrm>
          <a:noFill/>
        </p:grpSpPr>
        <p:grpSp>
          <p:nvGrpSpPr>
            <p:cNvPr id="300" name="Group 299">
              <a:extLst>
                <a:ext uri="{FF2B5EF4-FFF2-40B4-BE49-F238E27FC236}">
                  <a16:creationId xmlns:a16="http://schemas.microsoft.com/office/drawing/2014/main" id="{64C5395F-97F6-4945-BFC3-E13F14A47655}"/>
                </a:ext>
              </a:extLst>
            </p:cNvPr>
            <p:cNvGrpSpPr/>
            <p:nvPr/>
          </p:nvGrpSpPr>
          <p:grpSpPr>
            <a:xfrm>
              <a:off x="4825203" y="4636641"/>
              <a:ext cx="484632" cy="485997"/>
              <a:chOff x="2107244" y="1575258"/>
              <a:chExt cx="310993" cy="264555"/>
            </a:xfrm>
            <a:grpFill/>
          </p:grpSpPr>
          <p:sp>
            <p:nvSpPr>
              <p:cNvPr id="302" name="Rectangle 9">
                <a:extLst>
                  <a:ext uri="{FF2B5EF4-FFF2-40B4-BE49-F238E27FC236}">
                    <a16:creationId xmlns:a16="http://schemas.microsoft.com/office/drawing/2014/main" id="{36F5E504-BA0C-C84E-B327-B28B55AFE4B9}"/>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303" name="Line 10">
                <a:extLst>
                  <a:ext uri="{FF2B5EF4-FFF2-40B4-BE49-F238E27FC236}">
                    <a16:creationId xmlns:a16="http://schemas.microsoft.com/office/drawing/2014/main" id="{175060C1-818F-DA45-B77F-78025741975B}"/>
                  </a:ext>
                </a:extLst>
              </p:cNvPr>
              <p:cNvSpPr>
                <a:spLocks noChangeShapeType="1"/>
              </p:cNvSpPr>
              <p:nvPr/>
            </p:nvSpPr>
            <p:spPr bwMode="auto">
              <a:xfrm flipH="1">
                <a:off x="2107244" y="1651824"/>
                <a:ext cx="310993" cy="0"/>
              </a:xfrm>
              <a:prstGeom prst="line">
                <a:avLst/>
              </a:prstGeom>
              <a:grpFill/>
              <a:ln w="1905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301" name="Oval 300">
              <a:extLst>
                <a:ext uri="{FF2B5EF4-FFF2-40B4-BE49-F238E27FC236}">
                  <a16:creationId xmlns:a16="http://schemas.microsoft.com/office/drawing/2014/main" id="{A7BE8F3F-292D-A741-AF08-E1A07574D69E}"/>
                </a:ext>
              </a:extLst>
            </p:cNvPr>
            <p:cNvSpPr/>
            <p:nvPr/>
          </p:nvSpPr>
          <p:spPr bwMode="auto">
            <a:xfrm>
              <a:off x="4865134" y="4679796"/>
              <a:ext cx="45089" cy="45089"/>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cxnSp>
        <p:nvCxnSpPr>
          <p:cNvPr id="305" name="Straight Arrow Connector 304">
            <a:extLst>
              <a:ext uri="{FF2B5EF4-FFF2-40B4-BE49-F238E27FC236}">
                <a16:creationId xmlns:a16="http://schemas.microsoft.com/office/drawing/2014/main" id="{93870123-062F-0642-AB6D-B500986F3587}"/>
              </a:ext>
            </a:extLst>
          </p:cNvPr>
          <p:cNvCxnSpPr>
            <a:cxnSpLocks/>
            <a:endCxn id="137" idx="0"/>
          </p:cNvCxnSpPr>
          <p:nvPr/>
        </p:nvCxnSpPr>
        <p:spPr>
          <a:xfrm>
            <a:off x="2211494" y="2631588"/>
            <a:ext cx="0" cy="233104"/>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6" name="Straight Arrow Connector 305">
            <a:extLst>
              <a:ext uri="{FF2B5EF4-FFF2-40B4-BE49-F238E27FC236}">
                <a16:creationId xmlns:a16="http://schemas.microsoft.com/office/drawing/2014/main" id="{B5413457-F720-E640-8F1A-72821A5E2A90}"/>
              </a:ext>
            </a:extLst>
          </p:cNvPr>
          <p:cNvCxnSpPr>
            <a:cxnSpLocks/>
          </p:cNvCxnSpPr>
          <p:nvPr/>
        </p:nvCxnSpPr>
        <p:spPr>
          <a:xfrm>
            <a:off x="2211494" y="3141329"/>
            <a:ext cx="0" cy="201806"/>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7" name="Straight Arrow Connector 306">
            <a:extLst>
              <a:ext uri="{FF2B5EF4-FFF2-40B4-BE49-F238E27FC236}">
                <a16:creationId xmlns:a16="http://schemas.microsoft.com/office/drawing/2014/main" id="{8247F14E-3335-5147-B519-467EB4EADAF9}"/>
              </a:ext>
            </a:extLst>
          </p:cNvPr>
          <p:cNvCxnSpPr>
            <a:cxnSpLocks/>
          </p:cNvCxnSpPr>
          <p:nvPr/>
        </p:nvCxnSpPr>
        <p:spPr>
          <a:xfrm>
            <a:off x="1821872" y="4455272"/>
            <a:ext cx="0" cy="207360"/>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9" name="Straight Arrow Connector 308">
            <a:extLst>
              <a:ext uri="{FF2B5EF4-FFF2-40B4-BE49-F238E27FC236}">
                <a16:creationId xmlns:a16="http://schemas.microsoft.com/office/drawing/2014/main" id="{FA972875-1631-2F4A-A06E-BCAD1DB4FFFC}"/>
              </a:ext>
            </a:extLst>
          </p:cNvPr>
          <p:cNvCxnSpPr>
            <a:cxnSpLocks/>
          </p:cNvCxnSpPr>
          <p:nvPr/>
        </p:nvCxnSpPr>
        <p:spPr>
          <a:xfrm>
            <a:off x="1059872" y="4455272"/>
            <a:ext cx="0" cy="207360"/>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0" name="Straight Arrow Connector 309">
            <a:extLst>
              <a:ext uri="{FF2B5EF4-FFF2-40B4-BE49-F238E27FC236}">
                <a16:creationId xmlns:a16="http://schemas.microsoft.com/office/drawing/2014/main" id="{EAE87EA8-AC50-FD45-A656-D7A9B1E3FCC0}"/>
              </a:ext>
            </a:extLst>
          </p:cNvPr>
          <p:cNvCxnSpPr>
            <a:cxnSpLocks/>
          </p:cNvCxnSpPr>
          <p:nvPr/>
        </p:nvCxnSpPr>
        <p:spPr>
          <a:xfrm>
            <a:off x="2583872" y="4455272"/>
            <a:ext cx="0" cy="207360"/>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1" name="Straight Arrow Connector 310">
            <a:extLst>
              <a:ext uri="{FF2B5EF4-FFF2-40B4-BE49-F238E27FC236}">
                <a16:creationId xmlns:a16="http://schemas.microsoft.com/office/drawing/2014/main" id="{5EB09142-47A6-5745-B514-8EDD58EEF510}"/>
              </a:ext>
            </a:extLst>
          </p:cNvPr>
          <p:cNvCxnSpPr>
            <a:cxnSpLocks/>
          </p:cNvCxnSpPr>
          <p:nvPr/>
        </p:nvCxnSpPr>
        <p:spPr>
          <a:xfrm>
            <a:off x="3345872" y="4455272"/>
            <a:ext cx="0" cy="207360"/>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7D2F3FF-DE8B-214E-9A0D-D6163369EAB8}"/>
              </a:ext>
            </a:extLst>
          </p:cNvPr>
          <p:cNvCxnSpPr/>
          <p:nvPr/>
        </p:nvCxnSpPr>
        <p:spPr>
          <a:xfrm>
            <a:off x="1660235" y="2631588"/>
            <a:ext cx="1102519" cy="0"/>
          </a:xfrm>
          <a:prstGeom prst="line">
            <a:avLst/>
          </a:prstGeom>
          <a:ln w="12700">
            <a:solidFill>
              <a:srgbClr val="757575"/>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418F3074-2783-44AA-8129-75B4CD73902D}"/>
              </a:ext>
            </a:extLst>
          </p:cNvPr>
          <p:cNvSpPr txBox="1"/>
          <p:nvPr/>
        </p:nvSpPr>
        <p:spPr>
          <a:xfrm>
            <a:off x="8458029" y="1559089"/>
            <a:ext cx="3044952"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7D7"/>
                </a:solidFill>
                <a:effectLst/>
                <a:uLnTx/>
                <a:uFillTx/>
                <a:latin typeface="Segoe UI Semibold" panose="020B0502040204020203" pitchFamily="34" charset="0"/>
                <a:ea typeface="+mn-ea"/>
                <a:cs typeface="Segoe UI Semibold" panose="020B0502040204020203" pitchFamily="34" charset="0"/>
              </a:rPr>
              <a:t>Complete AI platform</a:t>
            </a:r>
          </a:p>
        </p:txBody>
      </p:sp>
      <p:sp>
        <p:nvSpPr>
          <p:cNvPr id="109" name="TextBox 108">
            <a:extLst>
              <a:ext uri="{FF2B5EF4-FFF2-40B4-BE49-F238E27FC236}">
                <a16:creationId xmlns:a16="http://schemas.microsoft.com/office/drawing/2014/main" id="{251249E7-7D8E-3C48-B996-0327CD81F572}"/>
              </a:ext>
            </a:extLst>
          </p:cNvPr>
          <p:cNvSpPr txBox="1"/>
          <p:nvPr/>
        </p:nvSpPr>
        <p:spPr>
          <a:xfrm>
            <a:off x="8450360" y="5356532"/>
            <a:ext cx="3474720" cy="90794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Easily feed integrated data from many sources to your model training</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Ingest and prep data and then train, store, and operationalize your models all in one system</a:t>
            </a:r>
          </a:p>
        </p:txBody>
      </p:sp>
      <p:sp>
        <p:nvSpPr>
          <p:cNvPr id="66" name="Rectangle 65">
            <a:extLst>
              <a:ext uri="{FF2B5EF4-FFF2-40B4-BE49-F238E27FC236}">
                <a16:creationId xmlns:a16="http://schemas.microsoft.com/office/drawing/2014/main" id="{CD320337-C872-4AD2-A028-A34158B3C172}"/>
              </a:ext>
            </a:extLst>
          </p:cNvPr>
          <p:cNvSpPr/>
          <p:nvPr/>
        </p:nvSpPr>
        <p:spPr>
          <a:xfrm>
            <a:off x="917787" y="3394420"/>
            <a:ext cx="2587414" cy="332399"/>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QL Server External Tables</a:t>
            </a:r>
          </a:p>
        </p:txBody>
      </p:sp>
      <p:sp>
        <p:nvSpPr>
          <p:cNvPr id="67" name="Rectangle 66">
            <a:extLst>
              <a:ext uri="{FF2B5EF4-FFF2-40B4-BE49-F238E27FC236}">
                <a16:creationId xmlns:a16="http://schemas.microsoft.com/office/drawing/2014/main" id="{2D2C836D-6E37-4B3B-8028-29B2CFDFEF3A}"/>
              </a:ext>
            </a:extLst>
          </p:cNvPr>
          <p:cNvSpPr/>
          <p:nvPr/>
        </p:nvSpPr>
        <p:spPr>
          <a:xfrm>
            <a:off x="915072" y="4056307"/>
            <a:ext cx="2592842" cy="332399"/>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Compute pools and data pools</a:t>
            </a:r>
          </a:p>
        </p:txBody>
      </p:sp>
      <p:sp>
        <p:nvSpPr>
          <p:cNvPr id="369" name="Rectangle 368">
            <a:extLst>
              <a:ext uri="{FF2B5EF4-FFF2-40B4-BE49-F238E27FC236}">
                <a16:creationId xmlns:a16="http://schemas.microsoft.com/office/drawing/2014/main" id="{57DDC20E-1636-4206-B46E-A3C8F447D7D5}"/>
              </a:ext>
            </a:extLst>
          </p:cNvPr>
          <p:cNvSpPr/>
          <p:nvPr/>
        </p:nvSpPr>
        <p:spPr>
          <a:xfrm>
            <a:off x="6451918" y="3434414"/>
            <a:ext cx="833342" cy="484632"/>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park </a:t>
            </a:r>
          </a:p>
        </p:txBody>
      </p:sp>
      <p:sp>
        <p:nvSpPr>
          <p:cNvPr id="373" name="Rectangle 372">
            <a:extLst>
              <a:ext uri="{FF2B5EF4-FFF2-40B4-BE49-F238E27FC236}">
                <a16:creationId xmlns:a16="http://schemas.microsoft.com/office/drawing/2014/main" id="{946D40BF-242F-49A4-BD47-C448C2E3B543}"/>
              </a:ext>
            </a:extLst>
          </p:cNvPr>
          <p:cNvSpPr/>
          <p:nvPr/>
        </p:nvSpPr>
        <p:spPr>
          <a:xfrm>
            <a:off x="4824873" y="4304261"/>
            <a:ext cx="2530114" cy="461665"/>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91440" tIns="137160" rIns="91440" bIns="13716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calable, shared storage (HDFS)</a:t>
            </a:r>
          </a:p>
        </p:txBody>
      </p:sp>
      <p:cxnSp>
        <p:nvCxnSpPr>
          <p:cNvPr id="4" name="Straight Arrow Connector 3">
            <a:extLst>
              <a:ext uri="{FF2B5EF4-FFF2-40B4-BE49-F238E27FC236}">
                <a16:creationId xmlns:a16="http://schemas.microsoft.com/office/drawing/2014/main" id="{D72CCD3F-ED23-AF41-A7CA-2B5754CDB5DF}"/>
              </a:ext>
            </a:extLst>
          </p:cNvPr>
          <p:cNvCxnSpPr>
            <a:cxnSpLocks/>
            <a:stCxn id="188" idx="2"/>
          </p:cNvCxnSpPr>
          <p:nvPr/>
        </p:nvCxnSpPr>
        <p:spPr>
          <a:xfrm>
            <a:off x="5359063" y="3919046"/>
            <a:ext cx="0" cy="383144"/>
          </a:xfrm>
          <a:prstGeom prst="straightConnector1">
            <a:avLst/>
          </a:prstGeom>
          <a:ln w="12700">
            <a:solidFill>
              <a:srgbClr val="75757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traight Arrow Connector 122">
            <a:extLst>
              <a:ext uri="{FF2B5EF4-FFF2-40B4-BE49-F238E27FC236}">
                <a16:creationId xmlns:a16="http://schemas.microsoft.com/office/drawing/2014/main" id="{D26FB5B9-D030-0841-8F63-338FC6A824D5}"/>
              </a:ext>
            </a:extLst>
          </p:cNvPr>
          <p:cNvCxnSpPr>
            <a:cxnSpLocks/>
            <a:stCxn id="369" idx="2"/>
          </p:cNvCxnSpPr>
          <p:nvPr/>
        </p:nvCxnSpPr>
        <p:spPr>
          <a:xfrm>
            <a:off x="6868589" y="3919046"/>
            <a:ext cx="0" cy="383144"/>
          </a:xfrm>
          <a:prstGeom prst="straightConnector1">
            <a:avLst/>
          </a:prstGeom>
          <a:ln w="12700">
            <a:solidFill>
              <a:srgbClr val="757575"/>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29" name="Group 128">
            <a:extLst>
              <a:ext uri="{FF2B5EF4-FFF2-40B4-BE49-F238E27FC236}">
                <a16:creationId xmlns:a16="http://schemas.microsoft.com/office/drawing/2014/main" id="{89A74961-EB4D-FA41-BEDD-0D24E0CBBD32}"/>
              </a:ext>
            </a:extLst>
          </p:cNvPr>
          <p:cNvGrpSpPr/>
          <p:nvPr/>
        </p:nvGrpSpPr>
        <p:grpSpPr>
          <a:xfrm flipH="1">
            <a:off x="1096943" y="2360371"/>
            <a:ext cx="418929" cy="405883"/>
            <a:chOff x="7157554" y="1735934"/>
            <a:chExt cx="397423" cy="398542"/>
          </a:xfrm>
        </p:grpSpPr>
        <p:grpSp>
          <p:nvGrpSpPr>
            <p:cNvPr id="130" name="Group 129">
              <a:extLst>
                <a:ext uri="{FF2B5EF4-FFF2-40B4-BE49-F238E27FC236}">
                  <a16:creationId xmlns:a16="http://schemas.microsoft.com/office/drawing/2014/main" id="{1A54012D-6AB4-5D4A-ABB2-C2C13BBC8D5D}"/>
                </a:ext>
              </a:extLst>
            </p:cNvPr>
            <p:cNvGrpSpPr/>
            <p:nvPr/>
          </p:nvGrpSpPr>
          <p:grpSpPr>
            <a:xfrm>
              <a:off x="7157554" y="1735934"/>
              <a:ext cx="397423" cy="398542"/>
              <a:chOff x="2107244" y="1575258"/>
              <a:chExt cx="310993" cy="264555"/>
            </a:xfrm>
            <a:solidFill>
              <a:srgbClr val="0078D7"/>
            </a:solidFill>
          </p:grpSpPr>
          <p:sp>
            <p:nvSpPr>
              <p:cNvPr id="135" name="Rectangle 9">
                <a:extLst>
                  <a:ext uri="{FF2B5EF4-FFF2-40B4-BE49-F238E27FC236}">
                    <a16:creationId xmlns:a16="http://schemas.microsoft.com/office/drawing/2014/main" id="{3A0A961E-AC84-E84B-A0BD-A4228683771E}"/>
                  </a:ext>
                </a:extLst>
              </p:cNvPr>
              <p:cNvSpPr>
                <a:spLocks noChangeArrowheads="1"/>
              </p:cNvSpPr>
              <p:nvPr/>
            </p:nvSpPr>
            <p:spPr bwMode="auto">
              <a:xfrm>
                <a:off x="2107244" y="1575258"/>
                <a:ext cx="310993" cy="264555"/>
              </a:xfrm>
              <a:prstGeom prst="rect">
                <a:avLst/>
              </a:prstGeom>
              <a:grp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43" name="Line 10">
                <a:extLst>
                  <a:ext uri="{FF2B5EF4-FFF2-40B4-BE49-F238E27FC236}">
                    <a16:creationId xmlns:a16="http://schemas.microsoft.com/office/drawing/2014/main" id="{314E8FEC-1AC3-9D4C-8F4C-018B27816C61}"/>
                  </a:ext>
                </a:extLst>
              </p:cNvPr>
              <p:cNvSpPr>
                <a:spLocks noChangeShapeType="1"/>
              </p:cNvSpPr>
              <p:nvPr/>
            </p:nvSpPr>
            <p:spPr bwMode="auto">
              <a:xfrm flipH="1">
                <a:off x="2107244" y="1647026"/>
                <a:ext cx="310993" cy="0"/>
              </a:xfrm>
              <a:prstGeom prst="line">
                <a:avLst/>
              </a:prstGeom>
              <a:grpFill/>
              <a:ln w="1905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grpSp>
          <p:nvGrpSpPr>
            <p:cNvPr id="131" name="Group 130">
              <a:extLst>
                <a:ext uri="{FF2B5EF4-FFF2-40B4-BE49-F238E27FC236}">
                  <a16:creationId xmlns:a16="http://schemas.microsoft.com/office/drawing/2014/main" id="{7FCCA958-1E4E-A44D-9277-4C76459FB748}"/>
                </a:ext>
              </a:extLst>
            </p:cNvPr>
            <p:cNvGrpSpPr/>
            <p:nvPr/>
          </p:nvGrpSpPr>
          <p:grpSpPr>
            <a:xfrm>
              <a:off x="7264761" y="1903738"/>
              <a:ext cx="191394" cy="180132"/>
              <a:chOff x="2202934" y="1701907"/>
              <a:chExt cx="95690" cy="90061"/>
            </a:xfrm>
            <a:solidFill>
              <a:srgbClr val="50E6FF"/>
            </a:solidFill>
          </p:grpSpPr>
          <p:sp>
            <p:nvSpPr>
              <p:cNvPr id="133" name="Freeform 14">
                <a:extLst>
                  <a:ext uri="{FF2B5EF4-FFF2-40B4-BE49-F238E27FC236}">
                    <a16:creationId xmlns:a16="http://schemas.microsoft.com/office/drawing/2014/main" id="{26359BEC-B8B3-864E-AEAD-C2BFE4BABEE3}"/>
                  </a:ext>
                </a:extLst>
              </p:cNvPr>
              <p:cNvSpPr>
                <a:spLocks/>
              </p:cNvSpPr>
              <p:nvPr/>
            </p:nvSpPr>
            <p:spPr bwMode="auto">
              <a:xfrm>
                <a:off x="2202934"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grpFill/>
              <a:ln w="12700" cap="flat">
                <a:solidFill>
                  <a:srgbClr val="0078D7"/>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134" name="Line 15">
                <a:extLst>
                  <a:ext uri="{FF2B5EF4-FFF2-40B4-BE49-F238E27FC236}">
                    <a16:creationId xmlns:a16="http://schemas.microsoft.com/office/drawing/2014/main" id="{9EFF4E38-7AFF-9943-9BBB-46863914F01F}"/>
                  </a:ext>
                </a:extLst>
              </p:cNvPr>
              <p:cNvSpPr>
                <a:spLocks noChangeShapeType="1"/>
              </p:cNvSpPr>
              <p:nvPr/>
            </p:nvSpPr>
            <p:spPr bwMode="auto">
              <a:xfrm>
                <a:off x="2250779" y="1755381"/>
                <a:ext cx="0" cy="36587"/>
              </a:xfrm>
              <a:prstGeom prst="line">
                <a:avLst/>
              </a:prstGeom>
              <a:grpFill/>
              <a:ln w="12700" cap="flat">
                <a:solidFill>
                  <a:srgbClr val="0078D7"/>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sp>
          <p:nvSpPr>
            <p:cNvPr id="132" name="Oval 131">
              <a:extLst>
                <a:ext uri="{FF2B5EF4-FFF2-40B4-BE49-F238E27FC236}">
                  <a16:creationId xmlns:a16="http://schemas.microsoft.com/office/drawing/2014/main" id="{A30D409A-C217-224E-AD30-F2395B4D5F85}"/>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20" name="TextBox 119">
            <a:extLst>
              <a:ext uri="{FF2B5EF4-FFF2-40B4-BE49-F238E27FC236}">
                <a16:creationId xmlns:a16="http://schemas.microsoft.com/office/drawing/2014/main" id="{8836DFBA-37C9-479B-956F-1F925E881159}"/>
              </a:ext>
            </a:extLst>
          </p:cNvPr>
          <p:cNvSpPr txBox="1"/>
          <p:nvPr/>
        </p:nvSpPr>
        <p:spPr>
          <a:xfrm>
            <a:off x="8601119" y="4618930"/>
            <a:ext cx="860613" cy="3693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i="0" u="none" strike="noStrike" cap="none" spc="0" normalizeH="0" baseline="0">
                <a:ln>
                  <a:noFill/>
                </a:ln>
                <a:solidFill>
                  <a:srgbClr val="0078D7"/>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External data sources</a:t>
            </a:r>
          </a:p>
        </p:txBody>
      </p:sp>
      <p:cxnSp>
        <p:nvCxnSpPr>
          <p:cNvPr id="150" name="Straight Arrow Connector 149">
            <a:extLst>
              <a:ext uri="{FF2B5EF4-FFF2-40B4-BE49-F238E27FC236}">
                <a16:creationId xmlns:a16="http://schemas.microsoft.com/office/drawing/2014/main" id="{8AE19E8E-8DE1-4020-968E-2839290A5661}"/>
              </a:ext>
            </a:extLst>
          </p:cNvPr>
          <p:cNvCxnSpPr>
            <a:cxnSpLocks/>
          </p:cNvCxnSpPr>
          <p:nvPr/>
        </p:nvCxnSpPr>
        <p:spPr>
          <a:xfrm>
            <a:off x="9030847" y="4215596"/>
            <a:ext cx="0" cy="361483"/>
          </a:xfrm>
          <a:prstGeom prst="straightConnector1">
            <a:avLst/>
          </a:prstGeom>
          <a:ln w="12700">
            <a:solidFill>
              <a:srgbClr val="757575"/>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54" name="Rectangle 153">
            <a:extLst>
              <a:ext uri="{FF2B5EF4-FFF2-40B4-BE49-F238E27FC236}">
                <a16:creationId xmlns:a16="http://schemas.microsoft.com/office/drawing/2014/main" id="{5400614B-12F1-45C9-A326-F6E6AD20B3DD}"/>
              </a:ext>
            </a:extLst>
          </p:cNvPr>
          <p:cNvSpPr/>
          <p:nvPr/>
        </p:nvSpPr>
        <p:spPr>
          <a:xfrm>
            <a:off x="4655598" y="2616867"/>
            <a:ext cx="2899056" cy="2326402"/>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tIns="137160" bIns="137160" rtlCol="0" anchor="t"/>
          <a:lstStyle/>
          <a:p>
            <a:pPr marL="0" marR="0" lvl="0" indent="0" algn="ctr" defTabSz="457200" rtl="0" eaLnBrk="1" fontAlgn="auto" latinLnBrk="0" hangingPunct="1">
              <a:lnSpc>
                <a:spcPct val="100000"/>
              </a:lnSpc>
              <a:spcBef>
                <a:spcPts val="0"/>
              </a:spcBef>
              <a:spcAft>
                <a:spcPts val="400"/>
              </a:spcAft>
              <a:buClrTx/>
              <a:buSzTx/>
              <a:buFontTx/>
              <a:buNone/>
              <a:tabLst/>
              <a:defRPr/>
            </a:pPr>
            <a:r>
              <a:rPr kumimoji="0" lang="en-US" sz="105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Admin portal and management services</a:t>
            </a:r>
          </a:p>
          <a:p>
            <a:pPr marL="0" marR="0" lvl="0" indent="0" algn="ctr" defTabSz="457200" rtl="0" eaLnBrk="1" fontAlgn="auto" latinLnBrk="0" hangingPunct="1">
              <a:lnSpc>
                <a:spcPct val="100000"/>
              </a:lnSpc>
              <a:spcBef>
                <a:spcPts val="0"/>
              </a:spcBef>
              <a:spcAft>
                <a:spcPts val="400"/>
              </a:spcAft>
              <a:buClrTx/>
              <a:buSzTx/>
              <a:buFontTx/>
              <a:buNone/>
              <a:tabLst/>
              <a:defRPr/>
            </a:pPr>
            <a:r>
              <a:rPr kumimoji="0" lang="en-US" sz="105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Integrated AD-based security</a:t>
            </a:r>
          </a:p>
        </p:txBody>
      </p:sp>
      <p:sp>
        <p:nvSpPr>
          <p:cNvPr id="155" name="Rectangle 154">
            <a:extLst>
              <a:ext uri="{FF2B5EF4-FFF2-40B4-BE49-F238E27FC236}">
                <a16:creationId xmlns:a16="http://schemas.microsoft.com/office/drawing/2014/main" id="{B0456595-5008-4CE9-995C-46001A0F674C}"/>
              </a:ext>
            </a:extLst>
          </p:cNvPr>
          <p:cNvSpPr/>
          <p:nvPr/>
        </p:nvSpPr>
        <p:spPr>
          <a:xfrm>
            <a:off x="8601118" y="3645026"/>
            <a:ext cx="1289187" cy="517065"/>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QL Server</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ML Services</a:t>
            </a:r>
          </a:p>
        </p:txBody>
      </p:sp>
      <p:sp>
        <p:nvSpPr>
          <p:cNvPr id="157" name="Rectangle 156">
            <a:extLst>
              <a:ext uri="{FF2B5EF4-FFF2-40B4-BE49-F238E27FC236}">
                <a16:creationId xmlns:a16="http://schemas.microsoft.com/office/drawing/2014/main" id="{B77E1B17-BF46-4AE7-89D4-23B766B2BDF9}"/>
              </a:ext>
            </a:extLst>
          </p:cNvPr>
          <p:cNvSpPr/>
          <p:nvPr/>
        </p:nvSpPr>
        <p:spPr>
          <a:xfrm>
            <a:off x="10271434" y="3645026"/>
            <a:ext cx="1289187" cy="517065"/>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park &amp;</a:t>
            </a:r>
            <a:b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b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park ML</a:t>
            </a:r>
          </a:p>
        </p:txBody>
      </p:sp>
      <p:sp>
        <p:nvSpPr>
          <p:cNvPr id="159" name="TextBox 158">
            <a:extLst>
              <a:ext uri="{FF2B5EF4-FFF2-40B4-BE49-F238E27FC236}">
                <a16:creationId xmlns:a16="http://schemas.microsoft.com/office/drawing/2014/main" id="{8E500573-8878-4323-B960-1D11E987A800}"/>
              </a:ext>
            </a:extLst>
          </p:cNvPr>
          <p:cNvSpPr txBox="1"/>
          <p:nvPr/>
        </p:nvSpPr>
        <p:spPr>
          <a:xfrm>
            <a:off x="9650563" y="4618930"/>
            <a:ext cx="860613" cy="2308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i="0" u="none" strike="noStrike" cap="none" spc="0" normalizeH="0" baseline="0">
                <a:ln>
                  <a:noFill/>
                </a:ln>
                <a:solidFill>
                  <a:srgbClr val="0078D7"/>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HDFS</a:t>
            </a:r>
          </a:p>
        </p:txBody>
      </p:sp>
      <p:sp>
        <p:nvSpPr>
          <p:cNvPr id="166" name="TextBox 165">
            <a:extLst>
              <a:ext uri="{FF2B5EF4-FFF2-40B4-BE49-F238E27FC236}">
                <a16:creationId xmlns:a16="http://schemas.microsoft.com/office/drawing/2014/main" id="{B7CB1191-738C-41B1-B4CE-0FC46DDB5554}"/>
              </a:ext>
            </a:extLst>
          </p:cNvPr>
          <p:cNvSpPr txBox="1"/>
          <p:nvPr/>
        </p:nvSpPr>
        <p:spPr>
          <a:xfrm>
            <a:off x="9485755" y="3045047"/>
            <a:ext cx="1263866" cy="3693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i="0" u="none" strike="noStrike" cap="none" spc="0" normalizeH="0" baseline="0">
                <a:ln>
                  <a:noFill/>
                </a:ln>
                <a:solidFill>
                  <a:srgbClr val="0078D7"/>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REST API containers for models</a:t>
            </a:r>
          </a:p>
        </p:txBody>
      </p:sp>
      <p:grpSp>
        <p:nvGrpSpPr>
          <p:cNvPr id="34" name="Group 33">
            <a:extLst>
              <a:ext uri="{FF2B5EF4-FFF2-40B4-BE49-F238E27FC236}">
                <a16:creationId xmlns:a16="http://schemas.microsoft.com/office/drawing/2014/main" id="{3D0B1805-BE33-498F-B11E-F82C596D94AC}"/>
              </a:ext>
            </a:extLst>
          </p:cNvPr>
          <p:cNvGrpSpPr/>
          <p:nvPr/>
        </p:nvGrpSpPr>
        <p:grpSpPr>
          <a:xfrm>
            <a:off x="9503913" y="2689510"/>
            <a:ext cx="353463" cy="313979"/>
            <a:chOff x="8553451" y="2776608"/>
            <a:chExt cx="570138" cy="506450"/>
          </a:xfrm>
        </p:grpSpPr>
        <p:grpSp>
          <p:nvGrpSpPr>
            <p:cNvPr id="33" name="Group 32">
              <a:extLst>
                <a:ext uri="{FF2B5EF4-FFF2-40B4-BE49-F238E27FC236}">
                  <a16:creationId xmlns:a16="http://schemas.microsoft.com/office/drawing/2014/main" id="{C0B88598-3B49-434E-8D8A-4458F85480DE}"/>
                </a:ext>
              </a:extLst>
            </p:cNvPr>
            <p:cNvGrpSpPr/>
            <p:nvPr/>
          </p:nvGrpSpPr>
          <p:grpSpPr>
            <a:xfrm>
              <a:off x="8640346" y="2855984"/>
              <a:ext cx="396348" cy="347698"/>
              <a:chOff x="8634499" y="2855984"/>
              <a:chExt cx="396348" cy="347698"/>
            </a:xfrm>
          </p:grpSpPr>
          <p:grpSp>
            <p:nvGrpSpPr>
              <p:cNvPr id="124" name="Group 123">
                <a:extLst>
                  <a:ext uri="{FF2B5EF4-FFF2-40B4-BE49-F238E27FC236}">
                    <a16:creationId xmlns:a16="http://schemas.microsoft.com/office/drawing/2014/main" id="{60125BD9-2021-471E-B8BA-D241E7DBB1C9}"/>
                  </a:ext>
                </a:extLst>
              </p:cNvPr>
              <p:cNvGrpSpPr/>
              <p:nvPr/>
            </p:nvGrpSpPr>
            <p:grpSpPr>
              <a:xfrm flipH="1">
                <a:off x="8634499" y="2855984"/>
                <a:ext cx="396348" cy="347698"/>
                <a:chOff x="2107244" y="1575258"/>
                <a:chExt cx="310993" cy="264555"/>
              </a:xfrm>
              <a:noFill/>
            </p:grpSpPr>
            <p:sp>
              <p:nvSpPr>
                <p:cNvPr id="145" name="Rectangle 9">
                  <a:extLst>
                    <a:ext uri="{FF2B5EF4-FFF2-40B4-BE49-F238E27FC236}">
                      <a16:creationId xmlns:a16="http://schemas.microsoft.com/office/drawing/2014/main" id="{06A1BC69-367C-46D0-85F9-27111FE90F97}"/>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46" name="Line 10">
                  <a:extLst>
                    <a:ext uri="{FF2B5EF4-FFF2-40B4-BE49-F238E27FC236}">
                      <a16:creationId xmlns:a16="http://schemas.microsoft.com/office/drawing/2014/main" id="{1D75A889-F1BA-451F-AF9B-7635F4E8FAF3}"/>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25" name="Oval 124">
                <a:extLst>
                  <a:ext uri="{FF2B5EF4-FFF2-40B4-BE49-F238E27FC236}">
                    <a16:creationId xmlns:a16="http://schemas.microsoft.com/office/drawing/2014/main" id="{8E2145CD-97E8-42A8-955E-34FA0D8A0D90}"/>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47" name="Rectangle 146">
              <a:extLst>
                <a:ext uri="{FF2B5EF4-FFF2-40B4-BE49-F238E27FC236}">
                  <a16:creationId xmlns:a16="http://schemas.microsoft.com/office/drawing/2014/main" id="{C78895F3-CBB7-4EE2-96E6-4DA4F9191326}"/>
                </a:ext>
              </a:extLst>
            </p:cNvPr>
            <p:cNvSpPr/>
            <p:nvPr/>
          </p:nvSpPr>
          <p:spPr>
            <a:xfrm>
              <a:off x="8553451" y="2776608"/>
              <a:ext cx="570138" cy="5064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cxnSp>
        <p:nvCxnSpPr>
          <p:cNvPr id="151" name="Straight Arrow Connector 150">
            <a:extLst>
              <a:ext uri="{FF2B5EF4-FFF2-40B4-BE49-F238E27FC236}">
                <a16:creationId xmlns:a16="http://schemas.microsoft.com/office/drawing/2014/main" id="{CC00280C-55BB-499F-B526-38BF79E857A8}"/>
              </a:ext>
            </a:extLst>
          </p:cNvPr>
          <p:cNvCxnSpPr>
            <a:cxnSpLocks/>
          </p:cNvCxnSpPr>
          <p:nvPr/>
        </p:nvCxnSpPr>
        <p:spPr>
          <a:xfrm>
            <a:off x="2211494" y="3790479"/>
            <a:ext cx="0" cy="201806"/>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00F84E72-32F2-4EA0-A8E0-A60B9D7736C9}"/>
              </a:ext>
            </a:extLst>
          </p:cNvPr>
          <p:cNvCxnSpPr>
            <a:cxnSpLocks/>
          </p:cNvCxnSpPr>
          <p:nvPr/>
        </p:nvCxnSpPr>
        <p:spPr>
          <a:xfrm rot="5400000">
            <a:off x="10185853" y="3480478"/>
            <a:ext cx="11247" cy="1461802"/>
          </a:xfrm>
          <a:prstGeom prst="bentConnector3">
            <a:avLst>
              <a:gd name="adj1" fmla="val 2041967"/>
            </a:avLst>
          </a:prstGeom>
          <a:ln w="12700">
            <a:solidFill>
              <a:srgbClr val="757575"/>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8" name="Straight Arrow Connector 157">
            <a:extLst>
              <a:ext uri="{FF2B5EF4-FFF2-40B4-BE49-F238E27FC236}">
                <a16:creationId xmlns:a16="http://schemas.microsoft.com/office/drawing/2014/main" id="{5490740A-E880-4EC4-ACB3-302F97151CFD}"/>
              </a:ext>
            </a:extLst>
          </p:cNvPr>
          <p:cNvCxnSpPr>
            <a:cxnSpLocks/>
          </p:cNvCxnSpPr>
          <p:nvPr/>
        </p:nvCxnSpPr>
        <p:spPr>
          <a:xfrm>
            <a:off x="10087609" y="4436513"/>
            <a:ext cx="0" cy="135124"/>
          </a:xfrm>
          <a:prstGeom prst="straightConnector1">
            <a:avLst/>
          </a:prstGeom>
          <a:ln w="12700">
            <a:solidFill>
              <a:srgbClr val="75757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67" name="Group 166">
            <a:extLst>
              <a:ext uri="{FF2B5EF4-FFF2-40B4-BE49-F238E27FC236}">
                <a16:creationId xmlns:a16="http://schemas.microsoft.com/office/drawing/2014/main" id="{7D93EF47-0D74-4EC3-8D55-2965972CB021}"/>
              </a:ext>
            </a:extLst>
          </p:cNvPr>
          <p:cNvGrpSpPr/>
          <p:nvPr/>
        </p:nvGrpSpPr>
        <p:grpSpPr>
          <a:xfrm>
            <a:off x="9940957" y="2689510"/>
            <a:ext cx="353463" cy="313979"/>
            <a:chOff x="8553451" y="2776608"/>
            <a:chExt cx="570138" cy="506450"/>
          </a:xfrm>
        </p:grpSpPr>
        <p:grpSp>
          <p:nvGrpSpPr>
            <p:cNvPr id="168" name="Group 167">
              <a:extLst>
                <a:ext uri="{FF2B5EF4-FFF2-40B4-BE49-F238E27FC236}">
                  <a16:creationId xmlns:a16="http://schemas.microsoft.com/office/drawing/2014/main" id="{6DA0190B-CECE-40CB-AB65-F45A6C73F3E4}"/>
                </a:ext>
              </a:extLst>
            </p:cNvPr>
            <p:cNvGrpSpPr/>
            <p:nvPr/>
          </p:nvGrpSpPr>
          <p:grpSpPr>
            <a:xfrm>
              <a:off x="8640346" y="2855984"/>
              <a:ext cx="396348" cy="347698"/>
              <a:chOff x="8634499" y="2855984"/>
              <a:chExt cx="396348" cy="347698"/>
            </a:xfrm>
          </p:grpSpPr>
          <p:grpSp>
            <p:nvGrpSpPr>
              <p:cNvPr id="170" name="Group 169">
                <a:extLst>
                  <a:ext uri="{FF2B5EF4-FFF2-40B4-BE49-F238E27FC236}">
                    <a16:creationId xmlns:a16="http://schemas.microsoft.com/office/drawing/2014/main" id="{00846211-35B6-4B59-AEDB-7F48C9FC5390}"/>
                  </a:ext>
                </a:extLst>
              </p:cNvPr>
              <p:cNvGrpSpPr/>
              <p:nvPr/>
            </p:nvGrpSpPr>
            <p:grpSpPr>
              <a:xfrm flipH="1">
                <a:off x="8634499" y="2855984"/>
                <a:ext cx="396348" cy="347698"/>
                <a:chOff x="2107244" y="1575258"/>
                <a:chExt cx="310993" cy="264555"/>
              </a:xfrm>
              <a:noFill/>
            </p:grpSpPr>
            <p:sp>
              <p:nvSpPr>
                <p:cNvPr id="172" name="Rectangle 9">
                  <a:extLst>
                    <a:ext uri="{FF2B5EF4-FFF2-40B4-BE49-F238E27FC236}">
                      <a16:creationId xmlns:a16="http://schemas.microsoft.com/office/drawing/2014/main" id="{45CF2323-516C-4BCC-AB18-5DABC99D7FC9}"/>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73" name="Line 10">
                  <a:extLst>
                    <a:ext uri="{FF2B5EF4-FFF2-40B4-BE49-F238E27FC236}">
                      <a16:creationId xmlns:a16="http://schemas.microsoft.com/office/drawing/2014/main" id="{1EA50FB0-2DF5-4F7B-A818-5638993E1465}"/>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71" name="Oval 170">
                <a:extLst>
                  <a:ext uri="{FF2B5EF4-FFF2-40B4-BE49-F238E27FC236}">
                    <a16:creationId xmlns:a16="http://schemas.microsoft.com/office/drawing/2014/main" id="{CF62F851-1D32-4390-AFEF-D96831B97897}"/>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69" name="Rectangle 168">
              <a:extLst>
                <a:ext uri="{FF2B5EF4-FFF2-40B4-BE49-F238E27FC236}">
                  <a16:creationId xmlns:a16="http://schemas.microsoft.com/office/drawing/2014/main" id="{E32A1CA9-8034-49F9-9CF3-CCDCCE59180B}"/>
                </a:ext>
              </a:extLst>
            </p:cNvPr>
            <p:cNvSpPr/>
            <p:nvPr/>
          </p:nvSpPr>
          <p:spPr>
            <a:xfrm>
              <a:off x="8553451" y="2776608"/>
              <a:ext cx="570138" cy="5064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174" name="Group 173">
            <a:extLst>
              <a:ext uri="{FF2B5EF4-FFF2-40B4-BE49-F238E27FC236}">
                <a16:creationId xmlns:a16="http://schemas.microsoft.com/office/drawing/2014/main" id="{5E60695D-7509-41A8-86C4-EFAE306FB139}"/>
              </a:ext>
            </a:extLst>
          </p:cNvPr>
          <p:cNvGrpSpPr/>
          <p:nvPr/>
        </p:nvGrpSpPr>
        <p:grpSpPr>
          <a:xfrm>
            <a:off x="10378002" y="2689510"/>
            <a:ext cx="353463" cy="313979"/>
            <a:chOff x="8553451" y="2776608"/>
            <a:chExt cx="570138" cy="506450"/>
          </a:xfrm>
        </p:grpSpPr>
        <p:grpSp>
          <p:nvGrpSpPr>
            <p:cNvPr id="175" name="Group 174">
              <a:extLst>
                <a:ext uri="{FF2B5EF4-FFF2-40B4-BE49-F238E27FC236}">
                  <a16:creationId xmlns:a16="http://schemas.microsoft.com/office/drawing/2014/main" id="{D6BB198E-F180-4A97-AC8A-B5A1270D3B7E}"/>
                </a:ext>
              </a:extLst>
            </p:cNvPr>
            <p:cNvGrpSpPr/>
            <p:nvPr/>
          </p:nvGrpSpPr>
          <p:grpSpPr>
            <a:xfrm>
              <a:off x="8640346" y="2855984"/>
              <a:ext cx="396348" cy="347698"/>
              <a:chOff x="8634499" y="2855984"/>
              <a:chExt cx="396348" cy="347698"/>
            </a:xfrm>
          </p:grpSpPr>
          <p:grpSp>
            <p:nvGrpSpPr>
              <p:cNvPr id="177" name="Group 176">
                <a:extLst>
                  <a:ext uri="{FF2B5EF4-FFF2-40B4-BE49-F238E27FC236}">
                    <a16:creationId xmlns:a16="http://schemas.microsoft.com/office/drawing/2014/main" id="{79D66077-D895-48F8-8F17-C839B6647F27}"/>
                  </a:ext>
                </a:extLst>
              </p:cNvPr>
              <p:cNvGrpSpPr/>
              <p:nvPr/>
            </p:nvGrpSpPr>
            <p:grpSpPr>
              <a:xfrm flipH="1">
                <a:off x="8634499" y="2855984"/>
                <a:ext cx="396348" cy="347698"/>
                <a:chOff x="2107244" y="1575258"/>
                <a:chExt cx="310993" cy="264555"/>
              </a:xfrm>
              <a:noFill/>
            </p:grpSpPr>
            <p:sp>
              <p:nvSpPr>
                <p:cNvPr id="179" name="Rectangle 9">
                  <a:extLst>
                    <a:ext uri="{FF2B5EF4-FFF2-40B4-BE49-F238E27FC236}">
                      <a16:creationId xmlns:a16="http://schemas.microsoft.com/office/drawing/2014/main" id="{2B202170-9E5C-4B4E-A182-978BC9DC2BFE}"/>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80" name="Line 10">
                  <a:extLst>
                    <a:ext uri="{FF2B5EF4-FFF2-40B4-BE49-F238E27FC236}">
                      <a16:creationId xmlns:a16="http://schemas.microsoft.com/office/drawing/2014/main" id="{A8631505-6526-456F-BECC-D55911F8A255}"/>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78" name="Oval 177">
                <a:extLst>
                  <a:ext uri="{FF2B5EF4-FFF2-40B4-BE49-F238E27FC236}">
                    <a16:creationId xmlns:a16="http://schemas.microsoft.com/office/drawing/2014/main" id="{FEB1E8CC-2C41-4A65-B83B-8FB6EAFD3503}"/>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76" name="Rectangle 175">
              <a:extLst>
                <a:ext uri="{FF2B5EF4-FFF2-40B4-BE49-F238E27FC236}">
                  <a16:creationId xmlns:a16="http://schemas.microsoft.com/office/drawing/2014/main" id="{D9AB478C-0293-438D-A2A6-5D34331629DC}"/>
                </a:ext>
              </a:extLst>
            </p:cNvPr>
            <p:cNvSpPr/>
            <p:nvPr/>
          </p:nvSpPr>
          <p:spPr>
            <a:xfrm>
              <a:off x="8553451" y="2776608"/>
              <a:ext cx="570138" cy="5064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181" name="Group 180">
            <a:extLst>
              <a:ext uri="{FF2B5EF4-FFF2-40B4-BE49-F238E27FC236}">
                <a16:creationId xmlns:a16="http://schemas.microsoft.com/office/drawing/2014/main" id="{474AF5BC-661B-48D3-B014-7A5BB113920D}"/>
              </a:ext>
            </a:extLst>
          </p:cNvPr>
          <p:cNvGrpSpPr/>
          <p:nvPr/>
        </p:nvGrpSpPr>
        <p:grpSpPr>
          <a:xfrm>
            <a:off x="9818096" y="2306620"/>
            <a:ext cx="353463" cy="313979"/>
            <a:chOff x="8553451" y="2776608"/>
            <a:chExt cx="570138" cy="506450"/>
          </a:xfrm>
        </p:grpSpPr>
        <p:grpSp>
          <p:nvGrpSpPr>
            <p:cNvPr id="182" name="Group 181">
              <a:extLst>
                <a:ext uri="{FF2B5EF4-FFF2-40B4-BE49-F238E27FC236}">
                  <a16:creationId xmlns:a16="http://schemas.microsoft.com/office/drawing/2014/main" id="{91614426-FAE1-41CE-BB49-56EDC092582C}"/>
                </a:ext>
              </a:extLst>
            </p:cNvPr>
            <p:cNvGrpSpPr/>
            <p:nvPr/>
          </p:nvGrpSpPr>
          <p:grpSpPr>
            <a:xfrm>
              <a:off x="8640346" y="2855984"/>
              <a:ext cx="396348" cy="347698"/>
              <a:chOff x="8634499" y="2855984"/>
              <a:chExt cx="396348" cy="347698"/>
            </a:xfrm>
          </p:grpSpPr>
          <p:grpSp>
            <p:nvGrpSpPr>
              <p:cNvPr id="184" name="Group 183">
                <a:extLst>
                  <a:ext uri="{FF2B5EF4-FFF2-40B4-BE49-F238E27FC236}">
                    <a16:creationId xmlns:a16="http://schemas.microsoft.com/office/drawing/2014/main" id="{3B27BE48-BD78-478C-97A3-F7E74AF4581D}"/>
                  </a:ext>
                </a:extLst>
              </p:cNvPr>
              <p:cNvGrpSpPr/>
              <p:nvPr/>
            </p:nvGrpSpPr>
            <p:grpSpPr>
              <a:xfrm flipH="1">
                <a:off x="8634499" y="2855984"/>
                <a:ext cx="396348" cy="347698"/>
                <a:chOff x="2107244" y="1575258"/>
                <a:chExt cx="310993" cy="264555"/>
              </a:xfrm>
              <a:noFill/>
            </p:grpSpPr>
            <p:sp>
              <p:nvSpPr>
                <p:cNvPr id="186" name="Rectangle 9">
                  <a:extLst>
                    <a:ext uri="{FF2B5EF4-FFF2-40B4-BE49-F238E27FC236}">
                      <a16:creationId xmlns:a16="http://schemas.microsoft.com/office/drawing/2014/main" id="{E5C66511-F769-4F72-B3ED-07BE45973282}"/>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87" name="Line 10">
                  <a:extLst>
                    <a:ext uri="{FF2B5EF4-FFF2-40B4-BE49-F238E27FC236}">
                      <a16:creationId xmlns:a16="http://schemas.microsoft.com/office/drawing/2014/main" id="{8EDF33CB-9C9C-4D38-B7A8-805BE7107FB7}"/>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85" name="Oval 184">
                <a:extLst>
                  <a:ext uri="{FF2B5EF4-FFF2-40B4-BE49-F238E27FC236}">
                    <a16:creationId xmlns:a16="http://schemas.microsoft.com/office/drawing/2014/main" id="{33A3CFD0-894C-49AA-A60C-2E50F3294EFC}"/>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83" name="Rectangle 182">
              <a:extLst>
                <a:ext uri="{FF2B5EF4-FFF2-40B4-BE49-F238E27FC236}">
                  <a16:creationId xmlns:a16="http://schemas.microsoft.com/office/drawing/2014/main" id="{793D74EF-254E-4299-87BA-3A704B66F854}"/>
                </a:ext>
              </a:extLst>
            </p:cNvPr>
            <p:cNvSpPr/>
            <p:nvPr/>
          </p:nvSpPr>
          <p:spPr>
            <a:xfrm>
              <a:off x="8553451" y="2776608"/>
              <a:ext cx="570138" cy="5064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189" name="Group 188">
            <a:extLst>
              <a:ext uri="{FF2B5EF4-FFF2-40B4-BE49-F238E27FC236}">
                <a16:creationId xmlns:a16="http://schemas.microsoft.com/office/drawing/2014/main" id="{58A73045-5E55-4C39-92DB-194D5731C357}"/>
              </a:ext>
            </a:extLst>
          </p:cNvPr>
          <p:cNvGrpSpPr/>
          <p:nvPr/>
        </p:nvGrpSpPr>
        <p:grpSpPr>
          <a:xfrm>
            <a:off x="10255140" y="2306620"/>
            <a:ext cx="353463" cy="313979"/>
            <a:chOff x="8553451" y="2776608"/>
            <a:chExt cx="570138" cy="506450"/>
          </a:xfrm>
        </p:grpSpPr>
        <p:grpSp>
          <p:nvGrpSpPr>
            <p:cNvPr id="190" name="Group 189">
              <a:extLst>
                <a:ext uri="{FF2B5EF4-FFF2-40B4-BE49-F238E27FC236}">
                  <a16:creationId xmlns:a16="http://schemas.microsoft.com/office/drawing/2014/main" id="{6E09D473-6254-49E9-BDE6-A659B1FCA216}"/>
                </a:ext>
              </a:extLst>
            </p:cNvPr>
            <p:cNvGrpSpPr/>
            <p:nvPr/>
          </p:nvGrpSpPr>
          <p:grpSpPr>
            <a:xfrm>
              <a:off x="8640346" y="2855984"/>
              <a:ext cx="396348" cy="347698"/>
              <a:chOff x="8634499" y="2855984"/>
              <a:chExt cx="396348" cy="347698"/>
            </a:xfrm>
          </p:grpSpPr>
          <p:grpSp>
            <p:nvGrpSpPr>
              <p:cNvPr id="192" name="Group 191">
                <a:extLst>
                  <a:ext uri="{FF2B5EF4-FFF2-40B4-BE49-F238E27FC236}">
                    <a16:creationId xmlns:a16="http://schemas.microsoft.com/office/drawing/2014/main" id="{FF1E52EF-6695-46E5-A8EE-1E13CC053E1D}"/>
                  </a:ext>
                </a:extLst>
              </p:cNvPr>
              <p:cNvGrpSpPr/>
              <p:nvPr/>
            </p:nvGrpSpPr>
            <p:grpSpPr>
              <a:xfrm flipH="1">
                <a:off x="8634499" y="2855984"/>
                <a:ext cx="396348" cy="347698"/>
                <a:chOff x="2107244" y="1575258"/>
                <a:chExt cx="310993" cy="264555"/>
              </a:xfrm>
              <a:noFill/>
            </p:grpSpPr>
            <p:sp>
              <p:nvSpPr>
                <p:cNvPr id="194" name="Rectangle 9">
                  <a:extLst>
                    <a:ext uri="{FF2B5EF4-FFF2-40B4-BE49-F238E27FC236}">
                      <a16:creationId xmlns:a16="http://schemas.microsoft.com/office/drawing/2014/main" id="{5C1F19A3-9710-4A0B-9A54-CC5237348CDD}"/>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95" name="Line 10">
                  <a:extLst>
                    <a:ext uri="{FF2B5EF4-FFF2-40B4-BE49-F238E27FC236}">
                      <a16:creationId xmlns:a16="http://schemas.microsoft.com/office/drawing/2014/main" id="{2827D21D-659A-49A5-9086-427979EA5E34}"/>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93" name="Oval 192">
                <a:extLst>
                  <a:ext uri="{FF2B5EF4-FFF2-40B4-BE49-F238E27FC236}">
                    <a16:creationId xmlns:a16="http://schemas.microsoft.com/office/drawing/2014/main" id="{AE7B9B23-B42B-4B1B-B489-1C04A466D926}"/>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91" name="Rectangle 190">
              <a:extLst>
                <a:ext uri="{FF2B5EF4-FFF2-40B4-BE49-F238E27FC236}">
                  <a16:creationId xmlns:a16="http://schemas.microsoft.com/office/drawing/2014/main" id="{9835B35D-4C93-4C67-A545-CD460FC840D2}"/>
                </a:ext>
              </a:extLst>
            </p:cNvPr>
            <p:cNvSpPr/>
            <p:nvPr/>
          </p:nvSpPr>
          <p:spPr>
            <a:xfrm>
              <a:off x="8553451" y="2776608"/>
              <a:ext cx="570138" cy="5064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spTree>
    <p:extLst>
      <p:ext uri="{BB962C8B-B14F-4D97-AF65-F5344CB8AC3E}">
        <p14:creationId xmlns:p14="http://schemas.microsoft.com/office/powerpoint/2010/main" val="21945112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3BB3F0-C6E8-4B45-BF0D-A821BECF14F2}"/>
              </a:ext>
            </a:extLst>
          </p:cNvPr>
          <p:cNvSpPr>
            <a:spLocks noGrp="1"/>
          </p:cNvSpPr>
          <p:nvPr>
            <p:ph type="title"/>
          </p:nvPr>
        </p:nvSpPr>
        <p:spPr>
          <a:xfrm>
            <a:off x="420902" y="255225"/>
            <a:ext cx="11018520" cy="553998"/>
          </a:xfrm>
        </p:spPr>
        <p:txBody>
          <a:bodyPr/>
          <a:lstStyle/>
          <a:p>
            <a:r>
              <a:rPr lang="en-US" dirty="0"/>
              <a:t>SQL Server Big Data Cluster Architecture</a:t>
            </a:r>
          </a:p>
        </p:txBody>
      </p:sp>
      <p:grpSp>
        <p:nvGrpSpPr>
          <p:cNvPr id="24" name="Group 23">
            <a:extLst>
              <a:ext uri="{FF2B5EF4-FFF2-40B4-BE49-F238E27FC236}">
                <a16:creationId xmlns:a16="http://schemas.microsoft.com/office/drawing/2014/main" id="{C15504BB-55FB-6D44-9A40-CE8EC6D29A61}"/>
              </a:ext>
            </a:extLst>
          </p:cNvPr>
          <p:cNvGrpSpPr/>
          <p:nvPr/>
        </p:nvGrpSpPr>
        <p:grpSpPr>
          <a:xfrm>
            <a:off x="2121895" y="1894433"/>
            <a:ext cx="9717457" cy="3679346"/>
            <a:chOff x="2207623" y="1668010"/>
            <a:chExt cx="9717457" cy="3679346"/>
          </a:xfrm>
        </p:grpSpPr>
        <p:sp>
          <p:nvSpPr>
            <p:cNvPr id="358" name="Rectangle 357">
              <a:extLst>
                <a:ext uri="{FF2B5EF4-FFF2-40B4-BE49-F238E27FC236}">
                  <a16:creationId xmlns:a16="http://schemas.microsoft.com/office/drawing/2014/main" id="{CD7CA6D3-F28E-6C4F-8710-4F89B59F298E}"/>
                </a:ext>
              </a:extLst>
            </p:cNvPr>
            <p:cNvSpPr/>
            <p:nvPr/>
          </p:nvSpPr>
          <p:spPr>
            <a:xfrm>
              <a:off x="2207623" y="1910200"/>
              <a:ext cx="9717457" cy="3437156"/>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prstClr val="white"/>
                </a:solidFill>
                <a:latin typeface="Segoe UI" panose="020B0502040204020203" pitchFamily="34" charset="0"/>
                <a:cs typeface="Segoe UI" panose="020B0502040204020203" pitchFamily="34" charset="0"/>
              </a:endParaRPr>
            </a:p>
          </p:txBody>
        </p:sp>
        <p:sp>
          <p:nvSpPr>
            <p:cNvPr id="171" name="TextBox 170">
              <a:extLst>
                <a:ext uri="{FF2B5EF4-FFF2-40B4-BE49-F238E27FC236}">
                  <a16:creationId xmlns:a16="http://schemas.microsoft.com/office/drawing/2014/main" id="{8D8A9E50-8E89-4463-9A06-114F5E9AC68D}"/>
                </a:ext>
              </a:extLst>
            </p:cNvPr>
            <p:cNvSpPr txBox="1"/>
            <p:nvPr/>
          </p:nvSpPr>
          <p:spPr>
            <a:xfrm>
              <a:off x="2207623" y="1668010"/>
              <a:ext cx="1269836" cy="230832"/>
            </a:xfrm>
            <a:prstGeom prst="rect">
              <a:avLst/>
            </a:prstGeom>
            <a:noFill/>
          </p:spPr>
          <p:txBody>
            <a:bodyPr wrap="square" lIns="91440" tIns="45720" rIns="91440" bIns="45720" rtlCol="0">
              <a:spAutoFit/>
            </a:bodyPr>
            <a:lstStyle>
              <a:defPPr>
                <a:defRPr lang="en-US"/>
              </a:defPPr>
              <a:lvl1pPr>
                <a:lnSpc>
                  <a:spcPct val="90000"/>
                </a:lnSpc>
                <a:spcAft>
                  <a:spcPts val="600"/>
                </a:spcAft>
                <a:defRPr sz="1400">
                  <a:gradFill>
                    <a:gsLst>
                      <a:gs pos="2917">
                        <a:schemeClr val="tx1"/>
                      </a:gs>
                      <a:gs pos="30000">
                        <a:schemeClr val="tx1"/>
                      </a:gs>
                    </a:gsLst>
                    <a:lin ang="5400000" scaled="0"/>
                  </a:gradFill>
                </a:defRPr>
              </a:lvl1pPr>
            </a:lstStyle>
            <a:p>
              <a:r>
                <a:rPr lang="en-US" sz="1000" dirty="0">
                  <a:latin typeface="Segoe UI" panose="020B0502040204020203" pitchFamily="34" charset="0"/>
                  <a:cs typeface="Segoe UI" panose="020B0502040204020203" pitchFamily="34" charset="0"/>
                </a:rPr>
                <a:t>Cluster</a:t>
              </a:r>
            </a:p>
          </p:txBody>
        </p:sp>
      </p:grpSp>
      <p:grpSp>
        <p:nvGrpSpPr>
          <p:cNvPr id="27" name="Group 26">
            <a:extLst>
              <a:ext uri="{FF2B5EF4-FFF2-40B4-BE49-F238E27FC236}">
                <a16:creationId xmlns:a16="http://schemas.microsoft.com/office/drawing/2014/main" id="{F3D145BC-F7D5-C540-A99E-50CCF5B1EBB7}"/>
              </a:ext>
            </a:extLst>
          </p:cNvPr>
          <p:cNvGrpSpPr/>
          <p:nvPr/>
        </p:nvGrpSpPr>
        <p:grpSpPr>
          <a:xfrm>
            <a:off x="6018494" y="2546169"/>
            <a:ext cx="4332209" cy="1428112"/>
            <a:chOff x="6104222" y="2319746"/>
            <a:chExt cx="4332209" cy="1428112"/>
          </a:xfrm>
        </p:grpSpPr>
        <p:grpSp>
          <p:nvGrpSpPr>
            <p:cNvPr id="14" name="Group 13">
              <a:extLst>
                <a:ext uri="{FF2B5EF4-FFF2-40B4-BE49-F238E27FC236}">
                  <a16:creationId xmlns:a16="http://schemas.microsoft.com/office/drawing/2014/main" id="{7EF3B390-4933-9E44-AD53-E25E23CB21B1}"/>
                </a:ext>
              </a:extLst>
            </p:cNvPr>
            <p:cNvGrpSpPr/>
            <p:nvPr/>
          </p:nvGrpSpPr>
          <p:grpSpPr>
            <a:xfrm>
              <a:off x="6104222" y="2319746"/>
              <a:ext cx="4332209" cy="1023523"/>
              <a:chOff x="6104222" y="2319746"/>
              <a:chExt cx="4332209" cy="1023523"/>
            </a:xfrm>
          </p:grpSpPr>
          <p:cxnSp>
            <p:nvCxnSpPr>
              <p:cNvPr id="13" name="Straight Arrow Connector 12">
                <a:extLst>
                  <a:ext uri="{FF2B5EF4-FFF2-40B4-BE49-F238E27FC236}">
                    <a16:creationId xmlns:a16="http://schemas.microsoft.com/office/drawing/2014/main" id="{5B1FE8DC-0528-4919-B74D-E53AA4CDFF23}"/>
                  </a:ext>
                </a:extLst>
              </p:cNvPr>
              <p:cNvCxnSpPr>
                <a:cxnSpLocks/>
              </p:cNvCxnSpPr>
              <p:nvPr/>
            </p:nvCxnSpPr>
            <p:spPr>
              <a:xfrm>
                <a:off x="8107165" y="2319746"/>
                <a:ext cx="1" cy="174284"/>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F6BC3D8E-080D-444B-9279-5C3E5FF372F3}"/>
                  </a:ext>
                </a:extLst>
              </p:cNvPr>
              <p:cNvGrpSpPr/>
              <p:nvPr/>
            </p:nvGrpSpPr>
            <p:grpSpPr>
              <a:xfrm>
                <a:off x="6104222" y="2552611"/>
                <a:ext cx="4332209" cy="790658"/>
                <a:chOff x="6104222" y="2941231"/>
                <a:chExt cx="4332209" cy="790658"/>
              </a:xfrm>
            </p:grpSpPr>
            <p:sp>
              <p:nvSpPr>
                <p:cNvPr id="370" name="Rectangle 369">
                  <a:extLst>
                    <a:ext uri="{FF2B5EF4-FFF2-40B4-BE49-F238E27FC236}">
                      <a16:creationId xmlns:a16="http://schemas.microsoft.com/office/drawing/2014/main" id="{83F84B8E-3B50-C547-8BBB-522B1D0BF60A}"/>
                    </a:ext>
                  </a:extLst>
                </p:cNvPr>
                <p:cNvSpPr/>
                <p:nvPr/>
              </p:nvSpPr>
              <p:spPr>
                <a:xfrm>
                  <a:off x="6104222" y="2941231"/>
                  <a:ext cx="4332209" cy="790658"/>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r>
                    <a:rPr lang="en-US" sz="1000" b="1" dirty="0">
                      <a:solidFill>
                        <a:schemeClr val="tx2"/>
                      </a:solidFill>
                      <a:latin typeface="+mj-lt"/>
                      <a:cs typeface="Segoe UI" panose="020B0502040204020203" pitchFamily="34" charset="0"/>
                    </a:rPr>
                    <a:t>Compute pool</a:t>
                  </a:r>
                </a:p>
              </p:txBody>
            </p:sp>
            <p:sp>
              <p:nvSpPr>
                <p:cNvPr id="176" name="Rectangle 175">
                  <a:extLst>
                    <a:ext uri="{FF2B5EF4-FFF2-40B4-BE49-F238E27FC236}">
                      <a16:creationId xmlns:a16="http://schemas.microsoft.com/office/drawing/2014/main" id="{24CAFD6D-9677-4A43-BFB9-F66AD8A0F2C8}"/>
                    </a:ext>
                  </a:extLst>
                </p:cNvPr>
                <p:cNvSpPr/>
                <p:nvPr/>
              </p:nvSpPr>
              <p:spPr>
                <a:xfrm>
                  <a:off x="6217111" y="3216793"/>
                  <a:ext cx="1160433" cy="400110"/>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000" dirty="0">
                      <a:solidFill>
                        <a:schemeClr val="tx1"/>
                      </a:solidFill>
                      <a:latin typeface="Segoe UI" panose="020B0502040204020203" pitchFamily="34" charset="0"/>
                      <a:cs typeface="Segoe UI" panose="020B0502040204020203" pitchFamily="34" charset="0"/>
                    </a:rPr>
                    <a:t>SQL Compute Node</a:t>
                  </a:r>
                </a:p>
              </p:txBody>
            </p:sp>
            <p:sp>
              <p:nvSpPr>
                <p:cNvPr id="177" name="Rectangle 176">
                  <a:extLst>
                    <a:ext uri="{FF2B5EF4-FFF2-40B4-BE49-F238E27FC236}">
                      <a16:creationId xmlns:a16="http://schemas.microsoft.com/office/drawing/2014/main" id="{C6D412FC-B60A-4C64-A9AC-1B69BD6D09B5}"/>
                    </a:ext>
                  </a:extLst>
                </p:cNvPr>
                <p:cNvSpPr/>
                <p:nvPr/>
              </p:nvSpPr>
              <p:spPr>
                <a:xfrm>
                  <a:off x="7488640" y="3216793"/>
                  <a:ext cx="1187866" cy="400110"/>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000" dirty="0">
                      <a:solidFill>
                        <a:schemeClr val="tx1"/>
                      </a:solidFill>
                      <a:latin typeface="Segoe UI" panose="020B0502040204020203" pitchFamily="34" charset="0"/>
                      <a:cs typeface="Segoe UI" panose="020B0502040204020203" pitchFamily="34" charset="0"/>
                    </a:rPr>
                    <a:t>SQL Compute Node</a:t>
                  </a:r>
                </a:p>
              </p:txBody>
            </p:sp>
            <p:sp>
              <p:nvSpPr>
                <p:cNvPr id="178" name="Rectangle 177">
                  <a:extLst>
                    <a:ext uri="{FF2B5EF4-FFF2-40B4-BE49-F238E27FC236}">
                      <a16:creationId xmlns:a16="http://schemas.microsoft.com/office/drawing/2014/main" id="{9A7168CA-422D-45FB-BE5B-455C7C547498}"/>
                    </a:ext>
                  </a:extLst>
                </p:cNvPr>
                <p:cNvSpPr/>
                <p:nvPr/>
              </p:nvSpPr>
              <p:spPr>
                <a:xfrm>
                  <a:off x="9155070" y="3216793"/>
                  <a:ext cx="1170774" cy="400110"/>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000" dirty="0">
                      <a:solidFill>
                        <a:schemeClr val="tx1"/>
                      </a:solidFill>
                      <a:latin typeface="Segoe UI" panose="020B0502040204020203" pitchFamily="34" charset="0"/>
                      <a:cs typeface="Segoe UI" panose="020B0502040204020203" pitchFamily="34" charset="0"/>
                    </a:rPr>
                    <a:t>SQL Compute Node</a:t>
                  </a:r>
                </a:p>
              </p:txBody>
            </p:sp>
            <p:sp>
              <p:nvSpPr>
                <p:cNvPr id="179" name="Rectangle 178">
                  <a:extLst>
                    <a:ext uri="{FF2B5EF4-FFF2-40B4-BE49-F238E27FC236}">
                      <a16:creationId xmlns:a16="http://schemas.microsoft.com/office/drawing/2014/main" id="{BE9E4212-8ABB-460D-B29A-A98FC38E127B}"/>
                    </a:ext>
                  </a:extLst>
                </p:cNvPr>
                <p:cNvSpPr/>
                <p:nvPr/>
              </p:nvSpPr>
              <p:spPr>
                <a:xfrm>
                  <a:off x="8835922" y="3286043"/>
                  <a:ext cx="224100" cy="261610"/>
                </a:xfrm>
                <a:prstGeom prst="rect">
                  <a:avLst/>
                </a:prstGeom>
                <a:noFill/>
                <a:ln w="12700">
                  <a:no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100" b="1" dirty="0">
                      <a:solidFill>
                        <a:schemeClr val="tx1"/>
                      </a:solidFill>
                      <a:latin typeface="Segoe UI" panose="020B0502040204020203" pitchFamily="34" charset="0"/>
                      <a:cs typeface="Segoe UI" panose="020B0502040204020203" pitchFamily="34" charset="0"/>
                    </a:rPr>
                    <a:t>…</a:t>
                  </a:r>
                </a:p>
              </p:txBody>
            </p:sp>
          </p:grpSp>
        </p:grpSp>
        <p:cxnSp>
          <p:nvCxnSpPr>
            <p:cNvPr id="37" name="Straight Connector 36">
              <a:extLst>
                <a:ext uri="{FF2B5EF4-FFF2-40B4-BE49-F238E27FC236}">
                  <a16:creationId xmlns:a16="http://schemas.microsoft.com/office/drawing/2014/main" id="{672E99E8-03BF-4768-9763-5F93EB31AB24}"/>
                </a:ext>
              </a:extLst>
            </p:cNvPr>
            <p:cNvCxnSpPr>
              <a:cxnSpLocks/>
            </p:cNvCxnSpPr>
            <p:nvPr/>
          </p:nvCxnSpPr>
          <p:spPr>
            <a:xfrm>
              <a:off x="8063790" y="3218839"/>
              <a:ext cx="0" cy="529019"/>
            </a:xfrm>
            <a:prstGeom prst="line">
              <a:avLst/>
            </a:prstGeom>
            <a:ln w="12700">
              <a:solidFill>
                <a:srgbClr val="757575"/>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F435F568-8824-914C-857C-D6D985A3D075}"/>
              </a:ext>
            </a:extLst>
          </p:cNvPr>
          <p:cNvGrpSpPr/>
          <p:nvPr/>
        </p:nvGrpSpPr>
        <p:grpSpPr>
          <a:xfrm>
            <a:off x="284612" y="2505658"/>
            <a:ext cx="7735082" cy="1075205"/>
            <a:chOff x="370340" y="2279235"/>
            <a:chExt cx="7735082" cy="1075205"/>
          </a:xfrm>
        </p:grpSpPr>
        <p:cxnSp>
          <p:nvCxnSpPr>
            <p:cNvPr id="136" name="Straight Connector 135">
              <a:extLst>
                <a:ext uri="{FF2B5EF4-FFF2-40B4-BE49-F238E27FC236}">
                  <a16:creationId xmlns:a16="http://schemas.microsoft.com/office/drawing/2014/main" id="{6601B619-AA66-3E4B-A7F9-851582DEDEB8}"/>
                </a:ext>
              </a:extLst>
            </p:cNvPr>
            <p:cNvCxnSpPr>
              <a:cxnSpLocks/>
              <a:stCxn id="172" idx="1"/>
            </p:cNvCxnSpPr>
            <p:nvPr/>
          </p:nvCxnSpPr>
          <p:spPr>
            <a:xfrm flipH="1">
              <a:off x="1982626" y="3028228"/>
              <a:ext cx="547982" cy="0"/>
            </a:xfrm>
            <a:prstGeom prst="line">
              <a:avLst/>
            </a:prstGeom>
            <a:ln w="12700">
              <a:solidFill>
                <a:srgbClr val="757575"/>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72C2846D-2A52-454A-B91F-6D413BDB1F95}"/>
                </a:ext>
              </a:extLst>
            </p:cNvPr>
            <p:cNvGrpSpPr/>
            <p:nvPr/>
          </p:nvGrpSpPr>
          <p:grpSpPr>
            <a:xfrm>
              <a:off x="370340" y="2279235"/>
              <a:ext cx="7735082" cy="1075205"/>
              <a:chOff x="370340" y="2279235"/>
              <a:chExt cx="7735082" cy="1075205"/>
            </a:xfrm>
          </p:grpSpPr>
          <p:grpSp>
            <p:nvGrpSpPr>
              <p:cNvPr id="40" name="Group 39">
                <a:extLst>
                  <a:ext uri="{FF2B5EF4-FFF2-40B4-BE49-F238E27FC236}">
                    <a16:creationId xmlns:a16="http://schemas.microsoft.com/office/drawing/2014/main" id="{007B1569-CC16-4ACA-B378-441F54B50587}"/>
                  </a:ext>
                </a:extLst>
              </p:cNvPr>
              <p:cNvGrpSpPr/>
              <p:nvPr/>
            </p:nvGrpSpPr>
            <p:grpSpPr>
              <a:xfrm>
                <a:off x="2413947" y="2552611"/>
                <a:ext cx="1226561" cy="790658"/>
                <a:chOff x="2413947" y="2847225"/>
                <a:chExt cx="1226561" cy="790658"/>
              </a:xfrm>
            </p:grpSpPr>
            <p:sp>
              <p:nvSpPr>
                <p:cNvPr id="383" name="Rectangle 382">
                  <a:extLst>
                    <a:ext uri="{FF2B5EF4-FFF2-40B4-BE49-F238E27FC236}">
                      <a16:creationId xmlns:a16="http://schemas.microsoft.com/office/drawing/2014/main" id="{60D70C8C-47F1-A048-8107-CDF80A6B0E6A}"/>
                    </a:ext>
                  </a:extLst>
                </p:cNvPr>
                <p:cNvSpPr/>
                <p:nvPr/>
              </p:nvSpPr>
              <p:spPr>
                <a:xfrm>
                  <a:off x="2413947" y="2847225"/>
                  <a:ext cx="1226561" cy="790658"/>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r>
                    <a:rPr lang="en-US" sz="1000" b="1" dirty="0">
                      <a:solidFill>
                        <a:schemeClr val="tx2"/>
                      </a:solidFill>
                      <a:latin typeface="+mj-lt"/>
                      <a:cs typeface="Segoe UI" panose="020B0502040204020203" pitchFamily="34" charset="0"/>
                    </a:rPr>
                    <a:t>Compute pool</a:t>
                  </a:r>
                </a:p>
              </p:txBody>
            </p:sp>
            <p:sp>
              <p:nvSpPr>
                <p:cNvPr id="172" name="Rectangle 171">
                  <a:extLst>
                    <a:ext uri="{FF2B5EF4-FFF2-40B4-BE49-F238E27FC236}">
                      <a16:creationId xmlns:a16="http://schemas.microsoft.com/office/drawing/2014/main" id="{89DC9FD9-105B-4316-94A7-BDB88592F37C}"/>
                    </a:ext>
                  </a:extLst>
                </p:cNvPr>
                <p:cNvSpPr/>
                <p:nvPr/>
              </p:nvSpPr>
              <p:spPr>
                <a:xfrm>
                  <a:off x="2530608" y="3122787"/>
                  <a:ext cx="990116" cy="400110"/>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000" dirty="0">
                      <a:solidFill>
                        <a:schemeClr val="tx1"/>
                      </a:solidFill>
                      <a:latin typeface="Segoe UI" panose="020B0502040204020203" pitchFamily="34" charset="0"/>
                      <a:cs typeface="Segoe UI" panose="020B0502040204020203" pitchFamily="34" charset="0"/>
                    </a:rPr>
                    <a:t>SQL Compute Node</a:t>
                  </a:r>
                </a:p>
              </p:txBody>
            </p:sp>
          </p:grpSp>
          <p:grpSp>
            <p:nvGrpSpPr>
              <p:cNvPr id="44" name="Group 43">
                <a:extLst>
                  <a:ext uri="{FF2B5EF4-FFF2-40B4-BE49-F238E27FC236}">
                    <a16:creationId xmlns:a16="http://schemas.microsoft.com/office/drawing/2014/main" id="{C0B88CBD-5512-479C-B733-1723750AA82D}"/>
                  </a:ext>
                </a:extLst>
              </p:cNvPr>
              <p:cNvGrpSpPr/>
              <p:nvPr/>
            </p:nvGrpSpPr>
            <p:grpSpPr>
              <a:xfrm>
                <a:off x="370340" y="2279235"/>
                <a:ext cx="1618588" cy="1075205"/>
                <a:chOff x="370340" y="3924085"/>
                <a:chExt cx="1618588" cy="1075205"/>
              </a:xfrm>
            </p:grpSpPr>
            <p:sp>
              <p:nvSpPr>
                <p:cNvPr id="378" name="Rectangle 377">
                  <a:extLst>
                    <a:ext uri="{FF2B5EF4-FFF2-40B4-BE49-F238E27FC236}">
                      <a16:creationId xmlns:a16="http://schemas.microsoft.com/office/drawing/2014/main" id="{26DAA9E4-FAB4-0A44-9035-DB460FC7AFED}"/>
                    </a:ext>
                  </a:extLst>
                </p:cNvPr>
                <p:cNvSpPr/>
                <p:nvPr/>
              </p:nvSpPr>
              <p:spPr>
                <a:xfrm>
                  <a:off x="446314" y="4187440"/>
                  <a:ext cx="1542614" cy="8118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endParaRPr lang="en-US" sz="1200" dirty="0">
                    <a:solidFill>
                      <a:schemeClr val="tx2"/>
                    </a:solidFill>
                    <a:latin typeface="Segoe UI" panose="020B0502040204020203" pitchFamily="34" charset="0"/>
                    <a:cs typeface="Segoe UI" panose="020B0502040204020203" pitchFamily="34" charset="0"/>
                  </a:endParaRPr>
                </a:p>
              </p:txBody>
            </p:sp>
            <p:sp>
              <p:nvSpPr>
                <p:cNvPr id="130" name="TextBox 129">
                  <a:extLst>
                    <a:ext uri="{FF2B5EF4-FFF2-40B4-BE49-F238E27FC236}">
                      <a16:creationId xmlns:a16="http://schemas.microsoft.com/office/drawing/2014/main" id="{7C46B434-30D1-4547-B4A6-CAF0CEB9F8A1}"/>
                    </a:ext>
                  </a:extLst>
                </p:cNvPr>
                <p:cNvSpPr txBox="1"/>
                <p:nvPr/>
              </p:nvSpPr>
              <p:spPr>
                <a:xfrm>
                  <a:off x="370340" y="3924085"/>
                  <a:ext cx="1613999" cy="230832"/>
                </a:xfrm>
                <a:prstGeom prst="rect">
                  <a:avLst/>
                </a:prstGeom>
                <a:noFill/>
              </p:spPr>
              <p:txBody>
                <a:bodyPr wrap="square" lIns="91440" tIns="45720" rIns="91440" bIns="45720" rtlCol="0">
                  <a:spAutoFit/>
                </a:bodyPr>
                <a:lstStyle>
                  <a:defPPr>
                    <a:defRPr lang="en-US"/>
                  </a:defPPr>
                  <a:lvl1pPr>
                    <a:lnSpc>
                      <a:spcPct val="90000"/>
                    </a:lnSpc>
                    <a:spcAft>
                      <a:spcPts val="600"/>
                    </a:spcAft>
                    <a:defRPr sz="1200">
                      <a:gradFill>
                        <a:gsLst>
                          <a:gs pos="2917">
                            <a:schemeClr val="tx1"/>
                          </a:gs>
                          <a:gs pos="30000">
                            <a:schemeClr val="tx1"/>
                          </a:gs>
                        </a:gsLst>
                        <a:lin ang="5400000" scaled="0"/>
                      </a:gradFill>
                    </a:defRPr>
                  </a:lvl1pPr>
                </a:lstStyle>
                <a:p>
                  <a:r>
                    <a:rPr lang="en-US" sz="1000" dirty="0">
                      <a:latin typeface="Segoe UI" panose="020B0502040204020203" pitchFamily="34" charset="0"/>
                      <a:cs typeface="Segoe UI" panose="020B0502040204020203" pitchFamily="34" charset="0"/>
                    </a:rPr>
                    <a:t>External data sources</a:t>
                  </a:r>
                </a:p>
              </p:txBody>
            </p:sp>
            <p:pic>
              <p:nvPicPr>
                <p:cNvPr id="16" name="Picture 15">
                  <a:extLst>
                    <a:ext uri="{FF2B5EF4-FFF2-40B4-BE49-F238E27FC236}">
                      <a16:creationId xmlns:a16="http://schemas.microsoft.com/office/drawing/2014/main" id="{BA283E28-207B-4F29-A869-50C56DFE322D}"/>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551142" y="4686332"/>
                  <a:ext cx="653815" cy="177602"/>
                </a:xfrm>
                <a:prstGeom prst="rect">
                  <a:avLst/>
                </a:prstGeom>
              </p:spPr>
            </p:pic>
            <p:pic>
              <p:nvPicPr>
                <p:cNvPr id="18" name="Picture 17">
                  <a:extLst>
                    <a:ext uri="{FF2B5EF4-FFF2-40B4-BE49-F238E27FC236}">
                      <a16:creationId xmlns:a16="http://schemas.microsoft.com/office/drawing/2014/main" id="{79FFACEE-9020-46F6-8ED1-9402CB42F245}"/>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349930" y="4377334"/>
                  <a:ext cx="488117" cy="112526"/>
                </a:xfrm>
                <a:prstGeom prst="rect">
                  <a:avLst/>
                </a:prstGeom>
              </p:spPr>
            </p:pic>
            <p:pic>
              <p:nvPicPr>
                <p:cNvPr id="21" name="Picture 20">
                  <a:extLst>
                    <a:ext uri="{FF2B5EF4-FFF2-40B4-BE49-F238E27FC236}">
                      <a16:creationId xmlns:a16="http://schemas.microsoft.com/office/drawing/2014/main" id="{D80B2BB8-C926-4C5F-8542-983C8CA009D4}"/>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1333686" y="4738698"/>
                  <a:ext cx="585535" cy="83017"/>
                </a:xfrm>
                <a:prstGeom prst="rect">
                  <a:avLst/>
                </a:prstGeom>
              </p:spPr>
            </p:pic>
            <p:pic>
              <p:nvPicPr>
                <p:cNvPr id="29" name="Picture 28">
                  <a:extLst>
                    <a:ext uri="{FF2B5EF4-FFF2-40B4-BE49-F238E27FC236}">
                      <a16:creationId xmlns:a16="http://schemas.microsoft.com/office/drawing/2014/main" id="{3F690E81-88FC-43A4-AB7A-BFA86C18B261}"/>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508913" y="4257906"/>
                  <a:ext cx="678953" cy="342792"/>
                </a:xfrm>
                <a:prstGeom prst="rect">
                  <a:avLst/>
                </a:prstGeom>
              </p:spPr>
            </p:pic>
          </p:grpSp>
          <p:sp>
            <p:nvSpPr>
              <p:cNvPr id="288" name="Freeform 287">
                <a:extLst>
                  <a:ext uri="{FF2B5EF4-FFF2-40B4-BE49-F238E27FC236}">
                    <a16:creationId xmlns:a16="http://schemas.microsoft.com/office/drawing/2014/main" id="{C8D41B75-444A-8E44-938F-7E779329E1A8}"/>
                  </a:ext>
                </a:extLst>
              </p:cNvPr>
              <p:cNvSpPr/>
              <p:nvPr/>
            </p:nvSpPr>
            <p:spPr bwMode="auto">
              <a:xfrm rot="10800000">
                <a:off x="2945404" y="2371995"/>
                <a:ext cx="5160018" cy="146273"/>
              </a:xfrm>
              <a:custGeom>
                <a:avLst/>
                <a:gdLst>
                  <a:gd name="connsiteX0" fmla="*/ 0 w 711200"/>
                  <a:gd name="connsiteY0" fmla="*/ 0 h 136525"/>
                  <a:gd name="connsiteX1" fmla="*/ 0 w 711200"/>
                  <a:gd name="connsiteY1" fmla="*/ 136525 h 136525"/>
                  <a:gd name="connsiteX2" fmla="*/ 711200 w 711200"/>
                  <a:gd name="connsiteY2" fmla="*/ 136525 h 136525"/>
                  <a:gd name="connsiteX3" fmla="*/ 711200 w 711200"/>
                  <a:gd name="connsiteY3" fmla="*/ 3175 h 136525"/>
                  <a:gd name="connsiteX0" fmla="*/ 0 w 711200"/>
                  <a:gd name="connsiteY0" fmla="*/ 133350 h 133350"/>
                  <a:gd name="connsiteX1" fmla="*/ 711200 w 711200"/>
                  <a:gd name="connsiteY1" fmla="*/ 133350 h 133350"/>
                  <a:gd name="connsiteX2" fmla="*/ 711200 w 711200"/>
                  <a:gd name="connsiteY2" fmla="*/ 0 h 133350"/>
                </a:gdLst>
                <a:ahLst/>
                <a:cxnLst>
                  <a:cxn ang="0">
                    <a:pos x="connsiteX0" y="connsiteY0"/>
                  </a:cxn>
                  <a:cxn ang="0">
                    <a:pos x="connsiteX1" y="connsiteY1"/>
                  </a:cxn>
                  <a:cxn ang="0">
                    <a:pos x="connsiteX2" y="connsiteY2"/>
                  </a:cxn>
                </a:cxnLst>
                <a:rect l="l" t="t" r="r" b="b"/>
                <a:pathLst>
                  <a:path w="711200" h="133350">
                    <a:moveTo>
                      <a:pt x="0" y="133350"/>
                    </a:moveTo>
                    <a:lnTo>
                      <a:pt x="711200" y="133350"/>
                    </a:lnTo>
                    <a:lnTo>
                      <a:pt x="711200" y="0"/>
                    </a:lnTo>
                  </a:path>
                </a:pathLst>
              </a:custGeom>
              <a:noFill/>
              <a:ln w="12700">
                <a:solidFill>
                  <a:srgbClr val="757575"/>
                </a:solidFill>
                <a:prstDash val="soli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endParaRPr>
              </a:p>
            </p:txBody>
          </p:sp>
        </p:grpSp>
      </p:grpSp>
      <p:grpSp>
        <p:nvGrpSpPr>
          <p:cNvPr id="22" name="Group 21">
            <a:extLst>
              <a:ext uri="{FF2B5EF4-FFF2-40B4-BE49-F238E27FC236}">
                <a16:creationId xmlns:a16="http://schemas.microsoft.com/office/drawing/2014/main" id="{ED019FB9-EE28-D74D-86B4-38FA07D173EC}"/>
              </a:ext>
            </a:extLst>
          </p:cNvPr>
          <p:cNvGrpSpPr/>
          <p:nvPr/>
        </p:nvGrpSpPr>
        <p:grpSpPr>
          <a:xfrm>
            <a:off x="562325" y="3591197"/>
            <a:ext cx="3157593" cy="1853193"/>
            <a:chOff x="648053" y="3364774"/>
            <a:chExt cx="3157593" cy="1853193"/>
          </a:xfrm>
        </p:grpSpPr>
        <p:grpSp>
          <p:nvGrpSpPr>
            <p:cNvPr id="20" name="Group 19">
              <a:extLst>
                <a:ext uri="{FF2B5EF4-FFF2-40B4-BE49-F238E27FC236}">
                  <a16:creationId xmlns:a16="http://schemas.microsoft.com/office/drawing/2014/main" id="{01180750-AC36-E14C-B8A7-DA58F9BBDA72}"/>
                </a:ext>
              </a:extLst>
            </p:cNvPr>
            <p:cNvGrpSpPr/>
            <p:nvPr/>
          </p:nvGrpSpPr>
          <p:grpSpPr>
            <a:xfrm>
              <a:off x="648053" y="3364774"/>
              <a:ext cx="3157593" cy="1853193"/>
              <a:chOff x="648053" y="3364774"/>
              <a:chExt cx="3157593" cy="1853193"/>
            </a:xfrm>
          </p:grpSpPr>
          <p:sp>
            <p:nvSpPr>
              <p:cNvPr id="9" name="Freeform 8">
                <a:extLst>
                  <a:ext uri="{FF2B5EF4-FFF2-40B4-BE49-F238E27FC236}">
                    <a16:creationId xmlns:a16="http://schemas.microsoft.com/office/drawing/2014/main" id="{FD085326-2DEC-E142-A618-125D1ACD16F8}"/>
                  </a:ext>
                </a:extLst>
              </p:cNvPr>
              <p:cNvSpPr/>
              <p:nvPr/>
            </p:nvSpPr>
            <p:spPr bwMode="auto">
              <a:xfrm>
                <a:off x="1175657" y="3364774"/>
                <a:ext cx="2629989" cy="914400"/>
              </a:xfrm>
              <a:custGeom>
                <a:avLst/>
                <a:gdLst>
                  <a:gd name="connsiteX0" fmla="*/ 2629989 w 2629989"/>
                  <a:gd name="connsiteY0" fmla="*/ 914400 h 914400"/>
                  <a:gd name="connsiteX1" fmla="*/ 0 w 2629989"/>
                  <a:gd name="connsiteY1" fmla="*/ 914400 h 914400"/>
                  <a:gd name="connsiteX2" fmla="*/ 0 w 2629989"/>
                  <a:gd name="connsiteY2" fmla="*/ 0 h 914400"/>
                </a:gdLst>
                <a:ahLst/>
                <a:cxnLst>
                  <a:cxn ang="0">
                    <a:pos x="connsiteX0" y="connsiteY0"/>
                  </a:cxn>
                  <a:cxn ang="0">
                    <a:pos x="connsiteX1" y="connsiteY1"/>
                  </a:cxn>
                  <a:cxn ang="0">
                    <a:pos x="connsiteX2" y="connsiteY2"/>
                  </a:cxn>
                </a:cxnLst>
                <a:rect l="l" t="t" r="r" b="b"/>
                <a:pathLst>
                  <a:path w="2629989" h="914400">
                    <a:moveTo>
                      <a:pt x="2629989" y="914400"/>
                    </a:moveTo>
                    <a:lnTo>
                      <a:pt x="0" y="914400"/>
                    </a:lnTo>
                    <a:lnTo>
                      <a:pt x="0" y="0"/>
                    </a:lnTo>
                  </a:path>
                </a:pathLst>
              </a:custGeom>
              <a:noFill/>
              <a:ln w="12700">
                <a:solidFill>
                  <a:srgbClr val="757575"/>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endParaRPr>
              </a:p>
            </p:txBody>
          </p:sp>
          <p:grpSp>
            <p:nvGrpSpPr>
              <p:cNvPr id="3" name="Group 2">
                <a:extLst>
                  <a:ext uri="{FF2B5EF4-FFF2-40B4-BE49-F238E27FC236}">
                    <a16:creationId xmlns:a16="http://schemas.microsoft.com/office/drawing/2014/main" id="{C4B5A3B7-C252-7246-8581-3B93DD47C4C1}"/>
                  </a:ext>
                </a:extLst>
              </p:cNvPr>
              <p:cNvGrpSpPr/>
              <p:nvPr/>
            </p:nvGrpSpPr>
            <p:grpSpPr>
              <a:xfrm>
                <a:off x="648053" y="4681467"/>
                <a:ext cx="3157593" cy="536500"/>
                <a:chOff x="648053" y="5070087"/>
                <a:chExt cx="3157593" cy="536500"/>
              </a:xfrm>
            </p:grpSpPr>
            <p:sp>
              <p:nvSpPr>
                <p:cNvPr id="250" name="Rectangle: Rounded Corners 53">
                  <a:extLst>
                    <a:ext uri="{FF2B5EF4-FFF2-40B4-BE49-F238E27FC236}">
                      <a16:creationId xmlns:a16="http://schemas.microsoft.com/office/drawing/2014/main" id="{D47238E0-BC9C-DD41-A1BC-9B72ACF203A5}"/>
                    </a:ext>
                  </a:extLst>
                </p:cNvPr>
                <p:cNvSpPr/>
                <p:nvPr/>
              </p:nvSpPr>
              <p:spPr>
                <a:xfrm>
                  <a:off x="648053" y="5284119"/>
                  <a:ext cx="1125072" cy="322468"/>
                </a:xfrm>
                <a:prstGeom prst="rect">
                  <a:avLst/>
                </a:prstGeom>
                <a:noFill/>
                <a:ln w="1079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78D7"/>
                      </a:solidFill>
                      <a:effectLst/>
                      <a:uLnTx/>
                      <a:uFillTx/>
                      <a:latin typeface="+mj-lt"/>
                      <a:cs typeface="Segoe UI" panose="020B0502040204020203" pitchFamily="34" charset="0"/>
                    </a:rPr>
                    <a:t>IoT data</a:t>
                  </a:r>
                </a:p>
              </p:txBody>
            </p:sp>
            <p:sp>
              <p:nvSpPr>
                <p:cNvPr id="251" name="Freeform 250">
                  <a:extLst>
                    <a:ext uri="{FF2B5EF4-FFF2-40B4-BE49-F238E27FC236}">
                      <a16:creationId xmlns:a16="http://schemas.microsoft.com/office/drawing/2014/main" id="{9ADFCDB4-1A25-2D47-B4F4-77C816A2688B}"/>
                    </a:ext>
                  </a:extLst>
                </p:cNvPr>
                <p:cNvSpPr/>
                <p:nvPr/>
              </p:nvSpPr>
              <p:spPr bwMode="auto">
                <a:xfrm flipV="1">
                  <a:off x="1583473" y="5070087"/>
                  <a:ext cx="2222173" cy="45719"/>
                </a:xfrm>
                <a:custGeom>
                  <a:avLst/>
                  <a:gdLst>
                    <a:gd name="connsiteX0" fmla="*/ 2629989 w 2629989"/>
                    <a:gd name="connsiteY0" fmla="*/ 914400 h 914400"/>
                    <a:gd name="connsiteX1" fmla="*/ 0 w 2629989"/>
                    <a:gd name="connsiteY1" fmla="*/ 914400 h 914400"/>
                    <a:gd name="connsiteX2" fmla="*/ 0 w 2629989"/>
                    <a:gd name="connsiteY2" fmla="*/ 0 h 914400"/>
                    <a:gd name="connsiteX0" fmla="*/ 2629989 w 2629989"/>
                    <a:gd name="connsiteY0" fmla="*/ 0 h 0"/>
                    <a:gd name="connsiteX1" fmla="*/ 0 w 2629989"/>
                    <a:gd name="connsiteY1" fmla="*/ 0 h 0"/>
                  </a:gdLst>
                  <a:ahLst/>
                  <a:cxnLst>
                    <a:cxn ang="0">
                      <a:pos x="connsiteX0" y="connsiteY0"/>
                    </a:cxn>
                    <a:cxn ang="0">
                      <a:pos x="connsiteX1" y="connsiteY1"/>
                    </a:cxn>
                  </a:cxnLst>
                  <a:rect l="l" t="t" r="r" b="b"/>
                  <a:pathLst>
                    <a:path w="2629989">
                      <a:moveTo>
                        <a:pt x="2629989" y="0"/>
                      </a:moveTo>
                      <a:lnTo>
                        <a:pt x="0" y="0"/>
                      </a:lnTo>
                    </a:path>
                  </a:pathLst>
                </a:custGeom>
                <a:noFill/>
                <a:ln w="12700">
                  <a:solidFill>
                    <a:srgbClr val="757575"/>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endParaRPr>
                </a:p>
              </p:txBody>
            </p:sp>
          </p:grpSp>
        </p:grpSp>
        <p:grpSp>
          <p:nvGrpSpPr>
            <p:cNvPr id="236" name="Group 235">
              <a:extLst>
                <a:ext uri="{FF2B5EF4-FFF2-40B4-BE49-F238E27FC236}">
                  <a16:creationId xmlns:a16="http://schemas.microsoft.com/office/drawing/2014/main" id="{3712DC54-4164-1B46-8B3B-817ECEF68F65}"/>
                </a:ext>
              </a:extLst>
            </p:cNvPr>
            <p:cNvGrpSpPr/>
            <p:nvPr/>
          </p:nvGrpSpPr>
          <p:grpSpPr>
            <a:xfrm>
              <a:off x="997320" y="4591136"/>
              <a:ext cx="440602" cy="311882"/>
              <a:chOff x="6309111" y="4815821"/>
              <a:chExt cx="657292" cy="465267"/>
            </a:xfrm>
          </p:grpSpPr>
          <p:sp>
            <p:nvSpPr>
              <p:cNvPr id="237" name="Freeform 236">
                <a:extLst>
                  <a:ext uri="{FF2B5EF4-FFF2-40B4-BE49-F238E27FC236}">
                    <a16:creationId xmlns:a16="http://schemas.microsoft.com/office/drawing/2014/main" id="{5D90E92C-405B-3F42-B2D3-C1044DC6A471}"/>
                  </a:ext>
                </a:extLst>
              </p:cNvPr>
              <p:cNvSpPr/>
              <p:nvPr/>
            </p:nvSpPr>
            <p:spPr bwMode="auto">
              <a:xfrm rot="10800000" flipH="1">
                <a:off x="6309111" y="4976523"/>
                <a:ext cx="657292" cy="256793"/>
              </a:xfrm>
              <a:custGeom>
                <a:avLst/>
                <a:gdLst>
                  <a:gd name="connsiteX0" fmla="*/ 299413 w 530284"/>
                  <a:gd name="connsiteY0" fmla="*/ 235659 h 235659"/>
                  <a:gd name="connsiteX1" fmla="*/ 436233 w 530284"/>
                  <a:gd name="connsiteY1" fmla="*/ 235659 h 235659"/>
                  <a:gd name="connsiteX2" fmla="*/ 530284 w 530284"/>
                  <a:gd name="connsiteY2" fmla="*/ 141608 h 235659"/>
                  <a:gd name="connsiteX3" fmla="*/ 530283 w 530284"/>
                  <a:gd name="connsiteY3" fmla="*/ 47558 h 235659"/>
                  <a:gd name="connsiteX4" fmla="*/ 529572 w 530284"/>
                  <a:gd name="connsiteY4" fmla="*/ 47558 h 235659"/>
                  <a:gd name="connsiteX5" fmla="*/ 529572 w 530284"/>
                  <a:gd name="connsiteY5" fmla="*/ 22945 h 235659"/>
                  <a:gd name="connsiteX6" fmla="*/ 506628 w 530284"/>
                  <a:gd name="connsiteY6" fmla="*/ 1 h 235659"/>
                  <a:gd name="connsiteX7" fmla="*/ 334732 w 530284"/>
                  <a:gd name="connsiteY7" fmla="*/ 1 h 235659"/>
                  <a:gd name="connsiteX8" fmla="*/ 334732 w 530284"/>
                  <a:gd name="connsiteY8" fmla="*/ 0 h 235659"/>
                  <a:gd name="connsiteX9" fmla="*/ 110382 w 530284"/>
                  <a:gd name="connsiteY9" fmla="*/ 0 h 235659"/>
                  <a:gd name="connsiteX10" fmla="*/ 0 w 530284"/>
                  <a:gd name="connsiteY10" fmla="*/ 86901 h 235659"/>
                  <a:gd name="connsiteX11" fmla="*/ 76625 w 530284"/>
                  <a:gd name="connsiteY11" fmla="*/ 229307 h 235659"/>
                  <a:gd name="connsiteX12" fmla="*/ 299413 w 530284"/>
                  <a:gd name="connsiteY12" fmla="*/ 234788 h 235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0284" h="235659">
                    <a:moveTo>
                      <a:pt x="299413" y="235659"/>
                    </a:moveTo>
                    <a:lnTo>
                      <a:pt x="436233" y="235659"/>
                    </a:lnTo>
                    <a:cubicBezTo>
                      <a:pt x="488176" y="235659"/>
                      <a:pt x="530284" y="193551"/>
                      <a:pt x="530284" y="141608"/>
                    </a:cubicBezTo>
                    <a:cubicBezTo>
                      <a:pt x="530284" y="110258"/>
                      <a:pt x="530283" y="78908"/>
                      <a:pt x="530283" y="47558"/>
                    </a:cubicBezTo>
                    <a:lnTo>
                      <a:pt x="529572" y="47558"/>
                    </a:lnTo>
                    <a:lnTo>
                      <a:pt x="529572" y="22945"/>
                    </a:lnTo>
                    <a:cubicBezTo>
                      <a:pt x="529572" y="10273"/>
                      <a:pt x="519300" y="1"/>
                      <a:pt x="506628" y="1"/>
                    </a:cubicBezTo>
                    <a:lnTo>
                      <a:pt x="334732" y="1"/>
                    </a:lnTo>
                    <a:lnTo>
                      <a:pt x="334732" y="0"/>
                    </a:lnTo>
                    <a:lnTo>
                      <a:pt x="110382" y="0"/>
                    </a:lnTo>
                    <a:cubicBezTo>
                      <a:pt x="49420" y="0"/>
                      <a:pt x="0" y="38907"/>
                      <a:pt x="0" y="86901"/>
                    </a:cubicBezTo>
                    <a:lnTo>
                      <a:pt x="76625" y="229307"/>
                    </a:lnTo>
                    <a:lnTo>
                      <a:pt x="299413" y="234788"/>
                    </a:lnTo>
                    <a:close/>
                  </a:path>
                </a:pathLst>
              </a:custGeom>
              <a:solidFill>
                <a:srgbClr val="0078D7"/>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238" name="Oval 237">
                <a:extLst>
                  <a:ext uri="{FF2B5EF4-FFF2-40B4-BE49-F238E27FC236}">
                    <a16:creationId xmlns:a16="http://schemas.microsoft.com/office/drawing/2014/main" id="{C85B66D5-99B0-B643-A0B3-06FF23FB8C4B}"/>
                  </a:ext>
                </a:extLst>
              </p:cNvPr>
              <p:cNvSpPr/>
              <p:nvPr/>
            </p:nvSpPr>
            <p:spPr bwMode="auto">
              <a:xfrm>
                <a:off x="6373585" y="5121562"/>
                <a:ext cx="161540" cy="159526"/>
              </a:xfrm>
              <a:prstGeom prst="ellipse">
                <a:avLst/>
              </a:prstGeom>
              <a:solidFill>
                <a:srgbClr val="50E6FF"/>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239" name="Oval 238">
                <a:extLst>
                  <a:ext uri="{FF2B5EF4-FFF2-40B4-BE49-F238E27FC236}">
                    <a16:creationId xmlns:a16="http://schemas.microsoft.com/office/drawing/2014/main" id="{B6C57984-FD3B-B142-A1D6-7C8ED8407049}"/>
                  </a:ext>
                </a:extLst>
              </p:cNvPr>
              <p:cNvSpPr/>
              <p:nvPr/>
            </p:nvSpPr>
            <p:spPr bwMode="auto">
              <a:xfrm>
                <a:off x="6731921" y="5121562"/>
                <a:ext cx="161540" cy="159526"/>
              </a:xfrm>
              <a:prstGeom prst="ellipse">
                <a:avLst/>
              </a:prstGeom>
              <a:solidFill>
                <a:srgbClr val="50E6FF"/>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240" name="Round Single Corner Rectangle 12">
                <a:extLst>
                  <a:ext uri="{FF2B5EF4-FFF2-40B4-BE49-F238E27FC236}">
                    <a16:creationId xmlns:a16="http://schemas.microsoft.com/office/drawing/2014/main" id="{C3C94367-F50C-CE43-9EF2-9A8547549316}"/>
                  </a:ext>
                </a:extLst>
              </p:cNvPr>
              <p:cNvSpPr/>
              <p:nvPr/>
            </p:nvSpPr>
            <p:spPr bwMode="auto">
              <a:xfrm>
                <a:off x="6574671" y="4815821"/>
                <a:ext cx="260296" cy="173908"/>
              </a:xfrm>
              <a:custGeom>
                <a:avLst/>
                <a:gdLst>
                  <a:gd name="connsiteX0" fmla="*/ 0 w 198549"/>
                  <a:gd name="connsiteY0" fmla="*/ 0 h 167558"/>
                  <a:gd name="connsiteX1" fmla="*/ 114770 w 198549"/>
                  <a:gd name="connsiteY1" fmla="*/ 0 h 167558"/>
                  <a:gd name="connsiteX2" fmla="*/ 198549 w 198549"/>
                  <a:gd name="connsiteY2" fmla="*/ 83779 h 167558"/>
                  <a:gd name="connsiteX3" fmla="*/ 198549 w 198549"/>
                  <a:gd name="connsiteY3" fmla="*/ 167558 h 167558"/>
                  <a:gd name="connsiteX4" fmla="*/ 0 w 198549"/>
                  <a:gd name="connsiteY4" fmla="*/ 167558 h 167558"/>
                  <a:gd name="connsiteX5" fmla="*/ 0 w 198549"/>
                  <a:gd name="connsiteY5" fmla="*/ 0 h 167558"/>
                  <a:gd name="connsiteX0" fmla="*/ 0 w 290624"/>
                  <a:gd name="connsiteY0" fmla="*/ 0 h 173908"/>
                  <a:gd name="connsiteX1" fmla="*/ 114770 w 290624"/>
                  <a:gd name="connsiteY1" fmla="*/ 0 h 173908"/>
                  <a:gd name="connsiteX2" fmla="*/ 198549 w 290624"/>
                  <a:gd name="connsiteY2" fmla="*/ 83779 h 173908"/>
                  <a:gd name="connsiteX3" fmla="*/ 290624 w 290624"/>
                  <a:gd name="connsiteY3" fmla="*/ 173908 h 173908"/>
                  <a:gd name="connsiteX4" fmla="*/ 0 w 290624"/>
                  <a:gd name="connsiteY4" fmla="*/ 167558 h 173908"/>
                  <a:gd name="connsiteX5" fmla="*/ 0 w 290624"/>
                  <a:gd name="connsiteY5" fmla="*/ 0 h 173908"/>
                  <a:gd name="connsiteX0" fmla="*/ 0 w 290624"/>
                  <a:gd name="connsiteY0" fmla="*/ 0 h 173908"/>
                  <a:gd name="connsiteX1" fmla="*/ 114770 w 290624"/>
                  <a:gd name="connsiteY1" fmla="*/ 0 h 173908"/>
                  <a:gd name="connsiteX2" fmla="*/ 230299 w 290624"/>
                  <a:gd name="connsiteY2" fmla="*/ 83779 h 173908"/>
                  <a:gd name="connsiteX3" fmla="*/ 290624 w 290624"/>
                  <a:gd name="connsiteY3" fmla="*/ 173908 h 173908"/>
                  <a:gd name="connsiteX4" fmla="*/ 0 w 290624"/>
                  <a:gd name="connsiteY4" fmla="*/ 167558 h 173908"/>
                  <a:gd name="connsiteX5" fmla="*/ 0 w 290624"/>
                  <a:gd name="connsiteY5" fmla="*/ 0 h 173908"/>
                  <a:gd name="connsiteX0" fmla="*/ 0 w 290624"/>
                  <a:gd name="connsiteY0" fmla="*/ 15152 h 189060"/>
                  <a:gd name="connsiteX1" fmla="*/ 114770 w 290624"/>
                  <a:gd name="connsiteY1" fmla="*/ 15152 h 189060"/>
                  <a:gd name="connsiteX2" fmla="*/ 150924 w 290624"/>
                  <a:gd name="connsiteY2" fmla="*/ 22731 h 189060"/>
                  <a:gd name="connsiteX3" fmla="*/ 290624 w 290624"/>
                  <a:gd name="connsiteY3" fmla="*/ 189060 h 189060"/>
                  <a:gd name="connsiteX4" fmla="*/ 0 w 290624"/>
                  <a:gd name="connsiteY4" fmla="*/ 182710 h 189060"/>
                  <a:gd name="connsiteX5" fmla="*/ 0 w 290624"/>
                  <a:gd name="connsiteY5" fmla="*/ 15152 h 189060"/>
                  <a:gd name="connsiteX0" fmla="*/ 0 w 290624"/>
                  <a:gd name="connsiteY0" fmla="*/ 0 h 173908"/>
                  <a:gd name="connsiteX1" fmla="*/ 114770 w 290624"/>
                  <a:gd name="connsiteY1" fmla="*/ 0 h 173908"/>
                  <a:gd name="connsiteX2" fmla="*/ 287449 w 290624"/>
                  <a:gd name="connsiteY2" fmla="*/ 163154 h 173908"/>
                  <a:gd name="connsiteX3" fmla="*/ 290624 w 290624"/>
                  <a:gd name="connsiteY3" fmla="*/ 173908 h 173908"/>
                  <a:gd name="connsiteX4" fmla="*/ 0 w 290624"/>
                  <a:gd name="connsiteY4" fmla="*/ 167558 h 173908"/>
                  <a:gd name="connsiteX5" fmla="*/ 0 w 290624"/>
                  <a:gd name="connsiteY5" fmla="*/ 0 h 173908"/>
                  <a:gd name="connsiteX0" fmla="*/ 0 w 290624"/>
                  <a:gd name="connsiteY0" fmla="*/ 0 h 173908"/>
                  <a:gd name="connsiteX1" fmla="*/ 152870 w 290624"/>
                  <a:gd name="connsiteY1" fmla="*/ 3175 h 173908"/>
                  <a:gd name="connsiteX2" fmla="*/ 287449 w 290624"/>
                  <a:gd name="connsiteY2" fmla="*/ 163154 h 173908"/>
                  <a:gd name="connsiteX3" fmla="*/ 290624 w 290624"/>
                  <a:gd name="connsiteY3" fmla="*/ 173908 h 173908"/>
                  <a:gd name="connsiteX4" fmla="*/ 0 w 290624"/>
                  <a:gd name="connsiteY4" fmla="*/ 167558 h 173908"/>
                  <a:gd name="connsiteX5" fmla="*/ 0 w 290624"/>
                  <a:gd name="connsiteY5" fmla="*/ 0 h 173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0624" h="173908">
                    <a:moveTo>
                      <a:pt x="0" y="0"/>
                    </a:moveTo>
                    <a:lnTo>
                      <a:pt x="152870" y="3175"/>
                    </a:lnTo>
                    <a:cubicBezTo>
                      <a:pt x="199140" y="3175"/>
                      <a:pt x="287449" y="116884"/>
                      <a:pt x="287449" y="163154"/>
                    </a:cubicBezTo>
                    <a:lnTo>
                      <a:pt x="290624" y="173908"/>
                    </a:lnTo>
                    <a:lnTo>
                      <a:pt x="0" y="167558"/>
                    </a:lnTo>
                    <a:lnTo>
                      <a:pt x="0" y="0"/>
                    </a:lnTo>
                    <a:close/>
                  </a:path>
                </a:pathLst>
              </a:custGeom>
              <a:noFill/>
              <a:ln w="25400">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cxnSp>
            <p:nvCxnSpPr>
              <p:cNvPr id="241" name="Straight Connector 240">
                <a:extLst>
                  <a:ext uri="{FF2B5EF4-FFF2-40B4-BE49-F238E27FC236}">
                    <a16:creationId xmlns:a16="http://schemas.microsoft.com/office/drawing/2014/main" id="{0790F52D-7A6C-264B-A26F-94397923E46D}"/>
                  </a:ext>
                </a:extLst>
              </p:cNvPr>
              <p:cNvCxnSpPr>
                <a:cxnSpLocks/>
              </p:cNvCxnSpPr>
              <p:nvPr/>
            </p:nvCxnSpPr>
            <p:spPr>
              <a:xfrm flipV="1">
                <a:off x="6413376" y="4815821"/>
                <a:ext cx="82726" cy="178455"/>
              </a:xfrm>
              <a:prstGeom prst="line">
                <a:avLst/>
              </a:prstGeom>
              <a:ln w="254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CFDBB507-6A1C-8E4B-A0DF-4CEB5FE206B9}"/>
                  </a:ext>
                </a:extLst>
              </p:cNvPr>
              <p:cNvCxnSpPr>
                <a:cxnSpLocks/>
                <a:stCxn id="240" idx="0"/>
              </p:cNvCxnSpPr>
              <p:nvPr/>
            </p:nvCxnSpPr>
            <p:spPr>
              <a:xfrm flipH="1">
                <a:off x="6454355" y="4815821"/>
                <a:ext cx="120316" cy="0"/>
              </a:xfrm>
              <a:prstGeom prst="line">
                <a:avLst/>
              </a:prstGeom>
              <a:ln w="2540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6" name="Group 25">
            <a:extLst>
              <a:ext uri="{FF2B5EF4-FFF2-40B4-BE49-F238E27FC236}">
                <a16:creationId xmlns:a16="http://schemas.microsoft.com/office/drawing/2014/main" id="{9F9971DB-CFC0-D340-AA25-4A4FF88DEA72}"/>
              </a:ext>
            </a:extLst>
          </p:cNvPr>
          <p:cNvGrpSpPr/>
          <p:nvPr/>
        </p:nvGrpSpPr>
        <p:grpSpPr>
          <a:xfrm>
            <a:off x="1380196" y="1349230"/>
            <a:ext cx="10467574" cy="5191476"/>
            <a:chOff x="1465924" y="1122807"/>
            <a:chExt cx="10467574" cy="5191476"/>
          </a:xfrm>
        </p:grpSpPr>
        <p:sp>
          <p:nvSpPr>
            <p:cNvPr id="291" name="Freeform 290">
              <a:extLst>
                <a:ext uri="{FF2B5EF4-FFF2-40B4-BE49-F238E27FC236}">
                  <a16:creationId xmlns:a16="http://schemas.microsoft.com/office/drawing/2014/main" id="{C55379C5-6CB3-CF46-99CC-17030E28B308}"/>
                </a:ext>
              </a:extLst>
            </p:cNvPr>
            <p:cNvSpPr/>
            <p:nvPr/>
          </p:nvSpPr>
          <p:spPr bwMode="auto">
            <a:xfrm rot="10800000" flipH="1">
              <a:off x="8120048" y="2371992"/>
              <a:ext cx="2850445" cy="146273"/>
            </a:xfrm>
            <a:custGeom>
              <a:avLst/>
              <a:gdLst>
                <a:gd name="connsiteX0" fmla="*/ 0 w 711200"/>
                <a:gd name="connsiteY0" fmla="*/ 0 h 136525"/>
                <a:gd name="connsiteX1" fmla="*/ 0 w 711200"/>
                <a:gd name="connsiteY1" fmla="*/ 136525 h 136525"/>
                <a:gd name="connsiteX2" fmla="*/ 711200 w 711200"/>
                <a:gd name="connsiteY2" fmla="*/ 136525 h 136525"/>
                <a:gd name="connsiteX3" fmla="*/ 711200 w 711200"/>
                <a:gd name="connsiteY3" fmla="*/ 3175 h 136525"/>
                <a:gd name="connsiteX0" fmla="*/ 0 w 711200"/>
                <a:gd name="connsiteY0" fmla="*/ 133350 h 133350"/>
                <a:gd name="connsiteX1" fmla="*/ 711200 w 711200"/>
                <a:gd name="connsiteY1" fmla="*/ 133350 h 133350"/>
                <a:gd name="connsiteX2" fmla="*/ 711200 w 711200"/>
                <a:gd name="connsiteY2" fmla="*/ 0 h 133350"/>
              </a:gdLst>
              <a:ahLst/>
              <a:cxnLst>
                <a:cxn ang="0">
                  <a:pos x="connsiteX0" y="connsiteY0"/>
                </a:cxn>
                <a:cxn ang="0">
                  <a:pos x="connsiteX1" y="connsiteY1"/>
                </a:cxn>
                <a:cxn ang="0">
                  <a:pos x="connsiteX2" y="connsiteY2"/>
                </a:cxn>
              </a:cxnLst>
              <a:rect l="l" t="t" r="r" b="b"/>
              <a:pathLst>
                <a:path w="711200" h="133350">
                  <a:moveTo>
                    <a:pt x="0" y="133350"/>
                  </a:moveTo>
                  <a:lnTo>
                    <a:pt x="711200" y="133350"/>
                  </a:lnTo>
                  <a:lnTo>
                    <a:pt x="711200" y="0"/>
                  </a:lnTo>
                </a:path>
              </a:pathLst>
            </a:custGeom>
            <a:noFill/>
            <a:ln w="12700">
              <a:solidFill>
                <a:srgbClr val="757575"/>
              </a:solidFill>
              <a:prstDash val="soli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endParaRPr>
            </a:p>
          </p:txBody>
        </p:sp>
        <p:grpSp>
          <p:nvGrpSpPr>
            <p:cNvPr id="25" name="Group 24">
              <a:extLst>
                <a:ext uri="{FF2B5EF4-FFF2-40B4-BE49-F238E27FC236}">
                  <a16:creationId xmlns:a16="http://schemas.microsoft.com/office/drawing/2014/main" id="{9CD8599E-AAFF-BD47-AD31-7CE287B66EDF}"/>
                </a:ext>
              </a:extLst>
            </p:cNvPr>
            <p:cNvGrpSpPr/>
            <p:nvPr/>
          </p:nvGrpSpPr>
          <p:grpSpPr>
            <a:xfrm>
              <a:off x="1465924" y="1122807"/>
              <a:ext cx="10467574" cy="5191476"/>
              <a:chOff x="1465924" y="1122807"/>
              <a:chExt cx="10467574" cy="5191476"/>
            </a:xfrm>
          </p:grpSpPr>
          <p:grpSp>
            <p:nvGrpSpPr>
              <p:cNvPr id="12" name="Group 11">
                <a:extLst>
                  <a:ext uri="{FF2B5EF4-FFF2-40B4-BE49-F238E27FC236}">
                    <a16:creationId xmlns:a16="http://schemas.microsoft.com/office/drawing/2014/main" id="{A4D3D3D3-8715-4336-8931-12E006C0F3DC}"/>
                  </a:ext>
                </a:extLst>
              </p:cNvPr>
              <p:cNvGrpSpPr/>
              <p:nvPr/>
            </p:nvGrpSpPr>
            <p:grpSpPr>
              <a:xfrm>
                <a:off x="10497148" y="2600853"/>
                <a:ext cx="916666" cy="1556697"/>
                <a:chOff x="8566575" y="2895467"/>
                <a:chExt cx="916678" cy="1556697"/>
              </a:xfrm>
            </p:grpSpPr>
            <p:sp>
              <p:nvSpPr>
                <p:cNvPr id="307" name="TextBox 306">
                  <a:extLst>
                    <a:ext uri="{FF2B5EF4-FFF2-40B4-BE49-F238E27FC236}">
                      <a16:creationId xmlns:a16="http://schemas.microsoft.com/office/drawing/2014/main" id="{46F7F0B2-72C6-DC42-ACB6-E00866669B0F}"/>
                    </a:ext>
                  </a:extLst>
                </p:cNvPr>
                <p:cNvSpPr txBox="1"/>
                <p:nvPr/>
              </p:nvSpPr>
              <p:spPr>
                <a:xfrm>
                  <a:off x="8596137" y="2895467"/>
                  <a:ext cx="887116" cy="577081"/>
                </a:xfrm>
                <a:prstGeom prst="rect">
                  <a:avLst/>
                </a:prstGeom>
                <a:noFill/>
                <a:ln w="12700">
                  <a:noFill/>
                  <a:prstDash val="dash"/>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050" dirty="0">
                      <a:solidFill>
                        <a:schemeClr val="tx2"/>
                      </a:solidFill>
                      <a:latin typeface="Segoe UI" panose="020B0502040204020203" pitchFamily="34" charset="0"/>
                      <a:cs typeface="Segoe UI" panose="020B0502040204020203" pitchFamily="34" charset="0"/>
                    </a:rPr>
                    <a:t>Directly read from HDFS</a:t>
                  </a:r>
                </a:p>
              </p:txBody>
            </p:sp>
            <p:cxnSp>
              <p:nvCxnSpPr>
                <p:cNvPr id="31" name="Connector: Elbow 30">
                  <a:extLst>
                    <a:ext uri="{FF2B5EF4-FFF2-40B4-BE49-F238E27FC236}">
                      <a16:creationId xmlns:a16="http://schemas.microsoft.com/office/drawing/2014/main" id="{091CBD28-8825-4F95-97EC-E8B46E14FD04}"/>
                    </a:ext>
                  </a:extLst>
                </p:cNvPr>
                <p:cNvCxnSpPr>
                  <a:cxnSpLocks/>
                </p:cNvCxnSpPr>
                <p:nvPr/>
              </p:nvCxnSpPr>
              <p:spPr>
                <a:xfrm rot="5400000">
                  <a:off x="8351076" y="3758099"/>
                  <a:ext cx="909564" cy="478566"/>
                </a:xfrm>
                <a:prstGeom prst="bentConnector2">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EC02FFDB-A6A3-6041-A47A-A1C2D85CF42F}"/>
                  </a:ext>
                </a:extLst>
              </p:cNvPr>
              <p:cNvGrpSpPr/>
              <p:nvPr/>
            </p:nvGrpSpPr>
            <p:grpSpPr>
              <a:xfrm>
                <a:off x="1465924" y="1122807"/>
                <a:ext cx="10467574" cy="5191476"/>
                <a:chOff x="1465924" y="1122807"/>
                <a:chExt cx="10467574" cy="5191476"/>
              </a:xfrm>
            </p:grpSpPr>
            <p:sp>
              <p:nvSpPr>
                <p:cNvPr id="229" name="TextBox 228">
                  <a:extLst>
                    <a:ext uri="{FF2B5EF4-FFF2-40B4-BE49-F238E27FC236}">
                      <a16:creationId xmlns:a16="http://schemas.microsoft.com/office/drawing/2014/main" id="{77F31403-FBDB-4EEF-903A-2A75AECFEDBE}"/>
                    </a:ext>
                  </a:extLst>
                </p:cNvPr>
                <p:cNvSpPr txBox="1"/>
                <p:nvPr/>
              </p:nvSpPr>
              <p:spPr>
                <a:xfrm>
                  <a:off x="2216041" y="6068062"/>
                  <a:ext cx="9717457" cy="246221"/>
                </a:xfrm>
                <a:prstGeom prst="rect">
                  <a:avLst/>
                </a:prstGeom>
                <a:noFill/>
                <a:ln w="12700">
                  <a:solidFill>
                    <a:srgbClr val="757575"/>
                  </a:solidFill>
                </a:ln>
              </p:spPr>
              <p:txBody>
                <a:bodyPr wrap="square" rtlCol="0">
                  <a:spAutoFit/>
                </a:bodyPr>
                <a:lstStyle/>
                <a:p>
                  <a:pPr algn="ctr" defTabSz="457200">
                    <a:defRPr/>
                  </a:pPr>
                  <a:r>
                    <a:rPr lang="en-US" sz="1000" b="1" dirty="0">
                      <a:solidFill>
                        <a:srgbClr val="0077D7"/>
                      </a:solidFill>
                      <a:latin typeface="+mj-lt"/>
                      <a:cs typeface="Segoe UI" panose="020B0502040204020203" pitchFamily="34" charset="0"/>
                    </a:rPr>
                    <a:t>Persistent storage </a:t>
                  </a:r>
                </a:p>
              </p:txBody>
            </p:sp>
            <p:sp>
              <p:nvSpPr>
                <p:cNvPr id="135" name="Rectangle 134">
                  <a:extLst>
                    <a:ext uri="{FF2B5EF4-FFF2-40B4-BE49-F238E27FC236}">
                      <a16:creationId xmlns:a16="http://schemas.microsoft.com/office/drawing/2014/main" id="{DC4DC094-453F-694E-87CC-1890F9B2CDF6}"/>
                    </a:ext>
                  </a:extLst>
                </p:cNvPr>
                <p:cNvSpPr/>
                <p:nvPr/>
              </p:nvSpPr>
              <p:spPr>
                <a:xfrm>
                  <a:off x="8801739" y="4085288"/>
                  <a:ext cx="224100" cy="261610"/>
                </a:xfrm>
                <a:prstGeom prst="rect">
                  <a:avLst/>
                </a:prstGeom>
                <a:noFill/>
                <a:ln w="12700">
                  <a:no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100" b="1" dirty="0">
                      <a:solidFill>
                        <a:schemeClr val="tx1"/>
                      </a:solidFill>
                      <a:latin typeface="Segoe UI" panose="020B0502040204020203" pitchFamily="34" charset="0"/>
                      <a:cs typeface="Segoe UI" panose="020B0502040204020203" pitchFamily="34" charset="0"/>
                    </a:rPr>
                    <a:t>…</a:t>
                  </a:r>
                </a:p>
              </p:txBody>
            </p:sp>
            <p:sp>
              <p:nvSpPr>
                <p:cNvPr id="332" name="Rectangle 331">
                  <a:extLst>
                    <a:ext uri="{FF2B5EF4-FFF2-40B4-BE49-F238E27FC236}">
                      <a16:creationId xmlns:a16="http://schemas.microsoft.com/office/drawing/2014/main" id="{5555553C-0B66-8141-A97A-F8C3DAB84B06}"/>
                    </a:ext>
                  </a:extLst>
                </p:cNvPr>
                <p:cNvSpPr/>
                <p:nvPr/>
              </p:nvSpPr>
              <p:spPr>
                <a:xfrm>
                  <a:off x="6104221" y="3541509"/>
                  <a:ext cx="4332717" cy="1656765"/>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r>
                    <a:rPr lang="en-US" sz="1000" b="1" dirty="0">
                      <a:solidFill>
                        <a:schemeClr val="tx2"/>
                      </a:solidFill>
                      <a:latin typeface="+mj-lt"/>
                      <a:cs typeface="Segoe UI" panose="020B0502040204020203" pitchFamily="34" charset="0"/>
                    </a:rPr>
                    <a:t>Storage pool</a:t>
                  </a:r>
                </a:p>
              </p:txBody>
            </p:sp>
            <p:sp>
              <p:nvSpPr>
                <p:cNvPr id="373" name="Rectangle 372">
                  <a:extLst>
                    <a:ext uri="{FF2B5EF4-FFF2-40B4-BE49-F238E27FC236}">
                      <a16:creationId xmlns:a16="http://schemas.microsoft.com/office/drawing/2014/main" id="{C99EFA25-E720-5145-9AD9-721C12DDEDD9}"/>
                    </a:ext>
                  </a:extLst>
                </p:cNvPr>
                <p:cNvSpPr/>
                <p:nvPr/>
              </p:nvSpPr>
              <p:spPr>
                <a:xfrm>
                  <a:off x="6930037" y="3474046"/>
                  <a:ext cx="1062524" cy="6893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grpSp>
              <p:nvGrpSpPr>
                <p:cNvPr id="188" name="Group 187">
                  <a:extLst>
                    <a:ext uri="{FF2B5EF4-FFF2-40B4-BE49-F238E27FC236}">
                      <a16:creationId xmlns:a16="http://schemas.microsoft.com/office/drawing/2014/main" id="{40AABA38-6FF8-43EC-9D34-17DE86E3B3A4}"/>
                    </a:ext>
                  </a:extLst>
                </p:cNvPr>
                <p:cNvGrpSpPr/>
                <p:nvPr/>
              </p:nvGrpSpPr>
              <p:grpSpPr>
                <a:xfrm>
                  <a:off x="9153376" y="3972909"/>
                  <a:ext cx="1164920" cy="886972"/>
                  <a:chOff x="8464489" y="2534822"/>
                  <a:chExt cx="1610123" cy="1334562"/>
                </a:xfrm>
              </p:grpSpPr>
              <p:sp>
                <p:nvSpPr>
                  <p:cNvPr id="201" name="Rectangle 200">
                    <a:extLst>
                      <a:ext uri="{FF2B5EF4-FFF2-40B4-BE49-F238E27FC236}">
                        <a16:creationId xmlns:a16="http://schemas.microsoft.com/office/drawing/2014/main" id="{B659A47B-2326-45C6-86E3-FEA68FE41FA7}"/>
                      </a:ext>
                    </a:extLst>
                  </p:cNvPr>
                  <p:cNvSpPr/>
                  <p:nvPr/>
                </p:nvSpPr>
                <p:spPr>
                  <a:xfrm>
                    <a:off x="9334635" y="2534822"/>
                    <a:ext cx="739977" cy="780062"/>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SQL Server</a:t>
                    </a:r>
                  </a:p>
                </p:txBody>
              </p:sp>
              <p:cxnSp>
                <p:nvCxnSpPr>
                  <p:cNvPr id="202" name="Straight Connector 201">
                    <a:extLst>
                      <a:ext uri="{FF2B5EF4-FFF2-40B4-BE49-F238E27FC236}">
                        <a16:creationId xmlns:a16="http://schemas.microsoft.com/office/drawing/2014/main" id="{BBC5D4C1-B7FD-478C-8A9D-BA73D06E9895}"/>
                      </a:ext>
                    </a:extLst>
                  </p:cNvPr>
                  <p:cNvCxnSpPr>
                    <a:cxnSpLocks/>
                  </p:cNvCxnSpPr>
                  <p:nvPr/>
                </p:nvCxnSpPr>
                <p:spPr>
                  <a:xfrm>
                    <a:off x="8839606" y="3324527"/>
                    <a:ext cx="0" cy="145547"/>
                  </a:xfrm>
                  <a:prstGeom prst="line">
                    <a:avLst/>
                  </a:prstGeom>
                  <a:ln w="12700">
                    <a:solidFill>
                      <a:srgbClr val="0077D7"/>
                    </a:solidFill>
                  </a:ln>
                </p:spPr>
                <p:style>
                  <a:lnRef idx="1">
                    <a:schemeClr val="accent1"/>
                  </a:lnRef>
                  <a:fillRef idx="0">
                    <a:schemeClr val="accent1"/>
                  </a:fillRef>
                  <a:effectRef idx="0">
                    <a:schemeClr val="accent1"/>
                  </a:effectRef>
                  <a:fontRef idx="minor">
                    <a:schemeClr val="tx1"/>
                  </a:fontRef>
                </p:style>
              </p:cxnSp>
              <p:sp>
                <p:nvSpPr>
                  <p:cNvPr id="204" name="Rectangle 203">
                    <a:extLst>
                      <a:ext uri="{FF2B5EF4-FFF2-40B4-BE49-F238E27FC236}">
                        <a16:creationId xmlns:a16="http://schemas.microsoft.com/office/drawing/2014/main" id="{2AD861E7-B27B-4AA4-8887-429C49BFC295}"/>
                      </a:ext>
                    </a:extLst>
                  </p:cNvPr>
                  <p:cNvSpPr/>
                  <p:nvPr/>
                </p:nvSpPr>
                <p:spPr>
                  <a:xfrm>
                    <a:off x="8469617" y="2534822"/>
                    <a:ext cx="739977" cy="780062"/>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Spark</a:t>
                    </a:r>
                  </a:p>
                </p:txBody>
              </p:sp>
              <p:cxnSp>
                <p:nvCxnSpPr>
                  <p:cNvPr id="205" name="Straight Connector 204">
                    <a:extLst>
                      <a:ext uri="{FF2B5EF4-FFF2-40B4-BE49-F238E27FC236}">
                        <a16:creationId xmlns:a16="http://schemas.microsoft.com/office/drawing/2014/main" id="{0E21F37A-47E7-44DB-BEA0-E4DDCD18ACFE}"/>
                      </a:ext>
                    </a:extLst>
                  </p:cNvPr>
                  <p:cNvCxnSpPr>
                    <a:cxnSpLocks/>
                  </p:cNvCxnSpPr>
                  <p:nvPr/>
                </p:nvCxnSpPr>
                <p:spPr>
                  <a:xfrm>
                    <a:off x="9704625" y="3324527"/>
                    <a:ext cx="0" cy="145547"/>
                  </a:xfrm>
                  <a:prstGeom prst="line">
                    <a:avLst/>
                  </a:prstGeom>
                  <a:ln w="12700">
                    <a:solidFill>
                      <a:srgbClr val="0077D7"/>
                    </a:solidFill>
                  </a:ln>
                </p:spPr>
                <p:style>
                  <a:lnRef idx="1">
                    <a:schemeClr val="accent1"/>
                  </a:lnRef>
                  <a:fillRef idx="0">
                    <a:schemeClr val="accent1"/>
                  </a:fillRef>
                  <a:effectRef idx="0">
                    <a:schemeClr val="accent1"/>
                  </a:effectRef>
                  <a:fontRef idx="minor">
                    <a:schemeClr val="tx1"/>
                  </a:fontRef>
                </p:style>
              </p:cxnSp>
              <p:sp>
                <p:nvSpPr>
                  <p:cNvPr id="203" name="Rectangle 202">
                    <a:extLst>
                      <a:ext uri="{FF2B5EF4-FFF2-40B4-BE49-F238E27FC236}">
                        <a16:creationId xmlns:a16="http://schemas.microsoft.com/office/drawing/2014/main" id="{50C55D8D-07BE-403A-A287-6CEACB41AF10}"/>
                      </a:ext>
                    </a:extLst>
                  </p:cNvPr>
                  <p:cNvSpPr/>
                  <p:nvPr/>
                </p:nvSpPr>
                <p:spPr>
                  <a:xfrm>
                    <a:off x="8464489" y="3470074"/>
                    <a:ext cx="1610123" cy="399310"/>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lvl="0" algn="ctr" defTabSz="457200">
                      <a:defRPr/>
                    </a:pPr>
                    <a:r>
                      <a:rPr lang="en-US" sz="1000" dirty="0">
                        <a:solidFill>
                          <a:schemeClr val="tx1"/>
                        </a:solidFill>
                        <a:latin typeface="Segoe UI" panose="020B0502040204020203" pitchFamily="34" charset="0"/>
                        <a:cs typeface="Segoe UI" panose="020B0502040204020203" pitchFamily="34" charset="0"/>
                      </a:rPr>
                      <a:t>HDFS Data Node</a:t>
                    </a:r>
                  </a:p>
                </p:txBody>
              </p:sp>
            </p:grpSp>
            <p:grpSp>
              <p:nvGrpSpPr>
                <p:cNvPr id="189" name="Group 188">
                  <a:extLst>
                    <a:ext uri="{FF2B5EF4-FFF2-40B4-BE49-F238E27FC236}">
                      <a16:creationId xmlns:a16="http://schemas.microsoft.com/office/drawing/2014/main" id="{0A227153-E73A-4926-A182-605BDBAD1DF2}"/>
                    </a:ext>
                  </a:extLst>
                </p:cNvPr>
                <p:cNvGrpSpPr/>
                <p:nvPr/>
              </p:nvGrpSpPr>
              <p:grpSpPr>
                <a:xfrm>
                  <a:off x="6223915" y="3972905"/>
                  <a:ext cx="1164920" cy="883619"/>
                  <a:chOff x="8464489" y="2534822"/>
                  <a:chExt cx="1610123" cy="1329517"/>
                </a:xfrm>
              </p:grpSpPr>
              <p:sp>
                <p:nvSpPr>
                  <p:cNvPr id="196" name="Rectangle 195">
                    <a:extLst>
                      <a:ext uri="{FF2B5EF4-FFF2-40B4-BE49-F238E27FC236}">
                        <a16:creationId xmlns:a16="http://schemas.microsoft.com/office/drawing/2014/main" id="{60BEBBC3-479A-4D87-B17F-988838490CEA}"/>
                      </a:ext>
                    </a:extLst>
                  </p:cNvPr>
                  <p:cNvSpPr/>
                  <p:nvPr/>
                </p:nvSpPr>
                <p:spPr>
                  <a:xfrm>
                    <a:off x="9334635" y="2534822"/>
                    <a:ext cx="739977" cy="780062"/>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SQL Server</a:t>
                    </a:r>
                  </a:p>
                </p:txBody>
              </p:sp>
              <p:cxnSp>
                <p:nvCxnSpPr>
                  <p:cNvPr id="197" name="Straight Connector 196">
                    <a:extLst>
                      <a:ext uri="{FF2B5EF4-FFF2-40B4-BE49-F238E27FC236}">
                        <a16:creationId xmlns:a16="http://schemas.microsoft.com/office/drawing/2014/main" id="{AAF6AF06-965F-4D9C-B0D7-DBE0A65971F9}"/>
                      </a:ext>
                    </a:extLst>
                  </p:cNvPr>
                  <p:cNvCxnSpPr>
                    <a:cxnSpLocks/>
                  </p:cNvCxnSpPr>
                  <p:nvPr/>
                </p:nvCxnSpPr>
                <p:spPr>
                  <a:xfrm>
                    <a:off x="8839606" y="3324527"/>
                    <a:ext cx="0" cy="140502"/>
                  </a:xfrm>
                  <a:prstGeom prst="line">
                    <a:avLst/>
                  </a:prstGeom>
                  <a:ln w="12700">
                    <a:solidFill>
                      <a:srgbClr val="0077D7"/>
                    </a:solidFill>
                  </a:ln>
                </p:spPr>
                <p:style>
                  <a:lnRef idx="1">
                    <a:schemeClr val="accent1"/>
                  </a:lnRef>
                  <a:fillRef idx="0">
                    <a:schemeClr val="accent1"/>
                  </a:fillRef>
                  <a:effectRef idx="0">
                    <a:schemeClr val="accent1"/>
                  </a:effectRef>
                  <a:fontRef idx="minor">
                    <a:schemeClr val="tx1"/>
                  </a:fontRef>
                </p:style>
              </p:cxnSp>
              <p:sp>
                <p:nvSpPr>
                  <p:cNvPr id="199" name="Rectangle 198">
                    <a:extLst>
                      <a:ext uri="{FF2B5EF4-FFF2-40B4-BE49-F238E27FC236}">
                        <a16:creationId xmlns:a16="http://schemas.microsoft.com/office/drawing/2014/main" id="{7F9B4C1B-16CA-4C90-8839-7FFEC4F0581F}"/>
                      </a:ext>
                    </a:extLst>
                  </p:cNvPr>
                  <p:cNvSpPr/>
                  <p:nvPr/>
                </p:nvSpPr>
                <p:spPr>
                  <a:xfrm>
                    <a:off x="8469617" y="2534822"/>
                    <a:ext cx="739977" cy="780062"/>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Spark</a:t>
                    </a:r>
                  </a:p>
                </p:txBody>
              </p:sp>
              <p:cxnSp>
                <p:nvCxnSpPr>
                  <p:cNvPr id="200" name="Straight Connector 199">
                    <a:extLst>
                      <a:ext uri="{FF2B5EF4-FFF2-40B4-BE49-F238E27FC236}">
                        <a16:creationId xmlns:a16="http://schemas.microsoft.com/office/drawing/2014/main" id="{F637EAF5-5FDF-4DD4-8F89-FB58767C1A4B}"/>
                      </a:ext>
                    </a:extLst>
                  </p:cNvPr>
                  <p:cNvCxnSpPr>
                    <a:cxnSpLocks/>
                  </p:cNvCxnSpPr>
                  <p:nvPr/>
                </p:nvCxnSpPr>
                <p:spPr>
                  <a:xfrm>
                    <a:off x="9704625" y="3324527"/>
                    <a:ext cx="0" cy="140502"/>
                  </a:xfrm>
                  <a:prstGeom prst="line">
                    <a:avLst/>
                  </a:prstGeom>
                  <a:ln w="12700">
                    <a:solidFill>
                      <a:srgbClr val="0077D7"/>
                    </a:solidFill>
                  </a:ln>
                </p:spPr>
                <p:style>
                  <a:lnRef idx="1">
                    <a:schemeClr val="accent1"/>
                  </a:lnRef>
                  <a:fillRef idx="0">
                    <a:schemeClr val="accent1"/>
                  </a:fillRef>
                  <a:effectRef idx="0">
                    <a:schemeClr val="accent1"/>
                  </a:effectRef>
                  <a:fontRef idx="minor">
                    <a:schemeClr val="tx1"/>
                  </a:fontRef>
                </p:style>
              </p:cxnSp>
              <p:sp>
                <p:nvSpPr>
                  <p:cNvPr id="198" name="Rectangle 197">
                    <a:extLst>
                      <a:ext uri="{FF2B5EF4-FFF2-40B4-BE49-F238E27FC236}">
                        <a16:creationId xmlns:a16="http://schemas.microsoft.com/office/drawing/2014/main" id="{63B1BF4D-A695-4DFA-97F4-06803C18AA4B}"/>
                      </a:ext>
                    </a:extLst>
                  </p:cNvPr>
                  <p:cNvSpPr/>
                  <p:nvPr/>
                </p:nvSpPr>
                <p:spPr>
                  <a:xfrm>
                    <a:off x="8464489" y="3465029"/>
                    <a:ext cx="1610123" cy="399310"/>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lvl="0" algn="ctr" defTabSz="457200">
                      <a:defRPr/>
                    </a:pPr>
                    <a:r>
                      <a:rPr lang="en-US" sz="1000" dirty="0">
                        <a:solidFill>
                          <a:schemeClr val="tx1"/>
                        </a:solidFill>
                        <a:latin typeface="Segoe UI" panose="020B0502040204020203" pitchFamily="34" charset="0"/>
                        <a:cs typeface="Segoe UI" panose="020B0502040204020203" pitchFamily="34" charset="0"/>
                      </a:rPr>
                      <a:t>HDFS Data Node</a:t>
                    </a:r>
                  </a:p>
                </p:txBody>
              </p:sp>
            </p:grpSp>
            <p:grpSp>
              <p:nvGrpSpPr>
                <p:cNvPr id="190" name="Group 189">
                  <a:extLst>
                    <a:ext uri="{FF2B5EF4-FFF2-40B4-BE49-F238E27FC236}">
                      <a16:creationId xmlns:a16="http://schemas.microsoft.com/office/drawing/2014/main" id="{E7B9E9F8-A42F-4986-B033-DE3FBE5454F9}"/>
                    </a:ext>
                  </a:extLst>
                </p:cNvPr>
                <p:cNvGrpSpPr/>
                <p:nvPr/>
              </p:nvGrpSpPr>
              <p:grpSpPr>
                <a:xfrm>
                  <a:off x="7501270" y="3972905"/>
                  <a:ext cx="1164920" cy="885131"/>
                  <a:chOff x="8464489" y="2534822"/>
                  <a:chExt cx="1610123" cy="1331792"/>
                </a:xfrm>
              </p:grpSpPr>
              <p:sp>
                <p:nvSpPr>
                  <p:cNvPr id="191" name="Rectangle 190">
                    <a:extLst>
                      <a:ext uri="{FF2B5EF4-FFF2-40B4-BE49-F238E27FC236}">
                        <a16:creationId xmlns:a16="http://schemas.microsoft.com/office/drawing/2014/main" id="{982354FD-10DC-4C85-86C6-80F26860B067}"/>
                      </a:ext>
                    </a:extLst>
                  </p:cNvPr>
                  <p:cNvSpPr/>
                  <p:nvPr/>
                </p:nvSpPr>
                <p:spPr>
                  <a:xfrm>
                    <a:off x="9334635" y="2534822"/>
                    <a:ext cx="739977" cy="780062"/>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SQL Server</a:t>
                    </a:r>
                  </a:p>
                </p:txBody>
              </p:sp>
              <p:cxnSp>
                <p:nvCxnSpPr>
                  <p:cNvPr id="192" name="Straight Connector 191">
                    <a:extLst>
                      <a:ext uri="{FF2B5EF4-FFF2-40B4-BE49-F238E27FC236}">
                        <a16:creationId xmlns:a16="http://schemas.microsoft.com/office/drawing/2014/main" id="{63EAEEAB-F6DB-4CF0-9600-0D91949D0B09}"/>
                      </a:ext>
                    </a:extLst>
                  </p:cNvPr>
                  <p:cNvCxnSpPr>
                    <a:cxnSpLocks/>
                  </p:cNvCxnSpPr>
                  <p:nvPr/>
                </p:nvCxnSpPr>
                <p:spPr>
                  <a:xfrm>
                    <a:off x="8839606" y="3324527"/>
                    <a:ext cx="0" cy="142777"/>
                  </a:xfrm>
                  <a:prstGeom prst="line">
                    <a:avLst/>
                  </a:prstGeom>
                  <a:ln w="12700">
                    <a:solidFill>
                      <a:srgbClr val="0077D7"/>
                    </a:solidFill>
                  </a:ln>
                </p:spPr>
                <p:style>
                  <a:lnRef idx="1">
                    <a:schemeClr val="accent1"/>
                  </a:lnRef>
                  <a:fillRef idx="0">
                    <a:schemeClr val="accent1"/>
                  </a:fillRef>
                  <a:effectRef idx="0">
                    <a:schemeClr val="accent1"/>
                  </a:effectRef>
                  <a:fontRef idx="minor">
                    <a:schemeClr val="tx1"/>
                  </a:fontRef>
                </p:style>
              </p:cxnSp>
              <p:sp>
                <p:nvSpPr>
                  <p:cNvPr id="194" name="Rectangle 193">
                    <a:extLst>
                      <a:ext uri="{FF2B5EF4-FFF2-40B4-BE49-F238E27FC236}">
                        <a16:creationId xmlns:a16="http://schemas.microsoft.com/office/drawing/2014/main" id="{727D8FBD-5E6A-4B61-8E59-C94111542AED}"/>
                      </a:ext>
                    </a:extLst>
                  </p:cNvPr>
                  <p:cNvSpPr/>
                  <p:nvPr/>
                </p:nvSpPr>
                <p:spPr>
                  <a:xfrm>
                    <a:off x="8469617" y="2534822"/>
                    <a:ext cx="739977" cy="780062"/>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Spark</a:t>
                    </a:r>
                  </a:p>
                </p:txBody>
              </p:sp>
              <p:cxnSp>
                <p:nvCxnSpPr>
                  <p:cNvPr id="195" name="Straight Connector 194">
                    <a:extLst>
                      <a:ext uri="{FF2B5EF4-FFF2-40B4-BE49-F238E27FC236}">
                        <a16:creationId xmlns:a16="http://schemas.microsoft.com/office/drawing/2014/main" id="{9B5DF033-A942-4AB2-8DF3-EE05E1669CEA}"/>
                      </a:ext>
                    </a:extLst>
                  </p:cNvPr>
                  <p:cNvCxnSpPr>
                    <a:cxnSpLocks/>
                  </p:cNvCxnSpPr>
                  <p:nvPr/>
                </p:nvCxnSpPr>
                <p:spPr>
                  <a:xfrm>
                    <a:off x="9704625" y="3324527"/>
                    <a:ext cx="0" cy="142777"/>
                  </a:xfrm>
                  <a:prstGeom prst="line">
                    <a:avLst/>
                  </a:prstGeom>
                  <a:ln w="12700">
                    <a:solidFill>
                      <a:srgbClr val="0077D7"/>
                    </a:solidFill>
                  </a:ln>
                </p:spPr>
                <p:style>
                  <a:lnRef idx="1">
                    <a:schemeClr val="accent1"/>
                  </a:lnRef>
                  <a:fillRef idx="0">
                    <a:schemeClr val="accent1"/>
                  </a:fillRef>
                  <a:effectRef idx="0">
                    <a:schemeClr val="accent1"/>
                  </a:effectRef>
                  <a:fontRef idx="minor">
                    <a:schemeClr val="tx1"/>
                  </a:fontRef>
                </p:style>
              </p:cxnSp>
              <p:sp>
                <p:nvSpPr>
                  <p:cNvPr id="193" name="Rectangle 192">
                    <a:extLst>
                      <a:ext uri="{FF2B5EF4-FFF2-40B4-BE49-F238E27FC236}">
                        <a16:creationId xmlns:a16="http://schemas.microsoft.com/office/drawing/2014/main" id="{FF13864D-3451-49C2-B929-93EAC9A5823C}"/>
                      </a:ext>
                    </a:extLst>
                  </p:cNvPr>
                  <p:cNvSpPr/>
                  <p:nvPr/>
                </p:nvSpPr>
                <p:spPr>
                  <a:xfrm>
                    <a:off x="8464489" y="3467304"/>
                    <a:ext cx="1610123" cy="399310"/>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lvl="0" algn="ctr" defTabSz="457200">
                      <a:defRPr/>
                    </a:pPr>
                    <a:r>
                      <a:rPr lang="en-US" sz="1000" dirty="0">
                        <a:solidFill>
                          <a:schemeClr val="tx1"/>
                        </a:solidFill>
                        <a:latin typeface="Segoe UI" panose="020B0502040204020203" pitchFamily="34" charset="0"/>
                        <a:cs typeface="Segoe UI" panose="020B0502040204020203" pitchFamily="34" charset="0"/>
                      </a:rPr>
                      <a:t>HDFS Data Node</a:t>
                    </a:r>
                  </a:p>
                </p:txBody>
              </p:sp>
            </p:grpSp>
            <p:cxnSp>
              <p:nvCxnSpPr>
                <p:cNvPr id="33" name="Connector: Elbow 32">
                  <a:extLst>
                    <a:ext uri="{FF2B5EF4-FFF2-40B4-BE49-F238E27FC236}">
                      <a16:creationId xmlns:a16="http://schemas.microsoft.com/office/drawing/2014/main" id="{49519957-4C27-40DB-919F-6521874F322F}"/>
                    </a:ext>
                  </a:extLst>
                </p:cNvPr>
                <p:cNvCxnSpPr>
                  <a:cxnSpLocks/>
                  <a:stCxn id="201" idx="0"/>
                  <a:endCxn id="196" idx="0"/>
                </p:cNvCxnSpPr>
                <p:nvPr/>
              </p:nvCxnSpPr>
              <p:spPr>
                <a:xfrm rot="16200000" flipV="1">
                  <a:off x="8585880" y="2508173"/>
                  <a:ext cx="12700" cy="2929461"/>
                </a:xfrm>
                <a:prstGeom prst="bentConnector3">
                  <a:avLst>
                    <a:gd name="adj1" fmla="val 1800000"/>
                  </a:avLst>
                </a:prstGeom>
                <a:ln w="12700">
                  <a:solidFill>
                    <a:srgbClr val="757575"/>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106" name="Rectangle 105">
                  <a:extLst>
                    <a:ext uri="{FF2B5EF4-FFF2-40B4-BE49-F238E27FC236}">
                      <a16:creationId xmlns:a16="http://schemas.microsoft.com/office/drawing/2014/main" id="{D0E98216-87A2-4C63-80D9-54DBF7DBD174}"/>
                    </a:ext>
                  </a:extLst>
                </p:cNvPr>
                <p:cNvSpPr/>
                <p:nvPr/>
              </p:nvSpPr>
              <p:spPr>
                <a:xfrm>
                  <a:off x="7448645" y="3856110"/>
                  <a:ext cx="1283056" cy="1252942"/>
                </a:xfrm>
                <a:prstGeom prst="rect">
                  <a:avLst/>
                </a:prstGeom>
                <a:noFill/>
                <a:ln w="12700">
                  <a:solidFill>
                    <a:srgbClr val="0077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107" name="TextBox 106">
                  <a:extLst>
                    <a:ext uri="{FF2B5EF4-FFF2-40B4-BE49-F238E27FC236}">
                      <a16:creationId xmlns:a16="http://schemas.microsoft.com/office/drawing/2014/main" id="{5835B9B0-982B-4B08-8EF4-3093178F82C6}"/>
                    </a:ext>
                  </a:extLst>
                </p:cNvPr>
                <p:cNvSpPr txBox="1"/>
                <p:nvPr/>
              </p:nvSpPr>
              <p:spPr>
                <a:xfrm>
                  <a:off x="7514670" y="4862830"/>
                  <a:ext cx="1137659" cy="246221"/>
                </a:xfrm>
                <a:prstGeom prst="rect">
                  <a:avLst/>
                </a:prstGeom>
                <a:noFill/>
              </p:spPr>
              <p:txBody>
                <a:bodyPr vert="horz"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77D7"/>
                      </a:solidFill>
                      <a:effectLst/>
                      <a:uLnTx/>
                      <a:uFillTx/>
                      <a:latin typeface="+mj-lt"/>
                      <a:cs typeface="Segoe UI" panose="020B0502040204020203" pitchFamily="34" charset="0"/>
                    </a:rPr>
                    <a:t>Kubernetes pod</a:t>
                  </a:r>
                </a:p>
              </p:txBody>
            </p:sp>
            <p:sp>
              <p:nvSpPr>
                <p:cNvPr id="145" name="TextBox 144">
                  <a:extLst>
                    <a:ext uri="{FF2B5EF4-FFF2-40B4-BE49-F238E27FC236}">
                      <a16:creationId xmlns:a16="http://schemas.microsoft.com/office/drawing/2014/main" id="{568549EE-3AA6-44B4-8959-E35CA3B2B83B}"/>
                    </a:ext>
                  </a:extLst>
                </p:cNvPr>
                <p:cNvSpPr txBox="1"/>
                <p:nvPr/>
              </p:nvSpPr>
              <p:spPr>
                <a:xfrm>
                  <a:off x="9339941" y="1218602"/>
                  <a:ext cx="1002190" cy="246221"/>
                </a:xfrm>
                <a:prstGeom prst="rect">
                  <a:avLst/>
                </a:prstGeom>
                <a:noFill/>
              </p:spPr>
              <p:txBody>
                <a:bodyPr wrap="square" bIns="45720" rtlCol="0">
                  <a:spAutoFit/>
                </a:bodyPr>
                <a:lstStyle/>
                <a:p>
                  <a:pPr marR="0" lvl="0" indent="0" algn="ctr" defTabSz="457200" fontAlgn="auto">
                    <a:lnSpc>
                      <a:spcPct val="100000"/>
                    </a:lnSpc>
                    <a:spcBef>
                      <a:spcPts val="0"/>
                    </a:spcBef>
                    <a:spcAft>
                      <a:spcPts val="0"/>
                    </a:spcAft>
                    <a:buClrTx/>
                    <a:buSzTx/>
                    <a:buFontTx/>
                    <a:buNone/>
                    <a:tabLst/>
                    <a:defRPr/>
                  </a:pPr>
                  <a:r>
                    <a:rPr lang="en-US" sz="1000" b="1" dirty="0">
                      <a:solidFill>
                        <a:schemeClr val="tx2"/>
                      </a:solidFill>
                      <a:latin typeface="+mj-lt"/>
                      <a:cs typeface="Segoe UI" panose="020B0502040204020203" pitchFamily="34" charset="0"/>
                    </a:rPr>
                    <a:t>Analytics</a:t>
                  </a:r>
                </a:p>
              </p:txBody>
            </p:sp>
            <p:cxnSp>
              <p:nvCxnSpPr>
                <p:cNvPr id="169" name="Connector: Elbow 168">
                  <a:extLst>
                    <a:ext uri="{FF2B5EF4-FFF2-40B4-BE49-F238E27FC236}">
                      <a16:creationId xmlns:a16="http://schemas.microsoft.com/office/drawing/2014/main" id="{768D203E-BC05-4AD0-B43A-280412A60AEB}"/>
                    </a:ext>
                  </a:extLst>
                </p:cNvPr>
                <p:cNvCxnSpPr>
                  <a:cxnSpLocks/>
                </p:cNvCxnSpPr>
                <p:nvPr/>
              </p:nvCxnSpPr>
              <p:spPr>
                <a:xfrm rot="16200000" flipH="1">
                  <a:off x="8092455" y="348059"/>
                  <a:ext cx="12700" cy="2437022"/>
                </a:xfrm>
                <a:prstGeom prst="bentConnector3">
                  <a:avLst>
                    <a:gd name="adj1" fmla="val 737142"/>
                  </a:avLst>
                </a:prstGeom>
                <a:ln w="12700">
                  <a:solidFill>
                    <a:srgbClr val="757575"/>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70" name="Straight Arrow Connector 169">
                  <a:extLst>
                    <a:ext uri="{FF2B5EF4-FFF2-40B4-BE49-F238E27FC236}">
                      <a16:creationId xmlns:a16="http://schemas.microsoft.com/office/drawing/2014/main" id="{D4BDB416-0943-4F6B-B863-679C20BF80A5}"/>
                    </a:ext>
                  </a:extLst>
                </p:cNvPr>
                <p:cNvCxnSpPr>
                  <a:cxnSpLocks/>
                </p:cNvCxnSpPr>
                <p:nvPr/>
              </p:nvCxnSpPr>
              <p:spPr>
                <a:xfrm>
                  <a:off x="8101447" y="1592208"/>
                  <a:ext cx="1" cy="288739"/>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116" name="TextBox 115">
                  <a:extLst>
                    <a:ext uri="{FF2B5EF4-FFF2-40B4-BE49-F238E27FC236}">
                      <a16:creationId xmlns:a16="http://schemas.microsoft.com/office/drawing/2014/main" id="{BCEF8009-0BC0-46F2-9378-01A59C9CFB03}"/>
                    </a:ext>
                  </a:extLst>
                </p:cNvPr>
                <p:cNvSpPr txBox="1"/>
                <p:nvPr/>
              </p:nvSpPr>
              <p:spPr>
                <a:xfrm>
                  <a:off x="7045862" y="1122807"/>
                  <a:ext cx="698235" cy="427809"/>
                </a:xfrm>
                <a:prstGeom prst="rect">
                  <a:avLst/>
                </a:prstGeom>
                <a:noFill/>
                <a:ln>
                  <a:noFill/>
                </a:ln>
              </p:spPr>
              <p:txBody>
                <a:bodyPr wrap="square" bIns="73152" rtlCol="0">
                  <a:spAutoFit/>
                </a:bodyPr>
                <a:lstStyle/>
                <a:p>
                  <a:pPr marR="0" lvl="0" indent="0" defTabSz="457200" fontAlgn="auto">
                    <a:lnSpc>
                      <a:spcPct val="100000"/>
                    </a:lnSpc>
                    <a:spcBef>
                      <a:spcPts val="0"/>
                    </a:spcBef>
                    <a:spcAft>
                      <a:spcPts val="0"/>
                    </a:spcAft>
                    <a:buClrTx/>
                    <a:buSzTx/>
                    <a:buFontTx/>
                    <a:buNone/>
                    <a:tabLst/>
                    <a:defRPr/>
                  </a:pPr>
                  <a:r>
                    <a:rPr lang="en-US" sz="1000" b="1" dirty="0">
                      <a:solidFill>
                        <a:schemeClr val="tx2"/>
                      </a:solidFill>
                      <a:latin typeface="+mj-lt"/>
                      <a:cs typeface="Segoe UI" panose="020B0502040204020203" pitchFamily="34" charset="0"/>
                    </a:rPr>
                    <a:t>Custom</a:t>
                  </a:r>
                  <a:br>
                    <a:rPr lang="en-US" sz="1000" b="1" dirty="0">
                      <a:solidFill>
                        <a:schemeClr val="tx2"/>
                      </a:solidFill>
                      <a:latin typeface="+mj-lt"/>
                      <a:cs typeface="Segoe UI" panose="020B0502040204020203" pitchFamily="34" charset="0"/>
                    </a:rPr>
                  </a:br>
                  <a:r>
                    <a:rPr lang="en-US" sz="1000" b="1" dirty="0">
                      <a:solidFill>
                        <a:schemeClr val="tx2"/>
                      </a:solidFill>
                      <a:latin typeface="+mj-lt"/>
                      <a:cs typeface="Segoe UI" panose="020B0502040204020203" pitchFamily="34" charset="0"/>
                    </a:rPr>
                    <a:t>apps</a:t>
                  </a:r>
                </a:p>
              </p:txBody>
            </p:sp>
            <p:sp>
              <p:nvSpPr>
                <p:cNvPr id="117" name="TextBox 116">
                  <a:extLst>
                    <a:ext uri="{FF2B5EF4-FFF2-40B4-BE49-F238E27FC236}">
                      <a16:creationId xmlns:a16="http://schemas.microsoft.com/office/drawing/2014/main" id="{E2A4761C-D819-468C-9122-65D0787DCD35}"/>
                    </a:ext>
                  </a:extLst>
                </p:cNvPr>
                <p:cNvSpPr txBox="1"/>
                <p:nvPr/>
              </p:nvSpPr>
              <p:spPr>
                <a:xfrm>
                  <a:off x="8306274" y="1218601"/>
                  <a:ext cx="370223" cy="273921"/>
                </a:xfrm>
                <a:prstGeom prst="rect">
                  <a:avLst/>
                </a:prstGeom>
                <a:noFill/>
              </p:spPr>
              <p:txBody>
                <a:bodyPr wrap="square" bIns="73152" rtlCol="0">
                  <a:spAutoFit/>
                </a:bodyPr>
                <a:lstStyle/>
                <a:p>
                  <a:pPr algn="ctr" defTabSz="457200">
                    <a:defRPr/>
                  </a:pPr>
                  <a:r>
                    <a:rPr lang="en-US" sz="1000" b="1" dirty="0">
                      <a:solidFill>
                        <a:schemeClr val="tx2"/>
                      </a:solidFill>
                      <a:latin typeface="+mj-lt"/>
                      <a:cs typeface="Segoe UI" panose="020B0502040204020203" pitchFamily="34" charset="0"/>
                    </a:rPr>
                    <a:t>BI</a:t>
                  </a:r>
                </a:p>
              </p:txBody>
            </p:sp>
            <p:cxnSp>
              <p:nvCxnSpPr>
                <p:cNvPr id="5" name="Straight Connector 4">
                  <a:extLst>
                    <a:ext uri="{FF2B5EF4-FFF2-40B4-BE49-F238E27FC236}">
                      <a16:creationId xmlns:a16="http://schemas.microsoft.com/office/drawing/2014/main" id="{D57AACCA-308C-7549-B252-302359591FD2}"/>
                    </a:ext>
                  </a:extLst>
                </p:cNvPr>
                <p:cNvCxnSpPr>
                  <a:cxnSpLocks/>
                </p:cNvCxnSpPr>
                <p:nvPr/>
              </p:nvCxnSpPr>
              <p:spPr>
                <a:xfrm>
                  <a:off x="8404070" y="3747858"/>
                  <a:ext cx="0" cy="222101"/>
                </a:xfrm>
                <a:prstGeom prst="line">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302" name="Rectangle 301">
                  <a:extLst>
                    <a:ext uri="{FF2B5EF4-FFF2-40B4-BE49-F238E27FC236}">
                      <a16:creationId xmlns:a16="http://schemas.microsoft.com/office/drawing/2014/main" id="{FEA9D8F1-C4EC-0047-9621-92C6929912CD}"/>
                    </a:ext>
                  </a:extLst>
                </p:cNvPr>
                <p:cNvSpPr/>
                <p:nvPr/>
              </p:nvSpPr>
              <p:spPr>
                <a:xfrm>
                  <a:off x="8216107" y="1947004"/>
                  <a:ext cx="2216210" cy="427809"/>
                </a:xfrm>
                <a:prstGeom prst="rect">
                  <a:avLst/>
                </a:prstGeom>
                <a:noFill/>
                <a:ln>
                  <a:noFill/>
                </a:ln>
              </p:spPr>
              <p:txBody>
                <a:bodyPr wrap="square" bIns="73152" rtlCol="0">
                  <a:spAutoFit/>
                </a:bodyPr>
                <a:lstStyle/>
                <a:p>
                  <a:pPr defTabSz="457200"/>
                  <a:r>
                    <a:rPr lang="en-US" sz="1000" b="1" dirty="0">
                      <a:solidFill>
                        <a:schemeClr val="tx2"/>
                      </a:solidFill>
                      <a:latin typeface="+mj-lt"/>
                      <a:cs typeface="Segoe UI" panose="020B0502040204020203" pitchFamily="34" charset="0"/>
                    </a:rPr>
                    <a:t>SQL Server </a:t>
                  </a:r>
                  <a:br>
                    <a:rPr lang="en-US" sz="1000" b="1" dirty="0">
                      <a:solidFill>
                        <a:schemeClr val="tx2"/>
                      </a:solidFill>
                      <a:latin typeface="+mj-lt"/>
                      <a:cs typeface="Segoe UI" panose="020B0502040204020203" pitchFamily="34" charset="0"/>
                    </a:rPr>
                  </a:br>
                  <a:r>
                    <a:rPr lang="en-US" sz="1000" b="1" dirty="0">
                      <a:solidFill>
                        <a:schemeClr val="tx2"/>
                      </a:solidFill>
                      <a:latin typeface="+mj-lt"/>
                      <a:cs typeface="Segoe UI" panose="020B0502040204020203" pitchFamily="34" charset="0"/>
                    </a:rPr>
                    <a:t>master instance</a:t>
                  </a:r>
                </a:p>
              </p:txBody>
            </p:sp>
            <p:pic>
              <p:nvPicPr>
                <p:cNvPr id="253" name="Picture 252">
                  <a:extLst>
                    <a:ext uri="{FF2B5EF4-FFF2-40B4-BE49-F238E27FC236}">
                      <a16:creationId xmlns:a16="http://schemas.microsoft.com/office/drawing/2014/main" id="{C82ECAE6-3E1B-4F7A-8463-24AECF9147B2}"/>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1465924" y="5628519"/>
                  <a:ext cx="453297" cy="336508"/>
                </a:xfrm>
                <a:prstGeom prst="rect">
                  <a:avLst/>
                </a:prstGeom>
              </p:spPr>
            </p:pic>
            <p:grpSp>
              <p:nvGrpSpPr>
                <p:cNvPr id="6" name="Group 5">
                  <a:extLst>
                    <a:ext uri="{FF2B5EF4-FFF2-40B4-BE49-F238E27FC236}">
                      <a16:creationId xmlns:a16="http://schemas.microsoft.com/office/drawing/2014/main" id="{A6694C5E-DCC3-E844-9BEB-0409DB9FB311}"/>
                    </a:ext>
                  </a:extLst>
                </p:cNvPr>
                <p:cNvGrpSpPr/>
                <p:nvPr/>
              </p:nvGrpSpPr>
              <p:grpSpPr>
                <a:xfrm>
                  <a:off x="2601701" y="5494591"/>
                  <a:ext cx="831068" cy="577782"/>
                  <a:chOff x="2601701" y="5883211"/>
                  <a:chExt cx="831068" cy="577782"/>
                </a:xfrm>
              </p:grpSpPr>
              <p:sp>
                <p:nvSpPr>
                  <p:cNvPr id="396" name="TextBox 395">
                    <a:extLst>
                      <a:ext uri="{FF2B5EF4-FFF2-40B4-BE49-F238E27FC236}">
                        <a16:creationId xmlns:a16="http://schemas.microsoft.com/office/drawing/2014/main" id="{0FA689F7-5F43-45F5-8D27-6BDDC03C0B1C}"/>
                      </a:ext>
                    </a:extLst>
                  </p:cNvPr>
                  <p:cNvSpPr txBox="1"/>
                  <p:nvPr/>
                </p:nvSpPr>
                <p:spPr>
                  <a:xfrm>
                    <a:off x="2601701" y="6230161"/>
                    <a:ext cx="831068" cy="230832"/>
                  </a:xfrm>
                  <a:prstGeom prst="rect">
                    <a:avLst/>
                  </a:prstGeom>
                  <a:noFill/>
                </p:spPr>
                <p:txBody>
                  <a:bodyPr wrap="square" lIns="91440" tIns="45720" rIns="91440" bIns="45720" rtlCol="0">
                    <a:spAutoFit/>
                  </a:bodyPr>
                  <a:lstStyle>
                    <a:defPPr>
                      <a:defRPr lang="en-US"/>
                    </a:defPPr>
                    <a:lvl1pPr>
                      <a:lnSpc>
                        <a:spcPct val="90000"/>
                      </a:lnSpc>
                      <a:spcAft>
                        <a:spcPts val="600"/>
                      </a:spcAft>
                      <a:defRPr sz="1400">
                        <a:gradFill>
                          <a:gsLst>
                            <a:gs pos="2917">
                              <a:schemeClr val="tx1"/>
                            </a:gs>
                            <a:gs pos="30000">
                              <a:schemeClr val="tx1"/>
                            </a:gs>
                          </a:gsLst>
                          <a:lin ang="5400000" scaled="0"/>
                        </a:gradFill>
                      </a:defRPr>
                    </a:lvl1pPr>
                  </a:lstStyle>
                  <a:p>
                    <a:pPr algn="ctr"/>
                    <a:r>
                      <a:rPr lang="en-US" sz="1000" b="1" dirty="0">
                        <a:solidFill>
                          <a:srgbClr val="0078D7"/>
                        </a:solidFill>
                        <a:latin typeface="+mj-lt"/>
                        <a:cs typeface="Segoe UI" panose="020B0502040204020203" pitchFamily="34" charset="0"/>
                      </a:rPr>
                      <a:t>Node</a:t>
                    </a:r>
                  </a:p>
                </p:txBody>
              </p:sp>
              <p:grpSp>
                <p:nvGrpSpPr>
                  <p:cNvPr id="243" name="Group 242">
                    <a:extLst>
                      <a:ext uri="{FF2B5EF4-FFF2-40B4-BE49-F238E27FC236}">
                        <a16:creationId xmlns:a16="http://schemas.microsoft.com/office/drawing/2014/main" id="{5CBBB4AD-F437-CE40-BA55-55C2445B05FD}"/>
                      </a:ext>
                    </a:extLst>
                  </p:cNvPr>
                  <p:cNvGrpSpPr/>
                  <p:nvPr/>
                </p:nvGrpSpPr>
                <p:grpSpPr>
                  <a:xfrm>
                    <a:off x="2867821" y="5883211"/>
                    <a:ext cx="317340" cy="313918"/>
                    <a:chOff x="6712956" y="9045673"/>
                    <a:chExt cx="464984" cy="459971"/>
                  </a:xfrm>
                </p:grpSpPr>
                <p:sp>
                  <p:nvSpPr>
                    <p:cNvPr id="244" name="Rectangle 243">
                      <a:extLst>
                        <a:ext uri="{FF2B5EF4-FFF2-40B4-BE49-F238E27FC236}">
                          <a16:creationId xmlns:a16="http://schemas.microsoft.com/office/drawing/2014/main" id="{F893E8C6-54E6-0C47-BD14-0E6E5089BA7F}"/>
                        </a:ext>
                      </a:extLst>
                    </p:cNvPr>
                    <p:cNvSpPr/>
                    <p:nvPr/>
                  </p:nvSpPr>
                  <p:spPr bwMode="auto">
                    <a:xfrm>
                      <a:off x="6712956" y="9205584"/>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245" name="Rectangle 244">
                      <a:extLst>
                        <a:ext uri="{FF2B5EF4-FFF2-40B4-BE49-F238E27FC236}">
                          <a16:creationId xmlns:a16="http://schemas.microsoft.com/office/drawing/2014/main" id="{D176CD69-C9F4-9C4D-B83A-C296395DF399}"/>
                        </a:ext>
                      </a:extLst>
                    </p:cNvPr>
                    <p:cNvSpPr/>
                    <p:nvPr/>
                  </p:nvSpPr>
                  <p:spPr bwMode="auto">
                    <a:xfrm>
                      <a:off x="6712956" y="9367139"/>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nvGrpSpPr>
                    <p:cNvPr id="246" name="Group 245">
                      <a:extLst>
                        <a:ext uri="{FF2B5EF4-FFF2-40B4-BE49-F238E27FC236}">
                          <a16:creationId xmlns:a16="http://schemas.microsoft.com/office/drawing/2014/main" id="{B94F745E-2C60-F442-81F7-7D0CBA783E1D}"/>
                        </a:ext>
                      </a:extLst>
                    </p:cNvPr>
                    <p:cNvGrpSpPr/>
                    <p:nvPr/>
                  </p:nvGrpSpPr>
                  <p:grpSpPr>
                    <a:xfrm>
                      <a:off x="6712956" y="9045673"/>
                      <a:ext cx="464984" cy="138505"/>
                      <a:chOff x="551886" y="4922823"/>
                      <a:chExt cx="508602" cy="151498"/>
                    </a:xfrm>
                  </p:grpSpPr>
                  <p:sp>
                    <p:nvSpPr>
                      <p:cNvPr id="268" name="Rectangle 267">
                        <a:extLst>
                          <a:ext uri="{FF2B5EF4-FFF2-40B4-BE49-F238E27FC236}">
                            <a16:creationId xmlns:a16="http://schemas.microsoft.com/office/drawing/2014/main" id="{4DF8A28E-9F59-BE41-BAF2-C7991A434DF2}"/>
                          </a:ext>
                        </a:extLst>
                      </p:cNvPr>
                      <p:cNvSpPr/>
                      <p:nvPr/>
                    </p:nvSpPr>
                    <p:spPr bwMode="auto">
                      <a:xfrm>
                        <a:off x="551886" y="4922823"/>
                        <a:ext cx="508602" cy="151498"/>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269" name="Oval 268">
                        <a:extLst>
                          <a:ext uri="{FF2B5EF4-FFF2-40B4-BE49-F238E27FC236}">
                            <a16:creationId xmlns:a16="http://schemas.microsoft.com/office/drawing/2014/main" id="{B2A79333-E6FD-224E-BF21-0180E749634A}"/>
                          </a:ext>
                        </a:extLst>
                      </p:cNvPr>
                      <p:cNvSpPr/>
                      <p:nvPr/>
                    </p:nvSpPr>
                    <p:spPr bwMode="auto">
                      <a:xfrm flipH="1">
                        <a:off x="955040" y="4971128"/>
                        <a:ext cx="45720" cy="45720"/>
                      </a:xfrm>
                      <a:prstGeom prst="ellipse">
                        <a:avLst/>
                      </a:prstGeom>
                      <a:solidFill>
                        <a:srgbClr val="50E6FF"/>
                      </a:solidFill>
                      <a:ln w="1270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cxnSp>
                    <p:nvCxnSpPr>
                      <p:cNvPr id="270" name="Straight Connector 269">
                        <a:extLst>
                          <a:ext uri="{FF2B5EF4-FFF2-40B4-BE49-F238E27FC236}">
                            <a16:creationId xmlns:a16="http://schemas.microsoft.com/office/drawing/2014/main" id="{0001DA93-A807-7D43-BA58-9AE6B5CB3F57}"/>
                          </a:ext>
                        </a:extLst>
                      </p:cNvPr>
                      <p:cNvCxnSpPr/>
                      <p:nvPr/>
                    </p:nvCxnSpPr>
                    <p:spPr>
                      <a:xfrm>
                        <a:off x="625475" y="4997163"/>
                        <a:ext cx="238125" cy="0"/>
                      </a:xfrm>
                      <a:prstGeom prst="line">
                        <a:avLst/>
                      </a:prstGeom>
                      <a:solidFill>
                        <a:srgbClr val="50E6FF"/>
                      </a:solidFill>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47" name="Straight Connector 246">
                      <a:extLst>
                        <a:ext uri="{FF2B5EF4-FFF2-40B4-BE49-F238E27FC236}">
                          <a16:creationId xmlns:a16="http://schemas.microsoft.com/office/drawing/2014/main" id="{1A3B0D12-2076-9746-8A88-6B33D100B24A}"/>
                        </a:ext>
                      </a:extLst>
                    </p:cNvPr>
                    <p:cNvCxnSpPr>
                      <a:cxnSpLocks/>
                    </p:cNvCxnSpPr>
                    <p:nvPr/>
                  </p:nvCxnSpPr>
                  <p:spPr>
                    <a:xfrm>
                      <a:off x="6805851"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D146621C-D43A-F74D-8505-1831C579845B}"/>
                        </a:ext>
                      </a:extLst>
                    </p:cNvPr>
                    <p:cNvCxnSpPr>
                      <a:cxnSpLocks/>
                    </p:cNvCxnSpPr>
                    <p:nvPr/>
                  </p:nvCxnSpPr>
                  <p:spPr>
                    <a:xfrm>
                      <a:off x="6898824"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EE2DE358-1E71-D84A-A3C0-1E319EA18F39}"/>
                        </a:ext>
                      </a:extLst>
                    </p:cNvPr>
                    <p:cNvCxnSpPr>
                      <a:cxnSpLocks/>
                    </p:cNvCxnSpPr>
                    <p:nvPr/>
                  </p:nvCxnSpPr>
                  <p:spPr>
                    <a:xfrm>
                      <a:off x="6991796"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C182B588-6C35-0243-B5E3-9C928C78DA90}"/>
                        </a:ext>
                      </a:extLst>
                    </p:cNvPr>
                    <p:cNvCxnSpPr>
                      <a:cxnSpLocks/>
                    </p:cNvCxnSpPr>
                    <p:nvPr/>
                  </p:nvCxnSpPr>
                  <p:spPr>
                    <a:xfrm>
                      <a:off x="7084769"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7230092A-314D-4140-BBBE-68F8D7445777}"/>
                        </a:ext>
                      </a:extLst>
                    </p:cNvPr>
                    <p:cNvCxnSpPr>
                      <a:cxnSpLocks/>
                    </p:cNvCxnSpPr>
                    <p:nvPr/>
                  </p:nvCxnSpPr>
                  <p:spPr>
                    <a:xfrm>
                      <a:off x="6805851"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533D628E-19F0-7C43-B790-62ADA51C462A}"/>
                        </a:ext>
                      </a:extLst>
                    </p:cNvPr>
                    <p:cNvCxnSpPr>
                      <a:cxnSpLocks/>
                    </p:cNvCxnSpPr>
                    <p:nvPr/>
                  </p:nvCxnSpPr>
                  <p:spPr>
                    <a:xfrm>
                      <a:off x="6898824"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38D9D57F-8B62-E647-AE68-828DE5CE4BD9}"/>
                        </a:ext>
                      </a:extLst>
                    </p:cNvPr>
                    <p:cNvCxnSpPr>
                      <a:cxnSpLocks/>
                    </p:cNvCxnSpPr>
                    <p:nvPr/>
                  </p:nvCxnSpPr>
                  <p:spPr>
                    <a:xfrm>
                      <a:off x="6991796"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DBD4AF6A-A3AE-F748-8DD9-ADAD16A88FB3}"/>
                        </a:ext>
                      </a:extLst>
                    </p:cNvPr>
                    <p:cNvCxnSpPr>
                      <a:cxnSpLocks/>
                    </p:cNvCxnSpPr>
                    <p:nvPr/>
                  </p:nvCxnSpPr>
                  <p:spPr>
                    <a:xfrm>
                      <a:off x="7084769"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16" name="Group 515">
                  <a:extLst>
                    <a:ext uri="{FF2B5EF4-FFF2-40B4-BE49-F238E27FC236}">
                      <a16:creationId xmlns:a16="http://schemas.microsoft.com/office/drawing/2014/main" id="{76A8E501-3E79-A941-A0F9-1F162F991AC9}"/>
                    </a:ext>
                  </a:extLst>
                </p:cNvPr>
                <p:cNvGrpSpPr/>
                <p:nvPr/>
              </p:nvGrpSpPr>
              <p:grpSpPr>
                <a:xfrm>
                  <a:off x="3965022" y="5494591"/>
                  <a:ext cx="831068" cy="577782"/>
                  <a:chOff x="2601701" y="5883211"/>
                  <a:chExt cx="831068" cy="577782"/>
                </a:xfrm>
              </p:grpSpPr>
              <p:sp>
                <p:nvSpPr>
                  <p:cNvPr id="517" name="TextBox 516">
                    <a:extLst>
                      <a:ext uri="{FF2B5EF4-FFF2-40B4-BE49-F238E27FC236}">
                        <a16:creationId xmlns:a16="http://schemas.microsoft.com/office/drawing/2014/main" id="{E6D42AC8-7DD8-E740-ABAD-FD4E499403A6}"/>
                      </a:ext>
                    </a:extLst>
                  </p:cNvPr>
                  <p:cNvSpPr txBox="1"/>
                  <p:nvPr/>
                </p:nvSpPr>
                <p:spPr>
                  <a:xfrm>
                    <a:off x="2601701" y="6230161"/>
                    <a:ext cx="831068" cy="230832"/>
                  </a:xfrm>
                  <a:prstGeom prst="rect">
                    <a:avLst/>
                  </a:prstGeom>
                  <a:noFill/>
                </p:spPr>
                <p:txBody>
                  <a:bodyPr wrap="square" lIns="91440" tIns="45720" rIns="91440" bIns="45720" rtlCol="0">
                    <a:spAutoFit/>
                  </a:bodyPr>
                  <a:lstStyle>
                    <a:defPPr>
                      <a:defRPr lang="en-US"/>
                    </a:defPPr>
                    <a:lvl1pPr>
                      <a:lnSpc>
                        <a:spcPct val="90000"/>
                      </a:lnSpc>
                      <a:spcAft>
                        <a:spcPts val="600"/>
                      </a:spcAft>
                      <a:defRPr sz="1400">
                        <a:gradFill>
                          <a:gsLst>
                            <a:gs pos="2917">
                              <a:schemeClr val="tx1"/>
                            </a:gs>
                            <a:gs pos="30000">
                              <a:schemeClr val="tx1"/>
                            </a:gs>
                          </a:gsLst>
                          <a:lin ang="5400000" scaled="0"/>
                        </a:gradFill>
                      </a:defRPr>
                    </a:lvl1pPr>
                  </a:lstStyle>
                  <a:p>
                    <a:pPr algn="ctr"/>
                    <a:r>
                      <a:rPr lang="en-US" sz="1000" b="1" dirty="0">
                        <a:solidFill>
                          <a:srgbClr val="0078D7"/>
                        </a:solidFill>
                        <a:latin typeface="+mj-lt"/>
                        <a:cs typeface="Segoe UI" panose="020B0502040204020203" pitchFamily="34" charset="0"/>
                      </a:rPr>
                      <a:t>Node</a:t>
                    </a:r>
                  </a:p>
                </p:txBody>
              </p:sp>
              <p:grpSp>
                <p:nvGrpSpPr>
                  <p:cNvPr id="518" name="Group 517">
                    <a:extLst>
                      <a:ext uri="{FF2B5EF4-FFF2-40B4-BE49-F238E27FC236}">
                        <a16:creationId xmlns:a16="http://schemas.microsoft.com/office/drawing/2014/main" id="{4431EB2E-1D82-5F44-A1A3-70D038FCA06A}"/>
                      </a:ext>
                    </a:extLst>
                  </p:cNvPr>
                  <p:cNvGrpSpPr/>
                  <p:nvPr/>
                </p:nvGrpSpPr>
                <p:grpSpPr>
                  <a:xfrm>
                    <a:off x="2867821" y="5883211"/>
                    <a:ext cx="317340" cy="313918"/>
                    <a:chOff x="6712956" y="9045673"/>
                    <a:chExt cx="464984" cy="459971"/>
                  </a:xfrm>
                </p:grpSpPr>
                <p:sp>
                  <p:nvSpPr>
                    <p:cNvPr id="519" name="Rectangle 518">
                      <a:extLst>
                        <a:ext uri="{FF2B5EF4-FFF2-40B4-BE49-F238E27FC236}">
                          <a16:creationId xmlns:a16="http://schemas.microsoft.com/office/drawing/2014/main" id="{4443554E-8B97-9649-BD56-58D40BD2FEE3}"/>
                        </a:ext>
                      </a:extLst>
                    </p:cNvPr>
                    <p:cNvSpPr/>
                    <p:nvPr/>
                  </p:nvSpPr>
                  <p:spPr bwMode="auto">
                    <a:xfrm>
                      <a:off x="6712956" y="9205584"/>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520" name="Rectangle 519">
                      <a:extLst>
                        <a:ext uri="{FF2B5EF4-FFF2-40B4-BE49-F238E27FC236}">
                          <a16:creationId xmlns:a16="http://schemas.microsoft.com/office/drawing/2014/main" id="{04A064F9-DB6E-2C4C-84FC-55CEF1FAF8FD}"/>
                        </a:ext>
                      </a:extLst>
                    </p:cNvPr>
                    <p:cNvSpPr/>
                    <p:nvPr/>
                  </p:nvSpPr>
                  <p:spPr bwMode="auto">
                    <a:xfrm>
                      <a:off x="6712956" y="9367139"/>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nvGrpSpPr>
                    <p:cNvPr id="521" name="Group 520">
                      <a:extLst>
                        <a:ext uri="{FF2B5EF4-FFF2-40B4-BE49-F238E27FC236}">
                          <a16:creationId xmlns:a16="http://schemas.microsoft.com/office/drawing/2014/main" id="{AAAE0D36-5B2D-1649-80BE-E04EB47E7D72}"/>
                        </a:ext>
                      </a:extLst>
                    </p:cNvPr>
                    <p:cNvGrpSpPr/>
                    <p:nvPr/>
                  </p:nvGrpSpPr>
                  <p:grpSpPr>
                    <a:xfrm>
                      <a:off x="6712956" y="9045673"/>
                      <a:ext cx="464984" cy="138505"/>
                      <a:chOff x="551886" y="4922823"/>
                      <a:chExt cx="508602" cy="151498"/>
                    </a:xfrm>
                  </p:grpSpPr>
                  <p:sp>
                    <p:nvSpPr>
                      <p:cNvPr id="530" name="Rectangle 529">
                        <a:extLst>
                          <a:ext uri="{FF2B5EF4-FFF2-40B4-BE49-F238E27FC236}">
                            <a16:creationId xmlns:a16="http://schemas.microsoft.com/office/drawing/2014/main" id="{62C077F4-AF99-CD43-A4B9-0131B3EA104D}"/>
                          </a:ext>
                        </a:extLst>
                      </p:cNvPr>
                      <p:cNvSpPr/>
                      <p:nvPr/>
                    </p:nvSpPr>
                    <p:spPr bwMode="auto">
                      <a:xfrm>
                        <a:off x="551886" y="4922823"/>
                        <a:ext cx="508602" cy="151498"/>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531" name="Oval 530">
                        <a:extLst>
                          <a:ext uri="{FF2B5EF4-FFF2-40B4-BE49-F238E27FC236}">
                            <a16:creationId xmlns:a16="http://schemas.microsoft.com/office/drawing/2014/main" id="{7A3B29C6-DCC7-B54B-A1AB-C2F3C04368C8}"/>
                          </a:ext>
                        </a:extLst>
                      </p:cNvPr>
                      <p:cNvSpPr/>
                      <p:nvPr/>
                    </p:nvSpPr>
                    <p:spPr bwMode="auto">
                      <a:xfrm flipH="1">
                        <a:off x="955040" y="4971128"/>
                        <a:ext cx="45720" cy="45720"/>
                      </a:xfrm>
                      <a:prstGeom prst="ellipse">
                        <a:avLst/>
                      </a:prstGeom>
                      <a:solidFill>
                        <a:srgbClr val="50E6FF"/>
                      </a:solidFill>
                      <a:ln w="1270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cxnSp>
                    <p:nvCxnSpPr>
                      <p:cNvPr id="532" name="Straight Connector 531">
                        <a:extLst>
                          <a:ext uri="{FF2B5EF4-FFF2-40B4-BE49-F238E27FC236}">
                            <a16:creationId xmlns:a16="http://schemas.microsoft.com/office/drawing/2014/main" id="{B9D45F34-79E2-0441-8DE0-78F79CDDF1F4}"/>
                          </a:ext>
                        </a:extLst>
                      </p:cNvPr>
                      <p:cNvCxnSpPr/>
                      <p:nvPr/>
                    </p:nvCxnSpPr>
                    <p:spPr>
                      <a:xfrm>
                        <a:off x="625475" y="4997163"/>
                        <a:ext cx="238125" cy="0"/>
                      </a:xfrm>
                      <a:prstGeom prst="line">
                        <a:avLst/>
                      </a:prstGeom>
                      <a:solidFill>
                        <a:srgbClr val="50E6FF"/>
                      </a:solidFill>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522" name="Straight Connector 521">
                      <a:extLst>
                        <a:ext uri="{FF2B5EF4-FFF2-40B4-BE49-F238E27FC236}">
                          <a16:creationId xmlns:a16="http://schemas.microsoft.com/office/drawing/2014/main" id="{F9E32227-DAC1-DF48-909F-3D3FEECEC584}"/>
                        </a:ext>
                      </a:extLst>
                    </p:cNvPr>
                    <p:cNvCxnSpPr>
                      <a:cxnSpLocks/>
                    </p:cNvCxnSpPr>
                    <p:nvPr/>
                  </p:nvCxnSpPr>
                  <p:spPr>
                    <a:xfrm>
                      <a:off x="6805851"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3" name="Straight Connector 522">
                      <a:extLst>
                        <a:ext uri="{FF2B5EF4-FFF2-40B4-BE49-F238E27FC236}">
                          <a16:creationId xmlns:a16="http://schemas.microsoft.com/office/drawing/2014/main" id="{756D9367-B050-DC47-B813-27E2CF5D078D}"/>
                        </a:ext>
                      </a:extLst>
                    </p:cNvPr>
                    <p:cNvCxnSpPr>
                      <a:cxnSpLocks/>
                    </p:cNvCxnSpPr>
                    <p:nvPr/>
                  </p:nvCxnSpPr>
                  <p:spPr>
                    <a:xfrm>
                      <a:off x="6898824"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4" name="Straight Connector 523">
                      <a:extLst>
                        <a:ext uri="{FF2B5EF4-FFF2-40B4-BE49-F238E27FC236}">
                          <a16:creationId xmlns:a16="http://schemas.microsoft.com/office/drawing/2014/main" id="{E5924ED6-33BC-FF4B-ABD4-C4AE5540AF31}"/>
                        </a:ext>
                      </a:extLst>
                    </p:cNvPr>
                    <p:cNvCxnSpPr>
                      <a:cxnSpLocks/>
                    </p:cNvCxnSpPr>
                    <p:nvPr/>
                  </p:nvCxnSpPr>
                  <p:spPr>
                    <a:xfrm>
                      <a:off x="6991796"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5" name="Straight Connector 524">
                      <a:extLst>
                        <a:ext uri="{FF2B5EF4-FFF2-40B4-BE49-F238E27FC236}">
                          <a16:creationId xmlns:a16="http://schemas.microsoft.com/office/drawing/2014/main" id="{CD44BE65-2EC0-D54C-B2EA-4AAE1856BA37}"/>
                        </a:ext>
                      </a:extLst>
                    </p:cNvPr>
                    <p:cNvCxnSpPr>
                      <a:cxnSpLocks/>
                    </p:cNvCxnSpPr>
                    <p:nvPr/>
                  </p:nvCxnSpPr>
                  <p:spPr>
                    <a:xfrm>
                      <a:off x="7084769"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6" name="Straight Connector 525">
                      <a:extLst>
                        <a:ext uri="{FF2B5EF4-FFF2-40B4-BE49-F238E27FC236}">
                          <a16:creationId xmlns:a16="http://schemas.microsoft.com/office/drawing/2014/main" id="{AC995BDE-C184-4547-ABD9-6B2437891F2F}"/>
                        </a:ext>
                      </a:extLst>
                    </p:cNvPr>
                    <p:cNvCxnSpPr>
                      <a:cxnSpLocks/>
                    </p:cNvCxnSpPr>
                    <p:nvPr/>
                  </p:nvCxnSpPr>
                  <p:spPr>
                    <a:xfrm>
                      <a:off x="6805851"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7" name="Straight Connector 526">
                      <a:extLst>
                        <a:ext uri="{FF2B5EF4-FFF2-40B4-BE49-F238E27FC236}">
                          <a16:creationId xmlns:a16="http://schemas.microsoft.com/office/drawing/2014/main" id="{953B041F-E082-274F-835D-457699B6500B}"/>
                        </a:ext>
                      </a:extLst>
                    </p:cNvPr>
                    <p:cNvCxnSpPr>
                      <a:cxnSpLocks/>
                    </p:cNvCxnSpPr>
                    <p:nvPr/>
                  </p:nvCxnSpPr>
                  <p:spPr>
                    <a:xfrm>
                      <a:off x="6898824"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8" name="Straight Connector 527">
                      <a:extLst>
                        <a:ext uri="{FF2B5EF4-FFF2-40B4-BE49-F238E27FC236}">
                          <a16:creationId xmlns:a16="http://schemas.microsoft.com/office/drawing/2014/main" id="{40316641-C0E8-FF41-A691-7F28401A7C54}"/>
                        </a:ext>
                      </a:extLst>
                    </p:cNvPr>
                    <p:cNvCxnSpPr>
                      <a:cxnSpLocks/>
                    </p:cNvCxnSpPr>
                    <p:nvPr/>
                  </p:nvCxnSpPr>
                  <p:spPr>
                    <a:xfrm>
                      <a:off x="6991796"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9" name="Straight Connector 528">
                      <a:extLst>
                        <a:ext uri="{FF2B5EF4-FFF2-40B4-BE49-F238E27FC236}">
                          <a16:creationId xmlns:a16="http://schemas.microsoft.com/office/drawing/2014/main" id="{5D610662-5732-384B-91C7-746BA9520D37}"/>
                        </a:ext>
                      </a:extLst>
                    </p:cNvPr>
                    <p:cNvCxnSpPr>
                      <a:cxnSpLocks/>
                    </p:cNvCxnSpPr>
                    <p:nvPr/>
                  </p:nvCxnSpPr>
                  <p:spPr>
                    <a:xfrm>
                      <a:off x="7084769"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33" name="Group 532">
                  <a:extLst>
                    <a:ext uri="{FF2B5EF4-FFF2-40B4-BE49-F238E27FC236}">
                      <a16:creationId xmlns:a16="http://schemas.microsoft.com/office/drawing/2014/main" id="{19526B77-EC7A-D64D-85BD-C5820ED1C7BE}"/>
                    </a:ext>
                  </a:extLst>
                </p:cNvPr>
                <p:cNvGrpSpPr/>
                <p:nvPr/>
              </p:nvGrpSpPr>
              <p:grpSpPr>
                <a:xfrm>
                  <a:off x="5291524" y="5494591"/>
                  <a:ext cx="831068" cy="577782"/>
                  <a:chOff x="2601701" y="5883211"/>
                  <a:chExt cx="831068" cy="577782"/>
                </a:xfrm>
              </p:grpSpPr>
              <p:sp>
                <p:nvSpPr>
                  <p:cNvPr id="534" name="TextBox 533">
                    <a:extLst>
                      <a:ext uri="{FF2B5EF4-FFF2-40B4-BE49-F238E27FC236}">
                        <a16:creationId xmlns:a16="http://schemas.microsoft.com/office/drawing/2014/main" id="{352A7484-C450-1E4C-8EDB-89821AB4FCE3}"/>
                      </a:ext>
                    </a:extLst>
                  </p:cNvPr>
                  <p:cNvSpPr txBox="1"/>
                  <p:nvPr/>
                </p:nvSpPr>
                <p:spPr>
                  <a:xfrm>
                    <a:off x="2601701" y="6230161"/>
                    <a:ext cx="831068" cy="230832"/>
                  </a:xfrm>
                  <a:prstGeom prst="rect">
                    <a:avLst/>
                  </a:prstGeom>
                  <a:noFill/>
                </p:spPr>
                <p:txBody>
                  <a:bodyPr wrap="square" lIns="91440" tIns="45720" rIns="91440" bIns="45720" rtlCol="0">
                    <a:spAutoFit/>
                  </a:bodyPr>
                  <a:lstStyle>
                    <a:defPPr>
                      <a:defRPr lang="en-US"/>
                    </a:defPPr>
                    <a:lvl1pPr>
                      <a:lnSpc>
                        <a:spcPct val="90000"/>
                      </a:lnSpc>
                      <a:spcAft>
                        <a:spcPts val="600"/>
                      </a:spcAft>
                      <a:defRPr sz="1400">
                        <a:gradFill>
                          <a:gsLst>
                            <a:gs pos="2917">
                              <a:schemeClr val="tx1"/>
                            </a:gs>
                            <a:gs pos="30000">
                              <a:schemeClr val="tx1"/>
                            </a:gs>
                          </a:gsLst>
                          <a:lin ang="5400000" scaled="0"/>
                        </a:gradFill>
                      </a:defRPr>
                    </a:lvl1pPr>
                  </a:lstStyle>
                  <a:p>
                    <a:pPr algn="ctr"/>
                    <a:r>
                      <a:rPr lang="en-US" sz="1000" b="1" dirty="0">
                        <a:solidFill>
                          <a:srgbClr val="0078D7"/>
                        </a:solidFill>
                        <a:latin typeface="+mj-lt"/>
                        <a:cs typeface="Segoe UI" panose="020B0502040204020203" pitchFamily="34" charset="0"/>
                      </a:rPr>
                      <a:t>Node</a:t>
                    </a:r>
                  </a:p>
                </p:txBody>
              </p:sp>
              <p:grpSp>
                <p:nvGrpSpPr>
                  <p:cNvPr id="535" name="Group 534">
                    <a:extLst>
                      <a:ext uri="{FF2B5EF4-FFF2-40B4-BE49-F238E27FC236}">
                        <a16:creationId xmlns:a16="http://schemas.microsoft.com/office/drawing/2014/main" id="{2963ACF8-AA8A-D749-8930-F9B9182B0CA0}"/>
                      </a:ext>
                    </a:extLst>
                  </p:cNvPr>
                  <p:cNvGrpSpPr/>
                  <p:nvPr/>
                </p:nvGrpSpPr>
                <p:grpSpPr>
                  <a:xfrm>
                    <a:off x="2867821" y="5883211"/>
                    <a:ext cx="317340" cy="313918"/>
                    <a:chOff x="6712956" y="9045673"/>
                    <a:chExt cx="464984" cy="459971"/>
                  </a:xfrm>
                </p:grpSpPr>
                <p:sp>
                  <p:nvSpPr>
                    <p:cNvPr id="536" name="Rectangle 535">
                      <a:extLst>
                        <a:ext uri="{FF2B5EF4-FFF2-40B4-BE49-F238E27FC236}">
                          <a16:creationId xmlns:a16="http://schemas.microsoft.com/office/drawing/2014/main" id="{97914BAD-6E97-8E4E-B122-DF2950A691DE}"/>
                        </a:ext>
                      </a:extLst>
                    </p:cNvPr>
                    <p:cNvSpPr/>
                    <p:nvPr/>
                  </p:nvSpPr>
                  <p:spPr bwMode="auto">
                    <a:xfrm>
                      <a:off x="6712956" y="9205584"/>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537" name="Rectangle 536">
                      <a:extLst>
                        <a:ext uri="{FF2B5EF4-FFF2-40B4-BE49-F238E27FC236}">
                          <a16:creationId xmlns:a16="http://schemas.microsoft.com/office/drawing/2014/main" id="{88EA9E1C-013E-CB4C-958C-2C5277C0EE17}"/>
                        </a:ext>
                      </a:extLst>
                    </p:cNvPr>
                    <p:cNvSpPr/>
                    <p:nvPr/>
                  </p:nvSpPr>
                  <p:spPr bwMode="auto">
                    <a:xfrm>
                      <a:off x="6712956" y="9367139"/>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nvGrpSpPr>
                    <p:cNvPr id="538" name="Group 537">
                      <a:extLst>
                        <a:ext uri="{FF2B5EF4-FFF2-40B4-BE49-F238E27FC236}">
                          <a16:creationId xmlns:a16="http://schemas.microsoft.com/office/drawing/2014/main" id="{9B6DF391-6506-8A4A-BD3A-1F31F2E268EC}"/>
                        </a:ext>
                      </a:extLst>
                    </p:cNvPr>
                    <p:cNvGrpSpPr/>
                    <p:nvPr/>
                  </p:nvGrpSpPr>
                  <p:grpSpPr>
                    <a:xfrm>
                      <a:off x="6712956" y="9045673"/>
                      <a:ext cx="464984" cy="138505"/>
                      <a:chOff x="551886" y="4922823"/>
                      <a:chExt cx="508602" cy="151498"/>
                    </a:xfrm>
                  </p:grpSpPr>
                  <p:sp>
                    <p:nvSpPr>
                      <p:cNvPr id="547" name="Rectangle 546">
                        <a:extLst>
                          <a:ext uri="{FF2B5EF4-FFF2-40B4-BE49-F238E27FC236}">
                            <a16:creationId xmlns:a16="http://schemas.microsoft.com/office/drawing/2014/main" id="{7FB522E8-839E-4748-A2D3-132B3505F84A}"/>
                          </a:ext>
                        </a:extLst>
                      </p:cNvPr>
                      <p:cNvSpPr/>
                      <p:nvPr/>
                    </p:nvSpPr>
                    <p:spPr bwMode="auto">
                      <a:xfrm>
                        <a:off x="551886" y="4922823"/>
                        <a:ext cx="508602" cy="151498"/>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548" name="Oval 547">
                        <a:extLst>
                          <a:ext uri="{FF2B5EF4-FFF2-40B4-BE49-F238E27FC236}">
                            <a16:creationId xmlns:a16="http://schemas.microsoft.com/office/drawing/2014/main" id="{61A20461-7F9B-8649-8513-DC30CD389A25}"/>
                          </a:ext>
                        </a:extLst>
                      </p:cNvPr>
                      <p:cNvSpPr/>
                      <p:nvPr/>
                    </p:nvSpPr>
                    <p:spPr bwMode="auto">
                      <a:xfrm flipH="1">
                        <a:off x="955040" y="4971128"/>
                        <a:ext cx="45720" cy="45720"/>
                      </a:xfrm>
                      <a:prstGeom prst="ellipse">
                        <a:avLst/>
                      </a:prstGeom>
                      <a:solidFill>
                        <a:srgbClr val="50E6FF"/>
                      </a:solidFill>
                      <a:ln w="1270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cxnSp>
                    <p:nvCxnSpPr>
                      <p:cNvPr id="549" name="Straight Connector 548">
                        <a:extLst>
                          <a:ext uri="{FF2B5EF4-FFF2-40B4-BE49-F238E27FC236}">
                            <a16:creationId xmlns:a16="http://schemas.microsoft.com/office/drawing/2014/main" id="{9E3A14EE-01D9-3B4D-BB55-7AB789E5252E}"/>
                          </a:ext>
                        </a:extLst>
                      </p:cNvPr>
                      <p:cNvCxnSpPr/>
                      <p:nvPr/>
                    </p:nvCxnSpPr>
                    <p:spPr>
                      <a:xfrm>
                        <a:off x="625475" y="4997163"/>
                        <a:ext cx="238125" cy="0"/>
                      </a:xfrm>
                      <a:prstGeom prst="line">
                        <a:avLst/>
                      </a:prstGeom>
                      <a:solidFill>
                        <a:srgbClr val="50E6FF"/>
                      </a:solidFill>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539" name="Straight Connector 538">
                      <a:extLst>
                        <a:ext uri="{FF2B5EF4-FFF2-40B4-BE49-F238E27FC236}">
                          <a16:creationId xmlns:a16="http://schemas.microsoft.com/office/drawing/2014/main" id="{B6238CD8-C82D-FE4C-B831-9F2897DFD68C}"/>
                        </a:ext>
                      </a:extLst>
                    </p:cNvPr>
                    <p:cNvCxnSpPr>
                      <a:cxnSpLocks/>
                    </p:cNvCxnSpPr>
                    <p:nvPr/>
                  </p:nvCxnSpPr>
                  <p:spPr>
                    <a:xfrm>
                      <a:off x="6805851"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0" name="Straight Connector 539">
                      <a:extLst>
                        <a:ext uri="{FF2B5EF4-FFF2-40B4-BE49-F238E27FC236}">
                          <a16:creationId xmlns:a16="http://schemas.microsoft.com/office/drawing/2014/main" id="{88DE1EFE-83E1-294D-98CA-B1E030068C37}"/>
                        </a:ext>
                      </a:extLst>
                    </p:cNvPr>
                    <p:cNvCxnSpPr>
                      <a:cxnSpLocks/>
                    </p:cNvCxnSpPr>
                    <p:nvPr/>
                  </p:nvCxnSpPr>
                  <p:spPr>
                    <a:xfrm>
                      <a:off x="6898824"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1" name="Straight Connector 540">
                      <a:extLst>
                        <a:ext uri="{FF2B5EF4-FFF2-40B4-BE49-F238E27FC236}">
                          <a16:creationId xmlns:a16="http://schemas.microsoft.com/office/drawing/2014/main" id="{688A6F7D-9BA3-7D40-BA50-09C2D30471A5}"/>
                        </a:ext>
                      </a:extLst>
                    </p:cNvPr>
                    <p:cNvCxnSpPr>
                      <a:cxnSpLocks/>
                    </p:cNvCxnSpPr>
                    <p:nvPr/>
                  </p:nvCxnSpPr>
                  <p:spPr>
                    <a:xfrm>
                      <a:off x="6991796"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2" name="Straight Connector 541">
                      <a:extLst>
                        <a:ext uri="{FF2B5EF4-FFF2-40B4-BE49-F238E27FC236}">
                          <a16:creationId xmlns:a16="http://schemas.microsoft.com/office/drawing/2014/main" id="{5B1DF23D-C443-FB40-B28E-49819110429D}"/>
                        </a:ext>
                      </a:extLst>
                    </p:cNvPr>
                    <p:cNvCxnSpPr>
                      <a:cxnSpLocks/>
                    </p:cNvCxnSpPr>
                    <p:nvPr/>
                  </p:nvCxnSpPr>
                  <p:spPr>
                    <a:xfrm>
                      <a:off x="7084769"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3" name="Straight Connector 542">
                      <a:extLst>
                        <a:ext uri="{FF2B5EF4-FFF2-40B4-BE49-F238E27FC236}">
                          <a16:creationId xmlns:a16="http://schemas.microsoft.com/office/drawing/2014/main" id="{22F85206-45C0-9C4B-90CC-7CF8E288164B}"/>
                        </a:ext>
                      </a:extLst>
                    </p:cNvPr>
                    <p:cNvCxnSpPr>
                      <a:cxnSpLocks/>
                    </p:cNvCxnSpPr>
                    <p:nvPr/>
                  </p:nvCxnSpPr>
                  <p:spPr>
                    <a:xfrm>
                      <a:off x="6805851"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4" name="Straight Connector 543">
                      <a:extLst>
                        <a:ext uri="{FF2B5EF4-FFF2-40B4-BE49-F238E27FC236}">
                          <a16:creationId xmlns:a16="http://schemas.microsoft.com/office/drawing/2014/main" id="{C134E871-0F4D-1843-BABF-0CDBC63FA449}"/>
                        </a:ext>
                      </a:extLst>
                    </p:cNvPr>
                    <p:cNvCxnSpPr>
                      <a:cxnSpLocks/>
                    </p:cNvCxnSpPr>
                    <p:nvPr/>
                  </p:nvCxnSpPr>
                  <p:spPr>
                    <a:xfrm>
                      <a:off x="6898824"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5" name="Straight Connector 544">
                      <a:extLst>
                        <a:ext uri="{FF2B5EF4-FFF2-40B4-BE49-F238E27FC236}">
                          <a16:creationId xmlns:a16="http://schemas.microsoft.com/office/drawing/2014/main" id="{2A5C9ED8-9013-D547-BAAE-9D45DD0A4ACB}"/>
                        </a:ext>
                      </a:extLst>
                    </p:cNvPr>
                    <p:cNvCxnSpPr>
                      <a:cxnSpLocks/>
                    </p:cNvCxnSpPr>
                    <p:nvPr/>
                  </p:nvCxnSpPr>
                  <p:spPr>
                    <a:xfrm>
                      <a:off x="6991796"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6" name="Straight Connector 545">
                      <a:extLst>
                        <a:ext uri="{FF2B5EF4-FFF2-40B4-BE49-F238E27FC236}">
                          <a16:creationId xmlns:a16="http://schemas.microsoft.com/office/drawing/2014/main" id="{2717FF71-36A2-3946-BCD7-9985CD4709FB}"/>
                        </a:ext>
                      </a:extLst>
                    </p:cNvPr>
                    <p:cNvCxnSpPr>
                      <a:cxnSpLocks/>
                    </p:cNvCxnSpPr>
                    <p:nvPr/>
                  </p:nvCxnSpPr>
                  <p:spPr>
                    <a:xfrm>
                      <a:off x="7084769"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50" name="Group 549">
                  <a:extLst>
                    <a:ext uri="{FF2B5EF4-FFF2-40B4-BE49-F238E27FC236}">
                      <a16:creationId xmlns:a16="http://schemas.microsoft.com/office/drawing/2014/main" id="{572FE91A-5328-2F49-87EE-E6825C1DFD86}"/>
                    </a:ext>
                  </a:extLst>
                </p:cNvPr>
                <p:cNvGrpSpPr/>
                <p:nvPr/>
              </p:nvGrpSpPr>
              <p:grpSpPr>
                <a:xfrm>
                  <a:off x="6650817" y="5503842"/>
                  <a:ext cx="831068" cy="568531"/>
                  <a:chOff x="2601701" y="5883211"/>
                  <a:chExt cx="831068" cy="568531"/>
                </a:xfrm>
              </p:grpSpPr>
              <p:sp>
                <p:nvSpPr>
                  <p:cNvPr id="551" name="TextBox 550">
                    <a:extLst>
                      <a:ext uri="{FF2B5EF4-FFF2-40B4-BE49-F238E27FC236}">
                        <a16:creationId xmlns:a16="http://schemas.microsoft.com/office/drawing/2014/main" id="{397E7E73-EE82-F948-A6E0-A5FFA1EA20F6}"/>
                      </a:ext>
                    </a:extLst>
                  </p:cNvPr>
                  <p:cNvSpPr txBox="1"/>
                  <p:nvPr/>
                </p:nvSpPr>
                <p:spPr>
                  <a:xfrm>
                    <a:off x="2601701" y="6220910"/>
                    <a:ext cx="831068" cy="230832"/>
                  </a:xfrm>
                  <a:prstGeom prst="rect">
                    <a:avLst/>
                  </a:prstGeom>
                  <a:noFill/>
                </p:spPr>
                <p:txBody>
                  <a:bodyPr wrap="square" lIns="91440" tIns="45720" rIns="91440" bIns="45720" rtlCol="0">
                    <a:spAutoFit/>
                  </a:bodyPr>
                  <a:lstStyle>
                    <a:defPPr>
                      <a:defRPr lang="en-US"/>
                    </a:defPPr>
                    <a:lvl1pPr>
                      <a:lnSpc>
                        <a:spcPct val="90000"/>
                      </a:lnSpc>
                      <a:spcAft>
                        <a:spcPts val="600"/>
                      </a:spcAft>
                      <a:defRPr sz="1400">
                        <a:gradFill>
                          <a:gsLst>
                            <a:gs pos="2917">
                              <a:schemeClr val="tx1"/>
                            </a:gs>
                            <a:gs pos="30000">
                              <a:schemeClr val="tx1"/>
                            </a:gs>
                          </a:gsLst>
                          <a:lin ang="5400000" scaled="0"/>
                        </a:gradFill>
                      </a:defRPr>
                    </a:lvl1pPr>
                  </a:lstStyle>
                  <a:p>
                    <a:pPr algn="ctr"/>
                    <a:r>
                      <a:rPr lang="en-US" sz="1000" b="1" dirty="0">
                        <a:solidFill>
                          <a:srgbClr val="0078D7"/>
                        </a:solidFill>
                        <a:latin typeface="+mj-lt"/>
                        <a:cs typeface="Segoe UI" panose="020B0502040204020203" pitchFamily="34" charset="0"/>
                      </a:rPr>
                      <a:t>Node</a:t>
                    </a:r>
                  </a:p>
                </p:txBody>
              </p:sp>
              <p:grpSp>
                <p:nvGrpSpPr>
                  <p:cNvPr id="552" name="Group 551">
                    <a:extLst>
                      <a:ext uri="{FF2B5EF4-FFF2-40B4-BE49-F238E27FC236}">
                        <a16:creationId xmlns:a16="http://schemas.microsoft.com/office/drawing/2014/main" id="{DB7460BC-5646-1141-AEE1-25192540F094}"/>
                      </a:ext>
                    </a:extLst>
                  </p:cNvPr>
                  <p:cNvGrpSpPr/>
                  <p:nvPr/>
                </p:nvGrpSpPr>
                <p:grpSpPr>
                  <a:xfrm>
                    <a:off x="2867821" y="5883211"/>
                    <a:ext cx="317340" cy="313918"/>
                    <a:chOff x="6712956" y="9045673"/>
                    <a:chExt cx="464984" cy="459971"/>
                  </a:xfrm>
                </p:grpSpPr>
                <p:sp>
                  <p:nvSpPr>
                    <p:cNvPr id="553" name="Rectangle 552">
                      <a:extLst>
                        <a:ext uri="{FF2B5EF4-FFF2-40B4-BE49-F238E27FC236}">
                          <a16:creationId xmlns:a16="http://schemas.microsoft.com/office/drawing/2014/main" id="{F9D75ED2-7039-754B-BA08-9165C5317605}"/>
                        </a:ext>
                      </a:extLst>
                    </p:cNvPr>
                    <p:cNvSpPr/>
                    <p:nvPr/>
                  </p:nvSpPr>
                  <p:spPr bwMode="auto">
                    <a:xfrm>
                      <a:off x="6712956" y="9205584"/>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554" name="Rectangle 553">
                      <a:extLst>
                        <a:ext uri="{FF2B5EF4-FFF2-40B4-BE49-F238E27FC236}">
                          <a16:creationId xmlns:a16="http://schemas.microsoft.com/office/drawing/2014/main" id="{D977A923-0DE2-3B40-8CDE-953510B91A89}"/>
                        </a:ext>
                      </a:extLst>
                    </p:cNvPr>
                    <p:cNvSpPr/>
                    <p:nvPr/>
                  </p:nvSpPr>
                  <p:spPr bwMode="auto">
                    <a:xfrm>
                      <a:off x="6712956" y="9367139"/>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nvGrpSpPr>
                    <p:cNvPr id="555" name="Group 554">
                      <a:extLst>
                        <a:ext uri="{FF2B5EF4-FFF2-40B4-BE49-F238E27FC236}">
                          <a16:creationId xmlns:a16="http://schemas.microsoft.com/office/drawing/2014/main" id="{BBEF7754-5858-4F4D-9D1D-CF9221DAF164}"/>
                        </a:ext>
                      </a:extLst>
                    </p:cNvPr>
                    <p:cNvGrpSpPr/>
                    <p:nvPr/>
                  </p:nvGrpSpPr>
                  <p:grpSpPr>
                    <a:xfrm>
                      <a:off x="6712956" y="9045673"/>
                      <a:ext cx="464984" cy="138505"/>
                      <a:chOff x="551886" y="4922823"/>
                      <a:chExt cx="508602" cy="151498"/>
                    </a:xfrm>
                  </p:grpSpPr>
                  <p:sp>
                    <p:nvSpPr>
                      <p:cNvPr id="564" name="Rectangle 563">
                        <a:extLst>
                          <a:ext uri="{FF2B5EF4-FFF2-40B4-BE49-F238E27FC236}">
                            <a16:creationId xmlns:a16="http://schemas.microsoft.com/office/drawing/2014/main" id="{8D9B4BDC-4F54-144B-B083-682BAC0B9029}"/>
                          </a:ext>
                        </a:extLst>
                      </p:cNvPr>
                      <p:cNvSpPr/>
                      <p:nvPr/>
                    </p:nvSpPr>
                    <p:spPr bwMode="auto">
                      <a:xfrm>
                        <a:off x="551886" y="4922823"/>
                        <a:ext cx="508602" cy="151498"/>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565" name="Oval 564">
                        <a:extLst>
                          <a:ext uri="{FF2B5EF4-FFF2-40B4-BE49-F238E27FC236}">
                            <a16:creationId xmlns:a16="http://schemas.microsoft.com/office/drawing/2014/main" id="{EF4066D4-3577-5848-B4CF-0F5E8B586709}"/>
                          </a:ext>
                        </a:extLst>
                      </p:cNvPr>
                      <p:cNvSpPr/>
                      <p:nvPr/>
                    </p:nvSpPr>
                    <p:spPr bwMode="auto">
                      <a:xfrm flipH="1">
                        <a:off x="955040" y="4971128"/>
                        <a:ext cx="45720" cy="45720"/>
                      </a:xfrm>
                      <a:prstGeom prst="ellipse">
                        <a:avLst/>
                      </a:prstGeom>
                      <a:solidFill>
                        <a:srgbClr val="50E6FF"/>
                      </a:solidFill>
                      <a:ln w="1270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cxnSp>
                    <p:nvCxnSpPr>
                      <p:cNvPr id="566" name="Straight Connector 565">
                        <a:extLst>
                          <a:ext uri="{FF2B5EF4-FFF2-40B4-BE49-F238E27FC236}">
                            <a16:creationId xmlns:a16="http://schemas.microsoft.com/office/drawing/2014/main" id="{6737A257-A214-164C-BE88-A2666B178B0C}"/>
                          </a:ext>
                        </a:extLst>
                      </p:cNvPr>
                      <p:cNvCxnSpPr/>
                      <p:nvPr/>
                    </p:nvCxnSpPr>
                    <p:spPr>
                      <a:xfrm>
                        <a:off x="625475" y="4997163"/>
                        <a:ext cx="238125" cy="0"/>
                      </a:xfrm>
                      <a:prstGeom prst="line">
                        <a:avLst/>
                      </a:prstGeom>
                      <a:solidFill>
                        <a:srgbClr val="50E6FF"/>
                      </a:solidFill>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556" name="Straight Connector 555">
                      <a:extLst>
                        <a:ext uri="{FF2B5EF4-FFF2-40B4-BE49-F238E27FC236}">
                          <a16:creationId xmlns:a16="http://schemas.microsoft.com/office/drawing/2014/main" id="{0AF2E54E-C51B-6741-9A01-18774F7F5952}"/>
                        </a:ext>
                      </a:extLst>
                    </p:cNvPr>
                    <p:cNvCxnSpPr>
                      <a:cxnSpLocks/>
                    </p:cNvCxnSpPr>
                    <p:nvPr/>
                  </p:nvCxnSpPr>
                  <p:spPr>
                    <a:xfrm>
                      <a:off x="6805851"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7" name="Straight Connector 556">
                      <a:extLst>
                        <a:ext uri="{FF2B5EF4-FFF2-40B4-BE49-F238E27FC236}">
                          <a16:creationId xmlns:a16="http://schemas.microsoft.com/office/drawing/2014/main" id="{48830C8F-9716-9F40-A2B6-9A3160D4F41B}"/>
                        </a:ext>
                      </a:extLst>
                    </p:cNvPr>
                    <p:cNvCxnSpPr>
                      <a:cxnSpLocks/>
                    </p:cNvCxnSpPr>
                    <p:nvPr/>
                  </p:nvCxnSpPr>
                  <p:spPr>
                    <a:xfrm>
                      <a:off x="6898824"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8" name="Straight Connector 557">
                      <a:extLst>
                        <a:ext uri="{FF2B5EF4-FFF2-40B4-BE49-F238E27FC236}">
                          <a16:creationId xmlns:a16="http://schemas.microsoft.com/office/drawing/2014/main" id="{8FE927E9-6155-A548-9E7C-4BC887E77F07}"/>
                        </a:ext>
                      </a:extLst>
                    </p:cNvPr>
                    <p:cNvCxnSpPr>
                      <a:cxnSpLocks/>
                    </p:cNvCxnSpPr>
                    <p:nvPr/>
                  </p:nvCxnSpPr>
                  <p:spPr>
                    <a:xfrm>
                      <a:off x="6991796"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9" name="Straight Connector 558">
                      <a:extLst>
                        <a:ext uri="{FF2B5EF4-FFF2-40B4-BE49-F238E27FC236}">
                          <a16:creationId xmlns:a16="http://schemas.microsoft.com/office/drawing/2014/main" id="{BE294872-B769-9043-94B5-B29DCFEC3AF1}"/>
                        </a:ext>
                      </a:extLst>
                    </p:cNvPr>
                    <p:cNvCxnSpPr>
                      <a:cxnSpLocks/>
                    </p:cNvCxnSpPr>
                    <p:nvPr/>
                  </p:nvCxnSpPr>
                  <p:spPr>
                    <a:xfrm>
                      <a:off x="7084769"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0" name="Straight Connector 559">
                      <a:extLst>
                        <a:ext uri="{FF2B5EF4-FFF2-40B4-BE49-F238E27FC236}">
                          <a16:creationId xmlns:a16="http://schemas.microsoft.com/office/drawing/2014/main" id="{C0DD454A-87EA-F142-B5B8-DA4504B658CB}"/>
                        </a:ext>
                      </a:extLst>
                    </p:cNvPr>
                    <p:cNvCxnSpPr>
                      <a:cxnSpLocks/>
                    </p:cNvCxnSpPr>
                    <p:nvPr/>
                  </p:nvCxnSpPr>
                  <p:spPr>
                    <a:xfrm>
                      <a:off x="6805851"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1" name="Straight Connector 560">
                      <a:extLst>
                        <a:ext uri="{FF2B5EF4-FFF2-40B4-BE49-F238E27FC236}">
                          <a16:creationId xmlns:a16="http://schemas.microsoft.com/office/drawing/2014/main" id="{F6A96B99-125C-4C41-93F2-292EF55A24E9}"/>
                        </a:ext>
                      </a:extLst>
                    </p:cNvPr>
                    <p:cNvCxnSpPr>
                      <a:cxnSpLocks/>
                    </p:cNvCxnSpPr>
                    <p:nvPr/>
                  </p:nvCxnSpPr>
                  <p:spPr>
                    <a:xfrm>
                      <a:off x="6898824"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2" name="Straight Connector 561">
                      <a:extLst>
                        <a:ext uri="{FF2B5EF4-FFF2-40B4-BE49-F238E27FC236}">
                          <a16:creationId xmlns:a16="http://schemas.microsoft.com/office/drawing/2014/main" id="{FBB3965E-628C-4848-8CF0-4914EAD93D71}"/>
                        </a:ext>
                      </a:extLst>
                    </p:cNvPr>
                    <p:cNvCxnSpPr>
                      <a:cxnSpLocks/>
                    </p:cNvCxnSpPr>
                    <p:nvPr/>
                  </p:nvCxnSpPr>
                  <p:spPr>
                    <a:xfrm>
                      <a:off x="6991796"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3" name="Straight Connector 562">
                      <a:extLst>
                        <a:ext uri="{FF2B5EF4-FFF2-40B4-BE49-F238E27FC236}">
                          <a16:creationId xmlns:a16="http://schemas.microsoft.com/office/drawing/2014/main" id="{7807644D-5A3D-AC4F-8A3F-E28AC1F79729}"/>
                        </a:ext>
                      </a:extLst>
                    </p:cNvPr>
                    <p:cNvCxnSpPr>
                      <a:cxnSpLocks/>
                    </p:cNvCxnSpPr>
                    <p:nvPr/>
                  </p:nvCxnSpPr>
                  <p:spPr>
                    <a:xfrm>
                      <a:off x="7084769"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67" name="Group 566">
                  <a:extLst>
                    <a:ext uri="{FF2B5EF4-FFF2-40B4-BE49-F238E27FC236}">
                      <a16:creationId xmlns:a16="http://schemas.microsoft.com/office/drawing/2014/main" id="{B6EC7F98-0BCD-5042-8BC8-9CDD83164685}"/>
                    </a:ext>
                  </a:extLst>
                </p:cNvPr>
                <p:cNvGrpSpPr/>
                <p:nvPr/>
              </p:nvGrpSpPr>
              <p:grpSpPr>
                <a:xfrm>
                  <a:off x="7995728" y="5512695"/>
                  <a:ext cx="831068" cy="559678"/>
                  <a:chOff x="2601701" y="5883211"/>
                  <a:chExt cx="831068" cy="559678"/>
                </a:xfrm>
              </p:grpSpPr>
              <p:sp>
                <p:nvSpPr>
                  <p:cNvPr id="568" name="TextBox 567">
                    <a:extLst>
                      <a:ext uri="{FF2B5EF4-FFF2-40B4-BE49-F238E27FC236}">
                        <a16:creationId xmlns:a16="http://schemas.microsoft.com/office/drawing/2014/main" id="{E0FEA766-9A11-AE41-8E7B-B07CF2931FF7}"/>
                      </a:ext>
                    </a:extLst>
                  </p:cNvPr>
                  <p:cNvSpPr txBox="1"/>
                  <p:nvPr/>
                </p:nvSpPr>
                <p:spPr>
                  <a:xfrm>
                    <a:off x="2601701" y="6212057"/>
                    <a:ext cx="831068" cy="230832"/>
                  </a:xfrm>
                  <a:prstGeom prst="rect">
                    <a:avLst/>
                  </a:prstGeom>
                  <a:noFill/>
                </p:spPr>
                <p:txBody>
                  <a:bodyPr wrap="square" lIns="91440" tIns="45720" rIns="91440" bIns="45720" rtlCol="0">
                    <a:spAutoFit/>
                  </a:bodyPr>
                  <a:lstStyle>
                    <a:defPPr>
                      <a:defRPr lang="en-US"/>
                    </a:defPPr>
                    <a:lvl1pPr>
                      <a:lnSpc>
                        <a:spcPct val="90000"/>
                      </a:lnSpc>
                      <a:spcAft>
                        <a:spcPts val="600"/>
                      </a:spcAft>
                      <a:defRPr sz="1400">
                        <a:gradFill>
                          <a:gsLst>
                            <a:gs pos="2917">
                              <a:schemeClr val="tx1"/>
                            </a:gs>
                            <a:gs pos="30000">
                              <a:schemeClr val="tx1"/>
                            </a:gs>
                          </a:gsLst>
                          <a:lin ang="5400000" scaled="0"/>
                        </a:gradFill>
                      </a:defRPr>
                    </a:lvl1pPr>
                  </a:lstStyle>
                  <a:p>
                    <a:pPr algn="ctr"/>
                    <a:r>
                      <a:rPr lang="en-US" sz="1000" b="1" dirty="0">
                        <a:solidFill>
                          <a:srgbClr val="0078D7"/>
                        </a:solidFill>
                        <a:latin typeface="+mj-lt"/>
                        <a:cs typeface="Segoe UI" panose="020B0502040204020203" pitchFamily="34" charset="0"/>
                      </a:rPr>
                      <a:t>Node</a:t>
                    </a:r>
                  </a:p>
                </p:txBody>
              </p:sp>
              <p:grpSp>
                <p:nvGrpSpPr>
                  <p:cNvPr id="569" name="Group 568">
                    <a:extLst>
                      <a:ext uri="{FF2B5EF4-FFF2-40B4-BE49-F238E27FC236}">
                        <a16:creationId xmlns:a16="http://schemas.microsoft.com/office/drawing/2014/main" id="{CAB06B9B-7C75-DB49-8B6E-3B7AC3213BDE}"/>
                      </a:ext>
                    </a:extLst>
                  </p:cNvPr>
                  <p:cNvGrpSpPr/>
                  <p:nvPr/>
                </p:nvGrpSpPr>
                <p:grpSpPr>
                  <a:xfrm>
                    <a:off x="2867821" y="5883211"/>
                    <a:ext cx="317340" cy="313918"/>
                    <a:chOff x="6712956" y="9045673"/>
                    <a:chExt cx="464984" cy="459971"/>
                  </a:xfrm>
                </p:grpSpPr>
                <p:sp>
                  <p:nvSpPr>
                    <p:cNvPr id="570" name="Rectangle 569">
                      <a:extLst>
                        <a:ext uri="{FF2B5EF4-FFF2-40B4-BE49-F238E27FC236}">
                          <a16:creationId xmlns:a16="http://schemas.microsoft.com/office/drawing/2014/main" id="{C998E1E7-2D54-764D-88F6-824F6898BB20}"/>
                        </a:ext>
                      </a:extLst>
                    </p:cNvPr>
                    <p:cNvSpPr/>
                    <p:nvPr/>
                  </p:nvSpPr>
                  <p:spPr bwMode="auto">
                    <a:xfrm>
                      <a:off x="6712956" y="9205584"/>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571" name="Rectangle 570">
                      <a:extLst>
                        <a:ext uri="{FF2B5EF4-FFF2-40B4-BE49-F238E27FC236}">
                          <a16:creationId xmlns:a16="http://schemas.microsoft.com/office/drawing/2014/main" id="{39A78577-6460-3642-AA08-06A6E30614FB}"/>
                        </a:ext>
                      </a:extLst>
                    </p:cNvPr>
                    <p:cNvSpPr/>
                    <p:nvPr/>
                  </p:nvSpPr>
                  <p:spPr bwMode="auto">
                    <a:xfrm>
                      <a:off x="6712956" y="9367139"/>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nvGrpSpPr>
                    <p:cNvPr id="572" name="Group 571">
                      <a:extLst>
                        <a:ext uri="{FF2B5EF4-FFF2-40B4-BE49-F238E27FC236}">
                          <a16:creationId xmlns:a16="http://schemas.microsoft.com/office/drawing/2014/main" id="{78B713C2-093A-2C44-84EF-B8F97920E221}"/>
                        </a:ext>
                      </a:extLst>
                    </p:cNvPr>
                    <p:cNvGrpSpPr/>
                    <p:nvPr/>
                  </p:nvGrpSpPr>
                  <p:grpSpPr>
                    <a:xfrm>
                      <a:off x="6712956" y="9045673"/>
                      <a:ext cx="464984" cy="138505"/>
                      <a:chOff x="551886" y="4922823"/>
                      <a:chExt cx="508602" cy="151498"/>
                    </a:xfrm>
                  </p:grpSpPr>
                  <p:sp>
                    <p:nvSpPr>
                      <p:cNvPr id="581" name="Rectangle 580">
                        <a:extLst>
                          <a:ext uri="{FF2B5EF4-FFF2-40B4-BE49-F238E27FC236}">
                            <a16:creationId xmlns:a16="http://schemas.microsoft.com/office/drawing/2014/main" id="{0142E9A6-9AB5-724A-A518-ACD558347187}"/>
                          </a:ext>
                        </a:extLst>
                      </p:cNvPr>
                      <p:cNvSpPr/>
                      <p:nvPr/>
                    </p:nvSpPr>
                    <p:spPr bwMode="auto">
                      <a:xfrm>
                        <a:off x="551886" y="4922823"/>
                        <a:ext cx="508602" cy="151498"/>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582" name="Oval 581">
                        <a:extLst>
                          <a:ext uri="{FF2B5EF4-FFF2-40B4-BE49-F238E27FC236}">
                            <a16:creationId xmlns:a16="http://schemas.microsoft.com/office/drawing/2014/main" id="{0A175BBC-2D4F-AA46-BDD9-1C392C0B7503}"/>
                          </a:ext>
                        </a:extLst>
                      </p:cNvPr>
                      <p:cNvSpPr/>
                      <p:nvPr/>
                    </p:nvSpPr>
                    <p:spPr bwMode="auto">
                      <a:xfrm flipH="1">
                        <a:off x="955040" y="4971128"/>
                        <a:ext cx="45720" cy="45720"/>
                      </a:xfrm>
                      <a:prstGeom prst="ellipse">
                        <a:avLst/>
                      </a:prstGeom>
                      <a:solidFill>
                        <a:srgbClr val="50E6FF"/>
                      </a:solidFill>
                      <a:ln w="1270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cxnSp>
                    <p:nvCxnSpPr>
                      <p:cNvPr id="583" name="Straight Connector 582">
                        <a:extLst>
                          <a:ext uri="{FF2B5EF4-FFF2-40B4-BE49-F238E27FC236}">
                            <a16:creationId xmlns:a16="http://schemas.microsoft.com/office/drawing/2014/main" id="{CBA153A7-1D6E-8C43-A9F4-A30A81234A0A}"/>
                          </a:ext>
                        </a:extLst>
                      </p:cNvPr>
                      <p:cNvCxnSpPr/>
                      <p:nvPr/>
                    </p:nvCxnSpPr>
                    <p:spPr>
                      <a:xfrm>
                        <a:off x="625475" y="4997163"/>
                        <a:ext cx="238125" cy="0"/>
                      </a:xfrm>
                      <a:prstGeom prst="line">
                        <a:avLst/>
                      </a:prstGeom>
                      <a:solidFill>
                        <a:srgbClr val="50E6FF"/>
                      </a:solidFill>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573" name="Straight Connector 572">
                      <a:extLst>
                        <a:ext uri="{FF2B5EF4-FFF2-40B4-BE49-F238E27FC236}">
                          <a16:creationId xmlns:a16="http://schemas.microsoft.com/office/drawing/2014/main" id="{4BA20CCB-7FEB-4A4D-A113-816AE25A8EB9}"/>
                        </a:ext>
                      </a:extLst>
                    </p:cNvPr>
                    <p:cNvCxnSpPr>
                      <a:cxnSpLocks/>
                    </p:cNvCxnSpPr>
                    <p:nvPr/>
                  </p:nvCxnSpPr>
                  <p:spPr>
                    <a:xfrm>
                      <a:off x="6805851"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4" name="Straight Connector 573">
                      <a:extLst>
                        <a:ext uri="{FF2B5EF4-FFF2-40B4-BE49-F238E27FC236}">
                          <a16:creationId xmlns:a16="http://schemas.microsoft.com/office/drawing/2014/main" id="{865CE0D2-F114-F442-84CB-271AF0D2E7AF}"/>
                        </a:ext>
                      </a:extLst>
                    </p:cNvPr>
                    <p:cNvCxnSpPr>
                      <a:cxnSpLocks/>
                    </p:cNvCxnSpPr>
                    <p:nvPr/>
                  </p:nvCxnSpPr>
                  <p:spPr>
                    <a:xfrm>
                      <a:off x="6898824"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5" name="Straight Connector 574">
                      <a:extLst>
                        <a:ext uri="{FF2B5EF4-FFF2-40B4-BE49-F238E27FC236}">
                          <a16:creationId xmlns:a16="http://schemas.microsoft.com/office/drawing/2014/main" id="{A758BE6B-D358-6B4F-B896-02B8F78414C4}"/>
                        </a:ext>
                      </a:extLst>
                    </p:cNvPr>
                    <p:cNvCxnSpPr>
                      <a:cxnSpLocks/>
                    </p:cNvCxnSpPr>
                    <p:nvPr/>
                  </p:nvCxnSpPr>
                  <p:spPr>
                    <a:xfrm>
                      <a:off x="6991796"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6" name="Straight Connector 575">
                      <a:extLst>
                        <a:ext uri="{FF2B5EF4-FFF2-40B4-BE49-F238E27FC236}">
                          <a16:creationId xmlns:a16="http://schemas.microsoft.com/office/drawing/2014/main" id="{0342211E-E14F-954F-A1EF-5A4E7FFCEBFB}"/>
                        </a:ext>
                      </a:extLst>
                    </p:cNvPr>
                    <p:cNvCxnSpPr>
                      <a:cxnSpLocks/>
                    </p:cNvCxnSpPr>
                    <p:nvPr/>
                  </p:nvCxnSpPr>
                  <p:spPr>
                    <a:xfrm>
                      <a:off x="7084769"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7" name="Straight Connector 576">
                      <a:extLst>
                        <a:ext uri="{FF2B5EF4-FFF2-40B4-BE49-F238E27FC236}">
                          <a16:creationId xmlns:a16="http://schemas.microsoft.com/office/drawing/2014/main" id="{61695851-0A68-9542-B0BB-7AFDD159D501}"/>
                        </a:ext>
                      </a:extLst>
                    </p:cNvPr>
                    <p:cNvCxnSpPr>
                      <a:cxnSpLocks/>
                    </p:cNvCxnSpPr>
                    <p:nvPr/>
                  </p:nvCxnSpPr>
                  <p:spPr>
                    <a:xfrm>
                      <a:off x="6805851"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8" name="Straight Connector 577">
                      <a:extLst>
                        <a:ext uri="{FF2B5EF4-FFF2-40B4-BE49-F238E27FC236}">
                          <a16:creationId xmlns:a16="http://schemas.microsoft.com/office/drawing/2014/main" id="{5F924029-55E2-1A4E-844B-B6564A55A345}"/>
                        </a:ext>
                      </a:extLst>
                    </p:cNvPr>
                    <p:cNvCxnSpPr>
                      <a:cxnSpLocks/>
                    </p:cNvCxnSpPr>
                    <p:nvPr/>
                  </p:nvCxnSpPr>
                  <p:spPr>
                    <a:xfrm>
                      <a:off x="6898824"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9" name="Straight Connector 578">
                      <a:extLst>
                        <a:ext uri="{FF2B5EF4-FFF2-40B4-BE49-F238E27FC236}">
                          <a16:creationId xmlns:a16="http://schemas.microsoft.com/office/drawing/2014/main" id="{CF9D7C43-D8EE-8E4C-BF63-E785C63DC986}"/>
                        </a:ext>
                      </a:extLst>
                    </p:cNvPr>
                    <p:cNvCxnSpPr>
                      <a:cxnSpLocks/>
                    </p:cNvCxnSpPr>
                    <p:nvPr/>
                  </p:nvCxnSpPr>
                  <p:spPr>
                    <a:xfrm>
                      <a:off x="6991796"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0" name="Straight Connector 579">
                      <a:extLst>
                        <a:ext uri="{FF2B5EF4-FFF2-40B4-BE49-F238E27FC236}">
                          <a16:creationId xmlns:a16="http://schemas.microsoft.com/office/drawing/2014/main" id="{C2FBC159-7BD7-4049-9111-9BF78843DFCF}"/>
                        </a:ext>
                      </a:extLst>
                    </p:cNvPr>
                    <p:cNvCxnSpPr>
                      <a:cxnSpLocks/>
                    </p:cNvCxnSpPr>
                    <p:nvPr/>
                  </p:nvCxnSpPr>
                  <p:spPr>
                    <a:xfrm>
                      <a:off x="7084769"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84" name="Group 583">
                  <a:extLst>
                    <a:ext uri="{FF2B5EF4-FFF2-40B4-BE49-F238E27FC236}">
                      <a16:creationId xmlns:a16="http://schemas.microsoft.com/office/drawing/2014/main" id="{AC795AC6-157D-C649-B55D-FFC4FAFD5BB9}"/>
                    </a:ext>
                  </a:extLst>
                </p:cNvPr>
                <p:cNvGrpSpPr/>
                <p:nvPr/>
              </p:nvGrpSpPr>
              <p:grpSpPr>
                <a:xfrm>
                  <a:off x="9340639" y="5512695"/>
                  <a:ext cx="831068" cy="559678"/>
                  <a:chOff x="2601701" y="5883211"/>
                  <a:chExt cx="831068" cy="559678"/>
                </a:xfrm>
              </p:grpSpPr>
              <p:sp>
                <p:nvSpPr>
                  <p:cNvPr id="585" name="TextBox 584">
                    <a:extLst>
                      <a:ext uri="{FF2B5EF4-FFF2-40B4-BE49-F238E27FC236}">
                        <a16:creationId xmlns:a16="http://schemas.microsoft.com/office/drawing/2014/main" id="{8019F070-A70B-C245-830A-2F3FF382D241}"/>
                      </a:ext>
                    </a:extLst>
                  </p:cNvPr>
                  <p:cNvSpPr txBox="1"/>
                  <p:nvPr/>
                </p:nvSpPr>
                <p:spPr>
                  <a:xfrm>
                    <a:off x="2601701" y="6212057"/>
                    <a:ext cx="831068" cy="230832"/>
                  </a:xfrm>
                  <a:prstGeom prst="rect">
                    <a:avLst/>
                  </a:prstGeom>
                  <a:noFill/>
                </p:spPr>
                <p:txBody>
                  <a:bodyPr wrap="square" lIns="91440" tIns="45720" rIns="91440" bIns="45720" rtlCol="0">
                    <a:spAutoFit/>
                  </a:bodyPr>
                  <a:lstStyle>
                    <a:defPPr>
                      <a:defRPr lang="en-US"/>
                    </a:defPPr>
                    <a:lvl1pPr>
                      <a:lnSpc>
                        <a:spcPct val="90000"/>
                      </a:lnSpc>
                      <a:spcAft>
                        <a:spcPts val="600"/>
                      </a:spcAft>
                      <a:defRPr sz="1400">
                        <a:gradFill>
                          <a:gsLst>
                            <a:gs pos="2917">
                              <a:schemeClr val="tx1"/>
                            </a:gs>
                            <a:gs pos="30000">
                              <a:schemeClr val="tx1"/>
                            </a:gs>
                          </a:gsLst>
                          <a:lin ang="5400000" scaled="0"/>
                        </a:gradFill>
                      </a:defRPr>
                    </a:lvl1pPr>
                  </a:lstStyle>
                  <a:p>
                    <a:pPr algn="ctr"/>
                    <a:r>
                      <a:rPr lang="en-US" sz="1000" b="1" dirty="0">
                        <a:solidFill>
                          <a:srgbClr val="0078D7"/>
                        </a:solidFill>
                        <a:latin typeface="+mj-lt"/>
                        <a:cs typeface="Segoe UI" panose="020B0502040204020203" pitchFamily="34" charset="0"/>
                      </a:rPr>
                      <a:t>Node</a:t>
                    </a:r>
                  </a:p>
                </p:txBody>
              </p:sp>
              <p:grpSp>
                <p:nvGrpSpPr>
                  <p:cNvPr id="586" name="Group 585">
                    <a:extLst>
                      <a:ext uri="{FF2B5EF4-FFF2-40B4-BE49-F238E27FC236}">
                        <a16:creationId xmlns:a16="http://schemas.microsoft.com/office/drawing/2014/main" id="{7540C5A0-6755-6049-9C4F-5C0FE6C3FEF5}"/>
                      </a:ext>
                    </a:extLst>
                  </p:cNvPr>
                  <p:cNvGrpSpPr/>
                  <p:nvPr/>
                </p:nvGrpSpPr>
                <p:grpSpPr>
                  <a:xfrm>
                    <a:off x="2867821" y="5883211"/>
                    <a:ext cx="317340" cy="313918"/>
                    <a:chOff x="6712956" y="9045673"/>
                    <a:chExt cx="464984" cy="459971"/>
                  </a:xfrm>
                </p:grpSpPr>
                <p:sp>
                  <p:nvSpPr>
                    <p:cNvPr id="587" name="Rectangle 586">
                      <a:extLst>
                        <a:ext uri="{FF2B5EF4-FFF2-40B4-BE49-F238E27FC236}">
                          <a16:creationId xmlns:a16="http://schemas.microsoft.com/office/drawing/2014/main" id="{573EDA02-8A0A-D04F-85AB-E44D38A6E105}"/>
                        </a:ext>
                      </a:extLst>
                    </p:cNvPr>
                    <p:cNvSpPr/>
                    <p:nvPr/>
                  </p:nvSpPr>
                  <p:spPr bwMode="auto">
                    <a:xfrm>
                      <a:off x="6712956" y="9205584"/>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588" name="Rectangle 587">
                      <a:extLst>
                        <a:ext uri="{FF2B5EF4-FFF2-40B4-BE49-F238E27FC236}">
                          <a16:creationId xmlns:a16="http://schemas.microsoft.com/office/drawing/2014/main" id="{56D05172-C43F-C547-9090-74E9B7A2E42B}"/>
                        </a:ext>
                      </a:extLst>
                    </p:cNvPr>
                    <p:cNvSpPr/>
                    <p:nvPr/>
                  </p:nvSpPr>
                  <p:spPr bwMode="auto">
                    <a:xfrm>
                      <a:off x="6712956" y="9367139"/>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nvGrpSpPr>
                    <p:cNvPr id="589" name="Group 588">
                      <a:extLst>
                        <a:ext uri="{FF2B5EF4-FFF2-40B4-BE49-F238E27FC236}">
                          <a16:creationId xmlns:a16="http://schemas.microsoft.com/office/drawing/2014/main" id="{02E2F390-88FF-6040-8CF2-7AEC600E2138}"/>
                        </a:ext>
                      </a:extLst>
                    </p:cNvPr>
                    <p:cNvGrpSpPr/>
                    <p:nvPr/>
                  </p:nvGrpSpPr>
                  <p:grpSpPr>
                    <a:xfrm>
                      <a:off x="6712956" y="9045673"/>
                      <a:ext cx="464984" cy="138505"/>
                      <a:chOff x="551886" y="4922823"/>
                      <a:chExt cx="508602" cy="151498"/>
                    </a:xfrm>
                  </p:grpSpPr>
                  <p:sp>
                    <p:nvSpPr>
                      <p:cNvPr id="598" name="Rectangle 597">
                        <a:extLst>
                          <a:ext uri="{FF2B5EF4-FFF2-40B4-BE49-F238E27FC236}">
                            <a16:creationId xmlns:a16="http://schemas.microsoft.com/office/drawing/2014/main" id="{953AB943-195C-D34A-94D0-5E5C41592571}"/>
                          </a:ext>
                        </a:extLst>
                      </p:cNvPr>
                      <p:cNvSpPr/>
                      <p:nvPr/>
                    </p:nvSpPr>
                    <p:spPr bwMode="auto">
                      <a:xfrm>
                        <a:off x="551886" y="4922823"/>
                        <a:ext cx="508602" cy="151498"/>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599" name="Oval 598">
                        <a:extLst>
                          <a:ext uri="{FF2B5EF4-FFF2-40B4-BE49-F238E27FC236}">
                            <a16:creationId xmlns:a16="http://schemas.microsoft.com/office/drawing/2014/main" id="{449AB676-3A4D-7B45-8E97-77244E4C8064}"/>
                          </a:ext>
                        </a:extLst>
                      </p:cNvPr>
                      <p:cNvSpPr/>
                      <p:nvPr/>
                    </p:nvSpPr>
                    <p:spPr bwMode="auto">
                      <a:xfrm flipH="1">
                        <a:off x="955040" y="4971128"/>
                        <a:ext cx="45720" cy="45720"/>
                      </a:xfrm>
                      <a:prstGeom prst="ellipse">
                        <a:avLst/>
                      </a:prstGeom>
                      <a:solidFill>
                        <a:srgbClr val="50E6FF"/>
                      </a:solidFill>
                      <a:ln w="1270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cxnSp>
                    <p:nvCxnSpPr>
                      <p:cNvPr id="600" name="Straight Connector 599">
                        <a:extLst>
                          <a:ext uri="{FF2B5EF4-FFF2-40B4-BE49-F238E27FC236}">
                            <a16:creationId xmlns:a16="http://schemas.microsoft.com/office/drawing/2014/main" id="{6E7D3DB7-DE2B-444A-BFB2-13D6CA0678F4}"/>
                          </a:ext>
                        </a:extLst>
                      </p:cNvPr>
                      <p:cNvCxnSpPr/>
                      <p:nvPr/>
                    </p:nvCxnSpPr>
                    <p:spPr>
                      <a:xfrm>
                        <a:off x="625475" y="4997163"/>
                        <a:ext cx="238125" cy="0"/>
                      </a:xfrm>
                      <a:prstGeom prst="line">
                        <a:avLst/>
                      </a:prstGeom>
                      <a:solidFill>
                        <a:srgbClr val="50E6FF"/>
                      </a:solidFill>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590" name="Straight Connector 589">
                      <a:extLst>
                        <a:ext uri="{FF2B5EF4-FFF2-40B4-BE49-F238E27FC236}">
                          <a16:creationId xmlns:a16="http://schemas.microsoft.com/office/drawing/2014/main" id="{401941E2-17C6-1B4A-8027-18379EB957BD}"/>
                        </a:ext>
                      </a:extLst>
                    </p:cNvPr>
                    <p:cNvCxnSpPr>
                      <a:cxnSpLocks/>
                    </p:cNvCxnSpPr>
                    <p:nvPr/>
                  </p:nvCxnSpPr>
                  <p:spPr>
                    <a:xfrm>
                      <a:off x="6805851"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1" name="Straight Connector 590">
                      <a:extLst>
                        <a:ext uri="{FF2B5EF4-FFF2-40B4-BE49-F238E27FC236}">
                          <a16:creationId xmlns:a16="http://schemas.microsoft.com/office/drawing/2014/main" id="{33D3C8E5-1698-E841-8C75-B19F02E2A3C7}"/>
                        </a:ext>
                      </a:extLst>
                    </p:cNvPr>
                    <p:cNvCxnSpPr>
                      <a:cxnSpLocks/>
                    </p:cNvCxnSpPr>
                    <p:nvPr/>
                  </p:nvCxnSpPr>
                  <p:spPr>
                    <a:xfrm>
                      <a:off x="6898824"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2" name="Straight Connector 591">
                      <a:extLst>
                        <a:ext uri="{FF2B5EF4-FFF2-40B4-BE49-F238E27FC236}">
                          <a16:creationId xmlns:a16="http://schemas.microsoft.com/office/drawing/2014/main" id="{43807532-2381-1643-A8F8-B5B295BF11F0}"/>
                        </a:ext>
                      </a:extLst>
                    </p:cNvPr>
                    <p:cNvCxnSpPr>
                      <a:cxnSpLocks/>
                    </p:cNvCxnSpPr>
                    <p:nvPr/>
                  </p:nvCxnSpPr>
                  <p:spPr>
                    <a:xfrm>
                      <a:off x="6991796"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3" name="Straight Connector 592">
                      <a:extLst>
                        <a:ext uri="{FF2B5EF4-FFF2-40B4-BE49-F238E27FC236}">
                          <a16:creationId xmlns:a16="http://schemas.microsoft.com/office/drawing/2014/main" id="{DADA7250-5147-4E40-BB61-B304D2B4D690}"/>
                        </a:ext>
                      </a:extLst>
                    </p:cNvPr>
                    <p:cNvCxnSpPr>
                      <a:cxnSpLocks/>
                    </p:cNvCxnSpPr>
                    <p:nvPr/>
                  </p:nvCxnSpPr>
                  <p:spPr>
                    <a:xfrm>
                      <a:off x="7084769"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4" name="Straight Connector 593">
                      <a:extLst>
                        <a:ext uri="{FF2B5EF4-FFF2-40B4-BE49-F238E27FC236}">
                          <a16:creationId xmlns:a16="http://schemas.microsoft.com/office/drawing/2014/main" id="{50E7CCA7-2F31-B94D-9576-605BCD219A66}"/>
                        </a:ext>
                      </a:extLst>
                    </p:cNvPr>
                    <p:cNvCxnSpPr>
                      <a:cxnSpLocks/>
                    </p:cNvCxnSpPr>
                    <p:nvPr/>
                  </p:nvCxnSpPr>
                  <p:spPr>
                    <a:xfrm>
                      <a:off x="6805851"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5" name="Straight Connector 594">
                      <a:extLst>
                        <a:ext uri="{FF2B5EF4-FFF2-40B4-BE49-F238E27FC236}">
                          <a16:creationId xmlns:a16="http://schemas.microsoft.com/office/drawing/2014/main" id="{4A3C7429-66AB-0B48-A829-9E5A501420E0}"/>
                        </a:ext>
                      </a:extLst>
                    </p:cNvPr>
                    <p:cNvCxnSpPr>
                      <a:cxnSpLocks/>
                    </p:cNvCxnSpPr>
                    <p:nvPr/>
                  </p:nvCxnSpPr>
                  <p:spPr>
                    <a:xfrm>
                      <a:off x="6898824"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6" name="Straight Connector 595">
                      <a:extLst>
                        <a:ext uri="{FF2B5EF4-FFF2-40B4-BE49-F238E27FC236}">
                          <a16:creationId xmlns:a16="http://schemas.microsoft.com/office/drawing/2014/main" id="{1ED7BD03-289C-E242-850C-89C32229A3BB}"/>
                        </a:ext>
                      </a:extLst>
                    </p:cNvPr>
                    <p:cNvCxnSpPr>
                      <a:cxnSpLocks/>
                    </p:cNvCxnSpPr>
                    <p:nvPr/>
                  </p:nvCxnSpPr>
                  <p:spPr>
                    <a:xfrm>
                      <a:off x="6991796"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7" name="Straight Connector 596">
                      <a:extLst>
                        <a:ext uri="{FF2B5EF4-FFF2-40B4-BE49-F238E27FC236}">
                          <a16:creationId xmlns:a16="http://schemas.microsoft.com/office/drawing/2014/main" id="{5930D005-D3DD-7040-98D7-EDB4CF8E9CB4}"/>
                        </a:ext>
                      </a:extLst>
                    </p:cNvPr>
                    <p:cNvCxnSpPr>
                      <a:cxnSpLocks/>
                    </p:cNvCxnSpPr>
                    <p:nvPr/>
                  </p:nvCxnSpPr>
                  <p:spPr>
                    <a:xfrm>
                      <a:off x="7084769"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601" name="Group 600">
                  <a:extLst>
                    <a:ext uri="{FF2B5EF4-FFF2-40B4-BE49-F238E27FC236}">
                      <a16:creationId xmlns:a16="http://schemas.microsoft.com/office/drawing/2014/main" id="{E016A479-EAD2-AF49-B806-0A9F0237D3DD}"/>
                    </a:ext>
                  </a:extLst>
                </p:cNvPr>
                <p:cNvGrpSpPr/>
                <p:nvPr/>
              </p:nvGrpSpPr>
              <p:grpSpPr>
                <a:xfrm>
                  <a:off x="10686897" y="5520256"/>
                  <a:ext cx="831068" cy="552117"/>
                  <a:chOff x="2601701" y="5883211"/>
                  <a:chExt cx="831068" cy="552117"/>
                </a:xfrm>
              </p:grpSpPr>
              <p:sp>
                <p:nvSpPr>
                  <p:cNvPr id="602" name="TextBox 601">
                    <a:extLst>
                      <a:ext uri="{FF2B5EF4-FFF2-40B4-BE49-F238E27FC236}">
                        <a16:creationId xmlns:a16="http://schemas.microsoft.com/office/drawing/2014/main" id="{80580BDB-05CE-CA4F-9985-CC7551D86142}"/>
                      </a:ext>
                    </a:extLst>
                  </p:cNvPr>
                  <p:cNvSpPr txBox="1"/>
                  <p:nvPr/>
                </p:nvSpPr>
                <p:spPr>
                  <a:xfrm>
                    <a:off x="2601701" y="6204496"/>
                    <a:ext cx="831068" cy="230832"/>
                  </a:xfrm>
                  <a:prstGeom prst="rect">
                    <a:avLst/>
                  </a:prstGeom>
                  <a:noFill/>
                </p:spPr>
                <p:txBody>
                  <a:bodyPr wrap="square" lIns="91440" tIns="45720" rIns="91440" bIns="45720" rtlCol="0">
                    <a:spAutoFit/>
                  </a:bodyPr>
                  <a:lstStyle>
                    <a:defPPr>
                      <a:defRPr lang="en-US"/>
                    </a:defPPr>
                    <a:lvl1pPr>
                      <a:lnSpc>
                        <a:spcPct val="90000"/>
                      </a:lnSpc>
                      <a:spcAft>
                        <a:spcPts val="600"/>
                      </a:spcAft>
                      <a:defRPr sz="1400">
                        <a:gradFill>
                          <a:gsLst>
                            <a:gs pos="2917">
                              <a:schemeClr val="tx1"/>
                            </a:gs>
                            <a:gs pos="30000">
                              <a:schemeClr val="tx1"/>
                            </a:gs>
                          </a:gsLst>
                          <a:lin ang="5400000" scaled="0"/>
                        </a:gradFill>
                      </a:defRPr>
                    </a:lvl1pPr>
                  </a:lstStyle>
                  <a:p>
                    <a:pPr algn="ctr"/>
                    <a:r>
                      <a:rPr lang="en-US" sz="1000" b="1" dirty="0">
                        <a:solidFill>
                          <a:srgbClr val="0078D7"/>
                        </a:solidFill>
                        <a:latin typeface="+mj-lt"/>
                        <a:cs typeface="Segoe UI" panose="020B0502040204020203" pitchFamily="34" charset="0"/>
                      </a:rPr>
                      <a:t>Node</a:t>
                    </a:r>
                  </a:p>
                </p:txBody>
              </p:sp>
              <p:grpSp>
                <p:nvGrpSpPr>
                  <p:cNvPr id="603" name="Group 602">
                    <a:extLst>
                      <a:ext uri="{FF2B5EF4-FFF2-40B4-BE49-F238E27FC236}">
                        <a16:creationId xmlns:a16="http://schemas.microsoft.com/office/drawing/2014/main" id="{92E05CAC-D9DB-0D4F-9AD6-36C2960D40FA}"/>
                      </a:ext>
                    </a:extLst>
                  </p:cNvPr>
                  <p:cNvGrpSpPr/>
                  <p:nvPr/>
                </p:nvGrpSpPr>
                <p:grpSpPr>
                  <a:xfrm>
                    <a:off x="2867821" y="5883211"/>
                    <a:ext cx="317340" cy="313918"/>
                    <a:chOff x="6712956" y="9045673"/>
                    <a:chExt cx="464984" cy="459971"/>
                  </a:xfrm>
                </p:grpSpPr>
                <p:sp>
                  <p:nvSpPr>
                    <p:cNvPr id="604" name="Rectangle 603">
                      <a:extLst>
                        <a:ext uri="{FF2B5EF4-FFF2-40B4-BE49-F238E27FC236}">
                          <a16:creationId xmlns:a16="http://schemas.microsoft.com/office/drawing/2014/main" id="{AB347A38-8795-5D45-9769-F5F3E6731387}"/>
                        </a:ext>
                      </a:extLst>
                    </p:cNvPr>
                    <p:cNvSpPr/>
                    <p:nvPr/>
                  </p:nvSpPr>
                  <p:spPr bwMode="auto">
                    <a:xfrm>
                      <a:off x="6712956" y="9205584"/>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605" name="Rectangle 604">
                      <a:extLst>
                        <a:ext uri="{FF2B5EF4-FFF2-40B4-BE49-F238E27FC236}">
                          <a16:creationId xmlns:a16="http://schemas.microsoft.com/office/drawing/2014/main" id="{6B45BDB5-17E5-4942-86D6-567F38FB19BD}"/>
                        </a:ext>
                      </a:extLst>
                    </p:cNvPr>
                    <p:cNvSpPr/>
                    <p:nvPr/>
                  </p:nvSpPr>
                  <p:spPr bwMode="auto">
                    <a:xfrm>
                      <a:off x="6712956" y="9367139"/>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nvGrpSpPr>
                    <p:cNvPr id="606" name="Group 605">
                      <a:extLst>
                        <a:ext uri="{FF2B5EF4-FFF2-40B4-BE49-F238E27FC236}">
                          <a16:creationId xmlns:a16="http://schemas.microsoft.com/office/drawing/2014/main" id="{6E56783D-BBC1-E240-9E5C-82FF2CAE14FE}"/>
                        </a:ext>
                      </a:extLst>
                    </p:cNvPr>
                    <p:cNvGrpSpPr/>
                    <p:nvPr/>
                  </p:nvGrpSpPr>
                  <p:grpSpPr>
                    <a:xfrm>
                      <a:off x="6712956" y="9045673"/>
                      <a:ext cx="464984" cy="138505"/>
                      <a:chOff x="551886" y="4922823"/>
                      <a:chExt cx="508602" cy="151498"/>
                    </a:xfrm>
                  </p:grpSpPr>
                  <p:sp>
                    <p:nvSpPr>
                      <p:cNvPr id="615" name="Rectangle 614">
                        <a:extLst>
                          <a:ext uri="{FF2B5EF4-FFF2-40B4-BE49-F238E27FC236}">
                            <a16:creationId xmlns:a16="http://schemas.microsoft.com/office/drawing/2014/main" id="{042669B9-3C7F-E44A-A010-89EE9D2B9A75}"/>
                          </a:ext>
                        </a:extLst>
                      </p:cNvPr>
                      <p:cNvSpPr/>
                      <p:nvPr/>
                    </p:nvSpPr>
                    <p:spPr bwMode="auto">
                      <a:xfrm>
                        <a:off x="551886" y="4922823"/>
                        <a:ext cx="508602" cy="151498"/>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616" name="Oval 615">
                        <a:extLst>
                          <a:ext uri="{FF2B5EF4-FFF2-40B4-BE49-F238E27FC236}">
                            <a16:creationId xmlns:a16="http://schemas.microsoft.com/office/drawing/2014/main" id="{A465B4AE-342F-7C4E-8F1B-6BE65B2CD58B}"/>
                          </a:ext>
                        </a:extLst>
                      </p:cNvPr>
                      <p:cNvSpPr/>
                      <p:nvPr/>
                    </p:nvSpPr>
                    <p:spPr bwMode="auto">
                      <a:xfrm flipH="1">
                        <a:off x="955040" y="4971128"/>
                        <a:ext cx="45720" cy="45720"/>
                      </a:xfrm>
                      <a:prstGeom prst="ellipse">
                        <a:avLst/>
                      </a:prstGeom>
                      <a:solidFill>
                        <a:srgbClr val="50E6FF"/>
                      </a:solidFill>
                      <a:ln w="1270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cxnSp>
                    <p:nvCxnSpPr>
                      <p:cNvPr id="617" name="Straight Connector 616">
                        <a:extLst>
                          <a:ext uri="{FF2B5EF4-FFF2-40B4-BE49-F238E27FC236}">
                            <a16:creationId xmlns:a16="http://schemas.microsoft.com/office/drawing/2014/main" id="{C3898B18-3447-6A47-AFD1-E37B76ECA7E8}"/>
                          </a:ext>
                        </a:extLst>
                      </p:cNvPr>
                      <p:cNvCxnSpPr/>
                      <p:nvPr/>
                    </p:nvCxnSpPr>
                    <p:spPr>
                      <a:xfrm>
                        <a:off x="625475" y="4997163"/>
                        <a:ext cx="238125" cy="0"/>
                      </a:xfrm>
                      <a:prstGeom prst="line">
                        <a:avLst/>
                      </a:prstGeom>
                      <a:solidFill>
                        <a:srgbClr val="50E6FF"/>
                      </a:solidFill>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607" name="Straight Connector 606">
                      <a:extLst>
                        <a:ext uri="{FF2B5EF4-FFF2-40B4-BE49-F238E27FC236}">
                          <a16:creationId xmlns:a16="http://schemas.microsoft.com/office/drawing/2014/main" id="{88B6511F-FDAD-0C47-9E23-7DB29C5730E8}"/>
                        </a:ext>
                      </a:extLst>
                    </p:cNvPr>
                    <p:cNvCxnSpPr>
                      <a:cxnSpLocks/>
                    </p:cNvCxnSpPr>
                    <p:nvPr/>
                  </p:nvCxnSpPr>
                  <p:spPr>
                    <a:xfrm>
                      <a:off x="6805851"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8" name="Straight Connector 607">
                      <a:extLst>
                        <a:ext uri="{FF2B5EF4-FFF2-40B4-BE49-F238E27FC236}">
                          <a16:creationId xmlns:a16="http://schemas.microsoft.com/office/drawing/2014/main" id="{AF5BC0FB-7EFB-3F48-B224-11A4889E0A78}"/>
                        </a:ext>
                      </a:extLst>
                    </p:cNvPr>
                    <p:cNvCxnSpPr>
                      <a:cxnSpLocks/>
                    </p:cNvCxnSpPr>
                    <p:nvPr/>
                  </p:nvCxnSpPr>
                  <p:spPr>
                    <a:xfrm>
                      <a:off x="6898824"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9" name="Straight Connector 608">
                      <a:extLst>
                        <a:ext uri="{FF2B5EF4-FFF2-40B4-BE49-F238E27FC236}">
                          <a16:creationId xmlns:a16="http://schemas.microsoft.com/office/drawing/2014/main" id="{A91D7DD8-7092-7944-9151-2B3F53ED7CEE}"/>
                        </a:ext>
                      </a:extLst>
                    </p:cNvPr>
                    <p:cNvCxnSpPr>
                      <a:cxnSpLocks/>
                    </p:cNvCxnSpPr>
                    <p:nvPr/>
                  </p:nvCxnSpPr>
                  <p:spPr>
                    <a:xfrm>
                      <a:off x="6991796"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0" name="Straight Connector 609">
                      <a:extLst>
                        <a:ext uri="{FF2B5EF4-FFF2-40B4-BE49-F238E27FC236}">
                          <a16:creationId xmlns:a16="http://schemas.microsoft.com/office/drawing/2014/main" id="{AAACA8B2-E3DC-9E49-96CA-812360CD692C}"/>
                        </a:ext>
                      </a:extLst>
                    </p:cNvPr>
                    <p:cNvCxnSpPr>
                      <a:cxnSpLocks/>
                    </p:cNvCxnSpPr>
                    <p:nvPr/>
                  </p:nvCxnSpPr>
                  <p:spPr>
                    <a:xfrm>
                      <a:off x="7084769"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1" name="Straight Connector 610">
                      <a:extLst>
                        <a:ext uri="{FF2B5EF4-FFF2-40B4-BE49-F238E27FC236}">
                          <a16:creationId xmlns:a16="http://schemas.microsoft.com/office/drawing/2014/main" id="{8D854F83-987E-A440-BC39-C5F6B39C3760}"/>
                        </a:ext>
                      </a:extLst>
                    </p:cNvPr>
                    <p:cNvCxnSpPr>
                      <a:cxnSpLocks/>
                    </p:cNvCxnSpPr>
                    <p:nvPr/>
                  </p:nvCxnSpPr>
                  <p:spPr>
                    <a:xfrm>
                      <a:off x="6805851"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2" name="Straight Connector 611">
                      <a:extLst>
                        <a:ext uri="{FF2B5EF4-FFF2-40B4-BE49-F238E27FC236}">
                          <a16:creationId xmlns:a16="http://schemas.microsoft.com/office/drawing/2014/main" id="{0BD73F8F-8322-5F4E-B2E8-16BF95E9CCA3}"/>
                        </a:ext>
                      </a:extLst>
                    </p:cNvPr>
                    <p:cNvCxnSpPr>
                      <a:cxnSpLocks/>
                    </p:cNvCxnSpPr>
                    <p:nvPr/>
                  </p:nvCxnSpPr>
                  <p:spPr>
                    <a:xfrm>
                      <a:off x="6898824"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3" name="Straight Connector 612">
                      <a:extLst>
                        <a:ext uri="{FF2B5EF4-FFF2-40B4-BE49-F238E27FC236}">
                          <a16:creationId xmlns:a16="http://schemas.microsoft.com/office/drawing/2014/main" id="{B634E7E9-521D-9848-86B1-8F64693B6FE1}"/>
                        </a:ext>
                      </a:extLst>
                    </p:cNvPr>
                    <p:cNvCxnSpPr>
                      <a:cxnSpLocks/>
                    </p:cNvCxnSpPr>
                    <p:nvPr/>
                  </p:nvCxnSpPr>
                  <p:spPr>
                    <a:xfrm>
                      <a:off x="6991796"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4" name="Straight Connector 613">
                      <a:extLst>
                        <a:ext uri="{FF2B5EF4-FFF2-40B4-BE49-F238E27FC236}">
                          <a16:creationId xmlns:a16="http://schemas.microsoft.com/office/drawing/2014/main" id="{DB1F7853-FA02-0E40-8241-34D1E20F87B9}"/>
                        </a:ext>
                      </a:extLst>
                    </p:cNvPr>
                    <p:cNvCxnSpPr>
                      <a:cxnSpLocks/>
                    </p:cNvCxnSpPr>
                    <p:nvPr/>
                  </p:nvCxnSpPr>
                  <p:spPr>
                    <a:xfrm>
                      <a:off x="7084769"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621" name="Group 620">
                  <a:extLst>
                    <a:ext uri="{FF2B5EF4-FFF2-40B4-BE49-F238E27FC236}">
                      <a16:creationId xmlns:a16="http://schemas.microsoft.com/office/drawing/2014/main" id="{148FFD82-7AD3-E043-9F06-616BC140BE21}"/>
                    </a:ext>
                  </a:extLst>
                </p:cNvPr>
                <p:cNvGrpSpPr/>
                <p:nvPr/>
              </p:nvGrpSpPr>
              <p:grpSpPr>
                <a:xfrm>
                  <a:off x="6660949" y="1152637"/>
                  <a:ext cx="357399" cy="346269"/>
                  <a:chOff x="3525140" y="7975566"/>
                  <a:chExt cx="929360" cy="931976"/>
                </a:xfrm>
              </p:grpSpPr>
              <p:grpSp>
                <p:nvGrpSpPr>
                  <p:cNvPr id="622" name="Group 621">
                    <a:extLst>
                      <a:ext uri="{FF2B5EF4-FFF2-40B4-BE49-F238E27FC236}">
                        <a16:creationId xmlns:a16="http://schemas.microsoft.com/office/drawing/2014/main" id="{7B36D514-C4CC-9049-9F1F-3F419265DCD6}"/>
                      </a:ext>
                    </a:extLst>
                  </p:cNvPr>
                  <p:cNvGrpSpPr/>
                  <p:nvPr/>
                </p:nvGrpSpPr>
                <p:grpSpPr>
                  <a:xfrm>
                    <a:off x="3525140" y="7975566"/>
                    <a:ext cx="929360" cy="931976"/>
                    <a:chOff x="4825203" y="4636641"/>
                    <a:chExt cx="484632" cy="485997"/>
                  </a:xfrm>
                  <a:noFill/>
                </p:grpSpPr>
                <p:grpSp>
                  <p:nvGrpSpPr>
                    <p:cNvPr id="627" name="Group 626">
                      <a:extLst>
                        <a:ext uri="{FF2B5EF4-FFF2-40B4-BE49-F238E27FC236}">
                          <a16:creationId xmlns:a16="http://schemas.microsoft.com/office/drawing/2014/main" id="{A83DED60-5D1C-F544-9C7D-EAF84E663517}"/>
                        </a:ext>
                      </a:extLst>
                    </p:cNvPr>
                    <p:cNvGrpSpPr/>
                    <p:nvPr/>
                  </p:nvGrpSpPr>
                  <p:grpSpPr>
                    <a:xfrm>
                      <a:off x="4825203" y="4636641"/>
                      <a:ext cx="484632" cy="485997"/>
                      <a:chOff x="2107244" y="1575258"/>
                      <a:chExt cx="310993" cy="264555"/>
                    </a:xfrm>
                    <a:grpFill/>
                  </p:grpSpPr>
                  <p:sp>
                    <p:nvSpPr>
                      <p:cNvPr id="629" name="Rectangle 9">
                        <a:extLst>
                          <a:ext uri="{FF2B5EF4-FFF2-40B4-BE49-F238E27FC236}">
                            <a16:creationId xmlns:a16="http://schemas.microsoft.com/office/drawing/2014/main" id="{DED79499-D353-A142-999D-BE32944EF21A}"/>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panose="020B0502040204020203" pitchFamily="34" charset="0"/>
                          <a:cs typeface="Segoe UI" panose="020B0502040204020203" pitchFamily="34" charset="0"/>
                        </a:endParaRPr>
                      </a:p>
                    </p:txBody>
                  </p:sp>
                  <p:sp>
                    <p:nvSpPr>
                      <p:cNvPr id="630" name="Line 10">
                        <a:extLst>
                          <a:ext uri="{FF2B5EF4-FFF2-40B4-BE49-F238E27FC236}">
                            <a16:creationId xmlns:a16="http://schemas.microsoft.com/office/drawing/2014/main" id="{52996241-2219-1D42-AA62-AEF7700BADDB}"/>
                          </a:ext>
                        </a:extLst>
                      </p:cNvPr>
                      <p:cNvSpPr>
                        <a:spLocks noChangeShapeType="1"/>
                      </p:cNvSpPr>
                      <p:nvPr/>
                    </p:nvSpPr>
                    <p:spPr bwMode="auto">
                      <a:xfrm flipH="1">
                        <a:off x="2107244" y="1651824"/>
                        <a:ext cx="310993" cy="0"/>
                      </a:xfrm>
                      <a:prstGeom prst="line">
                        <a:avLst/>
                      </a:prstGeom>
                      <a:grpFill/>
                      <a:ln w="1905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panose="020B0502040204020203" pitchFamily="34" charset="0"/>
                          <a:cs typeface="Segoe UI" panose="020B0502040204020203" pitchFamily="34" charset="0"/>
                        </a:endParaRPr>
                      </a:p>
                    </p:txBody>
                  </p:sp>
                </p:grpSp>
                <p:sp>
                  <p:nvSpPr>
                    <p:cNvPr id="628" name="Oval 627">
                      <a:extLst>
                        <a:ext uri="{FF2B5EF4-FFF2-40B4-BE49-F238E27FC236}">
                          <a16:creationId xmlns:a16="http://schemas.microsoft.com/office/drawing/2014/main" id="{2D25CCF7-AE99-8E4F-A8D2-7CA7B3029062}"/>
                        </a:ext>
                      </a:extLst>
                    </p:cNvPr>
                    <p:cNvSpPr/>
                    <p:nvPr/>
                  </p:nvSpPr>
                  <p:spPr bwMode="auto">
                    <a:xfrm>
                      <a:off x="4865134" y="4679796"/>
                      <a:ext cx="45089" cy="45089"/>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a typeface="Arial" charset="0"/>
                        <a:cs typeface="Segoe UI" panose="020B0502040204020203" pitchFamily="34" charset="0"/>
                      </a:endParaRPr>
                    </a:p>
                  </p:txBody>
                </p:sp>
              </p:grpSp>
              <p:grpSp>
                <p:nvGrpSpPr>
                  <p:cNvPr id="623" name="Group 622">
                    <a:extLst>
                      <a:ext uri="{FF2B5EF4-FFF2-40B4-BE49-F238E27FC236}">
                        <a16:creationId xmlns:a16="http://schemas.microsoft.com/office/drawing/2014/main" id="{7B67599C-CAF9-EC42-8098-3654797E64A5}"/>
                      </a:ext>
                    </a:extLst>
                  </p:cNvPr>
                  <p:cNvGrpSpPr/>
                  <p:nvPr/>
                </p:nvGrpSpPr>
                <p:grpSpPr>
                  <a:xfrm>
                    <a:off x="3706611" y="8401312"/>
                    <a:ext cx="558505" cy="314757"/>
                    <a:chOff x="831850" y="2085362"/>
                    <a:chExt cx="923925" cy="520700"/>
                  </a:xfrm>
                </p:grpSpPr>
                <p:sp>
                  <p:nvSpPr>
                    <p:cNvPr id="624" name="Freeform 78">
                      <a:extLst>
                        <a:ext uri="{FF2B5EF4-FFF2-40B4-BE49-F238E27FC236}">
                          <a16:creationId xmlns:a16="http://schemas.microsoft.com/office/drawing/2014/main" id="{A11C2407-0133-E047-88F7-A5C5DF78F06F}"/>
                        </a:ext>
                      </a:extLst>
                    </p:cNvPr>
                    <p:cNvSpPr/>
                    <p:nvPr/>
                  </p:nvSpPr>
                  <p:spPr bwMode="auto">
                    <a:xfrm>
                      <a:off x="831850" y="2209189"/>
                      <a:ext cx="250825" cy="269874"/>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905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endParaRPr>
                    </a:p>
                  </p:txBody>
                </p:sp>
                <p:sp>
                  <p:nvSpPr>
                    <p:cNvPr id="625" name="Freeform 79">
                      <a:extLst>
                        <a:ext uri="{FF2B5EF4-FFF2-40B4-BE49-F238E27FC236}">
                          <a16:creationId xmlns:a16="http://schemas.microsoft.com/office/drawing/2014/main" id="{698B6EBF-F350-D246-8C12-864E08A6D9C7}"/>
                        </a:ext>
                      </a:extLst>
                    </p:cNvPr>
                    <p:cNvSpPr/>
                    <p:nvPr/>
                  </p:nvSpPr>
                  <p:spPr bwMode="auto">
                    <a:xfrm flipH="1">
                      <a:off x="1504950" y="2209189"/>
                      <a:ext cx="250825" cy="269874"/>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905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endParaRPr>
                    </a:p>
                  </p:txBody>
                </p:sp>
                <p:cxnSp>
                  <p:nvCxnSpPr>
                    <p:cNvPr id="626" name="Straight Connector 625">
                      <a:extLst>
                        <a:ext uri="{FF2B5EF4-FFF2-40B4-BE49-F238E27FC236}">
                          <a16:creationId xmlns:a16="http://schemas.microsoft.com/office/drawing/2014/main" id="{B7A4F04F-D1E6-374B-8BD4-B5DCABF43D2B}"/>
                        </a:ext>
                      </a:extLst>
                    </p:cNvPr>
                    <p:cNvCxnSpPr/>
                    <p:nvPr/>
                  </p:nvCxnSpPr>
                  <p:spPr>
                    <a:xfrm flipH="1">
                      <a:off x="1181100" y="2085362"/>
                      <a:ext cx="215900" cy="520700"/>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631" name="Group 630">
                  <a:extLst>
                    <a:ext uri="{FF2B5EF4-FFF2-40B4-BE49-F238E27FC236}">
                      <a16:creationId xmlns:a16="http://schemas.microsoft.com/office/drawing/2014/main" id="{FB5845DC-3584-7144-A9A4-14853DA61E41}"/>
                    </a:ext>
                  </a:extLst>
                </p:cNvPr>
                <p:cNvGrpSpPr/>
                <p:nvPr/>
              </p:nvGrpSpPr>
              <p:grpSpPr>
                <a:xfrm>
                  <a:off x="9067373" y="1152637"/>
                  <a:ext cx="357399" cy="346269"/>
                  <a:chOff x="7157554" y="1735934"/>
                  <a:chExt cx="397423" cy="398542"/>
                </a:xfrm>
              </p:grpSpPr>
              <p:grpSp>
                <p:nvGrpSpPr>
                  <p:cNvPr id="632" name="Group 631">
                    <a:extLst>
                      <a:ext uri="{FF2B5EF4-FFF2-40B4-BE49-F238E27FC236}">
                        <a16:creationId xmlns:a16="http://schemas.microsoft.com/office/drawing/2014/main" id="{A4450A72-89FB-034C-AACB-50C5629BB57C}"/>
                      </a:ext>
                    </a:extLst>
                  </p:cNvPr>
                  <p:cNvGrpSpPr/>
                  <p:nvPr/>
                </p:nvGrpSpPr>
                <p:grpSpPr>
                  <a:xfrm>
                    <a:off x="7157554" y="1735934"/>
                    <a:ext cx="397423" cy="398542"/>
                    <a:chOff x="2107244" y="1575258"/>
                    <a:chExt cx="310993" cy="264555"/>
                  </a:xfrm>
                  <a:solidFill>
                    <a:srgbClr val="0078D7"/>
                  </a:solidFill>
                </p:grpSpPr>
                <p:sp>
                  <p:nvSpPr>
                    <p:cNvPr id="637" name="Rectangle 9">
                      <a:extLst>
                        <a:ext uri="{FF2B5EF4-FFF2-40B4-BE49-F238E27FC236}">
                          <a16:creationId xmlns:a16="http://schemas.microsoft.com/office/drawing/2014/main" id="{9FA7275F-44A3-F24B-8458-92A6E157EC67}"/>
                        </a:ext>
                      </a:extLst>
                    </p:cNvPr>
                    <p:cNvSpPr>
                      <a:spLocks noChangeArrowheads="1"/>
                    </p:cNvSpPr>
                    <p:nvPr/>
                  </p:nvSpPr>
                  <p:spPr bwMode="auto">
                    <a:xfrm>
                      <a:off x="2107244" y="1575258"/>
                      <a:ext cx="310993" cy="264555"/>
                    </a:xfrm>
                    <a:prstGeom prst="rect">
                      <a:avLst/>
                    </a:prstGeom>
                    <a:grp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panose="020B0502040204020203" pitchFamily="34" charset="0"/>
                        <a:cs typeface="Segoe UI" panose="020B0502040204020203" pitchFamily="34" charset="0"/>
                      </a:endParaRPr>
                    </a:p>
                  </p:txBody>
                </p:sp>
                <p:sp>
                  <p:nvSpPr>
                    <p:cNvPr id="638" name="Line 10">
                      <a:extLst>
                        <a:ext uri="{FF2B5EF4-FFF2-40B4-BE49-F238E27FC236}">
                          <a16:creationId xmlns:a16="http://schemas.microsoft.com/office/drawing/2014/main" id="{B4E6F8AA-CE5C-054C-BDC9-4592A704B361}"/>
                        </a:ext>
                      </a:extLst>
                    </p:cNvPr>
                    <p:cNvSpPr>
                      <a:spLocks noChangeShapeType="1"/>
                    </p:cNvSpPr>
                    <p:nvPr/>
                  </p:nvSpPr>
                  <p:spPr bwMode="auto">
                    <a:xfrm flipH="1">
                      <a:off x="2107244" y="1647026"/>
                      <a:ext cx="310993" cy="0"/>
                    </a:xfrm>
                    <a:prstGeom prst="line">
                      <a:avLst/>
                    </a:prstGeom>
                    <a:grpFill/>
                    <a:ln w="1905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panose="020B0502040204020203" pitchFamily="34" charset="0"/>
                        <a:cs typeface="Segoe UI" panose="020B0502040204020203" pitchFamily="34" charset="0"/>
                      </a:endParaRPr>
                    </a:p>
                  </p:txBody>
                </p:sp>
              </p:grpSp>
              <p:grpSp>
                <p:nvGrpSpPr>
                  <p:cNvPr id="633" name="Group 632">
                    <a:extLst>
                      <a:ext uri="{FF2B5EF4-FFF2-40B4-BE49-F238E27FC236}">
                        <a16:creationId xmlns:a16="http://schemas.microsoft.com/office/drawing/2014/main" id="{B830F05D-6569-754E-94B4-9540EEE2A439}"/>
                      </a:ext>
                    </a:extLst>
                  </p:cNvPr>
                  <p:cNvGrpSpPr/>
                  <p:nvPr/>
                </p:nvGrpSpPr>
                <p:grpSpPr>
                  <a:xfrm>
                    <a:off x="7264761" y="1903738"/>
                    <a:ext cx="191394" cy="180132"/>
                    <a:chOff x="2202934" y="1701907"/>
                    <a:chExt cx="95690" cy="90061"/>
                  </a:xfrm>
                  <a:solidFill>
                    <a:srgbClr val="50E6FF"/>
                  </a:solidFill>
                </p:grpSpPr>
                <p:sp>
                  <p:nvSpPr>
                    <p:cNvPr id="635" name="Freeform 14">
                      <a:extLst>
                        <a:ext uri="{FF2B5EF4-FFF2-40B4-BE49-F238E27FC236}">
                          <a16:creationId xmlns:a16="http://schemas.microsoft.com/office/drawing/2014/main" id="{7C35835C-C4E7-C34C-8AE1-31F169FA5BB0}"/>
                        </a:ext>
                      </a:extLst>
                    </p:cNvPr>
                    <p:cNvSpPr>
                      <a:spLocks/>
                    </p:cNvSpPr>
                    <p:nvPr/>
                  </p:nvSpPr>
                  <p:spPr bwMode="auto">
                    <a:xfrm>
                      <a:off x="2202934"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grpFill/>
                    <a:ln w="12700" cap="flat">
                      <a:solidFill>
                        <a:srgbClr val="0078D7"/>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panose="020B0502040204020203" pitchFamily="34" charset="0"/>
                        <a:cs typeface="Segoe UI" panose="020B0502040204020203" pitchFamily="34" charset="0"/>
                      </a:endParaRPr>
                    </a:p>
                  </p:txBody>
                </p:sp>
                <p:sp>
                  <p:nvSpPr>
                    <p:cNvPr id="636" name="Line 15">
                      <a:extLst>
                        <a:ext uri="{FF2B5EF4-FFF2-40B4-BE49-F238E27FC236}">
                          <a16:creationId xmlns:a16="http://schemas.microsoft.com/office/drawing/2014/main" id="{92869FF0-80F5-5246-B0AE-5B903F53D428}"/>
                        </a:ext>
                      </a:extLst>
                    </p:cNvPr>
                    <p:cNvSpPr>
                      <a:spLocks noChangeShapeType="1"/>
                    </p:cNvSpPr>
                    <p:nvPr/>
                  </p:nvSpPr>
                  <p:spPr bwMode="auto">
                    <a:xfrm>
                      <a:off x="2253117" y="1755381"/>
                      <a:ext cx="0" cy="36587"/>
                    </a:xfrm>
                    <a:prstGeom prst="line">
                      <a:avLst/>
                    </a:prstGeom>
                    <a:grpFill/>
                    <a:ln w="12700" cap="flat">
                      <a:solidFill>
                        <a:srgbClr val="0078D7"/>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panose="020B0502040204020203" pitchFamily="34" charset="0"/>
                        <a:cs typeface="Segoe UI" panose="020B0502040204020203" pitchFamily="34" charset="0"/>
                      </a:endParaRPr>
                    </a:p>
                  </p:txBody>
                </p:sp>
              </p:grpSp>
              <p:sp>
                <p:nvSpPr>
                  <p:cNvPr id="634" name="Oval 633">
                    <a:extLst>
                      <a:ext uri="{FF2B5EF4-FFF2-40B4-BE49-F238E27FC236}">
                        <a16:creationId xmlns:a16="http://schemas.microsoft.com/office/drawing/2014/main" id="{1E5E1220-E062-7246-9AD6-3F91360442B8}"/>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a typeface="Arial" charset="0"/>
                      <a:cs typeface="Segoe UI" panose="020B0502040204020203" pitchFamily="34" charset="0"/>
                    </a:endParaRPr>
                  </a:p>
                </p:txBody>
              </p:sp>
            </p:grpSp>
            <p:grpSp>
              <p:nvGrpSpPr>
                <p:cNvPr id="639" name="Group 638">
                  <a:extLst>
                    <a:ext uri="{FF2B5EF4-FFF2-40B4-BE49-F238E27FC236}">
                      <a16:creationId xmlns:a16="http://schemas.microsoft.com/office/drawing/2014/main" id="{F092C4EB-AB7A-FE45-9633-57B512346802}"/>
                    </a:ext>
                  </a:extLst>
                </p:cNvPr>
                <p:cNvGrpSpPr/>
                <p:nvPr/>
              </p:nvGrpSpPr>
              <p:grpSpPr>
                <a:xfrm>
                  <a:off x="7903873" y="1169065"/>
                  <a:ext cx="357399" cy="346269"/>
                  <a:chOff x="5951054" y="1735934"/>
                  <a:chExt cx="397423" cy="398542"/>
                </a:xfrm>
              </p:grpSpPr>
              <p:grpSp>
                <p:nvGrpSpPr>
                  <p:cNvPr id="640" name="Group 639">
                    <a:extLst>
                      <a:ext uri="{FF2B5EF4-FFF2-40B4-BE49-F238E27FC236}">
                        <a16:creationId xmlns:a16="http://schemas.microsoft.com/office/drawing/2014/main" id="{47A03F9B-78E7-A148-979F-D44B0F8AE2B5}"/>
                      </a:ext>
                    </a:extLst>
                  </p:cNvPr>
                  <p:cNvGrpSpPr/>
                  <p:nvPr/>
                </p:nvGrpSpPr>
                <p:grpSpPr>
                  <a:xfrm>
                    <a:off x="5951054" y="1735934"/>
                    <a:ext cx="397423" cy="398542"/>
                    <a:chOff x="4825203" y="4636641"/>
                    <a:chExt cx="484632" cy="485997"/>
                  </a:xfrm>
                  <a:noFill/>
                </p:grpSpPr>
                <p:grpSp>
                  <p:nvGrpSpPr>
                    <p:cNvPr id="646" name="Group 645">
                      <a:extLst>
                        <a:ext uri="{FF2B5EF4-FFF2-40B4-BE49-F238E27FC236}">
                          <a16:creationId xmlns:a16="http://schemas.microsoft.com/office/drawing/2014/main" id="{4B9C330D-3451-9D45-9A81-671658BF2C3A}"/>
                        </a:ext>
                      </a:extLst>
                    </p:cNvPr>
                    <p:cNvGrpSpPr/>
                    <p:nvPr/>
                  </p:nvGrpSpPr>
                  <p:grpSpPr>
                    <a:xfrm>
                      <a:off x="4825203" y="4636641"/>
                      <a:ext cx="484632" cy="485997"/>
                      <a:chOff x="2107244" y="1575258"/>
                      <a:chExt cx="310993" cy="264555"/>
                    </a:xfrm>
                    <a:grpFill/>
                  </p:grpSpPr>
                  <p:sp>
                    <p:nvSpPr>
                      <p:cNvPr id="648" name="Rectangle 9">
                        <a:extLst>
                          <a:ext uri="{FF2B5EF4-FFF2-40B4-BE49-F238E27FC236}">
                            <a16:creationId xmlns:a16="http://schemas.microsoft.com/office/drawing/2014/main" id="{F3D396DD-FA25-2949-8F71-B8D0370C53AC}"/>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panose="020B0502040204020203" pitchFamily="34" charset="0"/>
                          <a:cs typeface="Segoe UI" panose="020B0502040204020203" pitchFamily="34" charset="0"/>
                        </a:endParaRPr>
                      </a:p>
                    </p:txBody>
                  </p:sp>
                  <p:sp>
                    <p:nvSpPr>
                      <p:cNvPr id="649" name="Line 10">
                        <a:extLst>
                          <a:ext uri="{FF2B5EF4-FFF2-40B4-BE49-F238E27FC236}">
                            <a16:creationId xmlns:a16="http://schemas.microsoft.com/office/drawing/2014/main" id="{6F9D313B-5BA5-0D44-BBE3-79FA9F158C83}"/>
                          </a:ext>
                        </a:extLst>
                      </p:cNvPr>
                      <p:cNvSpPr>
                        <a:spLocks noChangeShapeType="1"/>
                      </p:cNvSpPr>
                      <p:nvPr/>
                    </p:nvSpPr>
                    <p:spPr bwMode="auto">
                      <a:xfrm flipH="1">
                        <a:off x="2107244" y="1651824"/>
                        <a:ext cx="310993" cy="0"/>
                      </a:xfrm>
                      <a:prstGeom prst="line">
                        <a:avLst/>
                      </a:prstGeom>
                      <a:grpFill/>
                      <a:ln w="1905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panose="020B0502040204020203" pitchFamily="34" charset="0"/>
                          <a:cs typeface="Segoe UI" panose="020B0502040204020203" pitchFamily="34" charset="0"/>
                        </a:endParaRPr>
                      </a:p>
                    </p:txBody>
                  </p:sp>
                </p:grpSp>
                <p:sp>
                  <p:nvSpPr>
                    <p:cNvPr id="647" name="Oval 646">
                      <a:extLst>
                        <a:ext uri="{FF2B5EF4-FFF2-40B4-BE49-F238E27FC236}">
                          <a16:creationId xmlns:a16="http://schemas.microsoft.com/office/drawing/2014/main" id="{4E2BC696-15FF-FD46-9FED-D1F60D7C7462}"/>
                        </a:ext>
                      </a:extLst>
                    </p:cNvPr>
                    <p:cNvSpPr/>
                    <p:nvPr/>
                  </p:nvSpPr>
                  <p:spPr bwMode="auto">
                    <a:xfrm>
                      <a:off x="4865134" y="4679796"/>
                      <a:ext cx="45089" cy="45089"/>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a typeface="Arial" charset="0"/>
                        <a:cs typeface="Segoe UI" panose="020B0502040204020203" pitchFamily="34" charset="0"/>
                      </a:endParaRPr>
                    </a:p>
                  </p:txBody>
                </p:sp>
              </p:grpSp>
              <p:sp>
                <p:nvSpPr>
                  <p:cNvPr id="641" name="Freeform 5">
                    <a:extLst>
                      <a:ext uri="{FF2B5EF4-FFF2-40B4-BE49-F238E27FC236}">
                        <a16:creationId xmlns:a16="http://schemas.microsoft.com/office/drawing/2014/main" id="{C9BCC8C0-0679-E645-A794-7EB1B1E80402}"/>
                      </a:ext>
                    </a:extLst>
                  </p:cNvPr>
                  <p:cNvSpPr>
                    <a:spLocks/>
                  </p:cNvSpPr>
                  <p:nvPr/>
                </p:nvSpPr>
                <p:spPr bwMode="auto">
                  <a:xfrm flipV="1">
                    <a:off x="6046829" y="2070053"/>
                    <a:ext cx="202496" cy="19681"/>
                  </a:xfrm>
                  <a:custGeom>
                    <a:avLst/>
                    <a:gdLst>
                      <a:gd name="T0" fmla="*/ 0 w 252"/>
                      <a:gd name="T1" fmla="*/ 0 h 246"/>
                      <a:gd name="T2" fmla="*/ 0 w 252"/>
                      <a:gd name="T3" fmla="*/ 246 h 246"/>
                      <a:gd name="T4" fmla="*/ 252 w 252"/>
                      <a:gd name="T5" fmla="*/ 246 h 246"/>
                      <a:gd name="connsiteX0" fmla="*/ 0 w 10000"/>
                      <a:gd name="connsiteY0" fmla="*/ 0 h 0"/>
                      <a:gd name="connsiteX1" fmla="*/ 10000 w 10000"/>
                      <a:gd name="connsiteY1" fmla="*/ 0 h 0"/>
                    </a:gdLst>
                    <a:ahLst/>
                    <a:cxnLst>
                      <a:cxn ang="0">
                        <a:pos x="connsiteX0" y="connsiteY0"/>
                      </a:cxn>
                      <a:cxn ang="0">
                        <a:pos x="connsiteX1" y="connsiteY1"/>
                      </a:cxn>
                    </a:cxnLst>
                    <a:rect l="l" t="t" r="r" b="b"/>
                    <a:pathLst>
                      <a:path w="10000">
                        <a:moveTo>
                          <a:pt x="0" y="0"/>
                        </a:moveTo>
                        <a:lnTo>
                          <a:pt x="10000" y="0"/>
                        </a:lnTo>
                      </a:path>
                    </a:pathLst>
                  </a:custGeom>
                  <a:solidFill>
                    <a:srgbClr val="50E6FF"/>
                  </a:solidFill>
                  <a:ln w="19050" cap="flat">
                    <a:solidFill>
                      <a:srgbClr val="50E6FF"/>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panose="020B0502040204020203" pitchFamily="34" charset="0"/>
                      <a:cs typeface="Segoe UI" panose="020B0502040204020203" pitchFamily="34" charset="0"/>
                    </a:endParaRPr>
                  </a:p>
                </p:txBody>
              </p:sp>
              <p:sp>
                <p:nvSpPr>
                  <p:cNvPr id="642" name="Rectangle 6">
                    <a:extLst>
                      <a:ext uri="{FF2B5EF4-FFF2-40B4-BE49-F238E27FC236}">
                        <a16:creationId xmlns:a16="http://schemas.microsoft.com/office/drawing/2014/main" id="{14B8BDE6-396E-AA48-8D99-AE6D5E8E8D03}"/>
                      </a:ext>
                    </a:extLst>
                  </p:cNvPr>
                  <p:cNvSpPr>
                    <a:spLocks noChangeArrowheads="1"/>
                  </p:cNvSpPr>
                  <p:nvPr/>
                </p:nvSpPr>
                <p:spPr bwMode="auto">
                  <a:xfrm>
                    <a:off x="6080578" y="2016631"/>
                    <a:ext cx="18620" cy="57639"/>
                  </a:xfrm>
                  <a:prstGeom prst="rect">
                    <a:avLst/>
                  </a:prstGeom>
                  <a:solidFill>
                    <a:srgbClr val="50E6FF"/>
                  </a:solidFill>
                  <a:ln w="12700" cap="flat">
                    <a:no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panose="020B0502040204020203" pitchFamily="34" charset="0"/>
                      <a:cs typeface="Segoe UI" panose="020B0502040204020203" pitchFamily="34" charset="0"/>
                    </a:endParaRPr>
                  </a:p>
                </p:txBody>
              </p:sp>
              <p:sp>
                <p:nvSpPr>
                  <p:cNvPr id="643" name="Rectangle 7">
                    <a:extLst>
                      <a:ext uri="{FF2B5EF4-FFF2-40B4-BE49-F238E27FC236}">
                        <a16:creationId xmlns:a16="http://schemas.microsoft.com/office/drawing/2014/main" id="{78900DEC-5012-6E4D-8B09-0825ABF6DB6C}"/>
                      </a:ext>
                    </a:extLst>
                  </p:cNvPr>
                  <p:cNvSpPr>
                    <a:spLocks noChangeArrowheads="1"/>
                  </p:cNvSpPr>
                  <p:nvPr/>
                </p:nvSpPr>
                <p:spPr bwMode="auto">
                  <a:xfrm>
                    <a:off x="6117237" y="1977971"/>
                    <a:ext cx="19202" cy="96299"/>
                  </a:xfrm>
                  <a:prstGeom prst="rect">
                    <a:avLst/>
                  </a:prstGeom>
                  <a:solidFill>
                    <a:srgbClr val="50E6FF"/>
                  </a:solidFill>
                  <a:ln w="12700" cap="flat">
                    <a:no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panose="020B0502040204020203" pitchFamily="34" charset="0"/>
                      <a:cs typeface="Segoe UI" panose="020B0502040204020203" pitchFamily="34" charset="0"/>
                    </a:endParaRPr>
                  </a:p>
                </p:txBody>
              </p:sp>
              <p:sp>
                <p:nvSpPr>
                  <p:cNvPr id="644" name="Rectangle 8">
                    <a:extLst>
                      <a:ext uri="{FF2B5EF4-FFF2-40B4-BE49-F238E27FC236}">
                        <a16:creationId xmlns:a16="http://schemas.microsoft.com/office/drawing/2014/main" id="{AB3639DF-6617-CC45-9835-ADA7BEF99CC0}"/>
                      </a:ext>
                    </a:extLst>
                  </p:cNvPr>
                  <p:cNvSpPr>
                    <a:spLocks noChangeArrowheads="1"/>
                  </p:cNvSpPr>
                  <p:nvPr/>
                </p:nvSpPr>
                <p:spPr bwMode="auto">
                  <a:xfrm>
                    <a:off x="6154478" y="1942123"/>
                    <a:ext cx="19202" cy="132147"/>
                  </a:xfrm>
                  <a:prstGeom prst="rect">
                    <a:avLst/>
                  </a:prstGeom>
                  <a:solidFill>
                    <a:srgbClr val="50E6FF"/>
                  </a:solidFill>
                  <a:ln w="12700" cap="flat">
                    <a:no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panose="020B0502040204020203" pitchFamily="34" charset="0"/>
                      <a:cs typeface="Segoe UI" panose="020B0502040204020203" pitchFamily="34" charset="0"/>
                    </a:endParaRPr>
                  </a:p>
                </p:txBody>
              </p:sp>
              <p:sp>
                <p:nvSpPr>
                  <p:cNvPr id="645" name="Rectangle 8">
                    <a:extLst>
                      <a:ext uri="{FF2B5EF4-FFF2-40B4-BE49-F238E27FC236}">
                        <a16:creationId xmlns:a16="http://schemas.microsoft.com/office/drawing/2014/main" id="{EE0EFA85-971F-1941-ABA7-ABED9B93EC85}"/>
                      </a:ext>
                    </a:extLst>
                  </p:cNvPr>
                  <p:cNvSpPr>
                    <a:spLocks noChangeArrowheads="1"/>
                  </p:cNvSpPr>
                  <p:nvPr/>
                </p:nvSpPr>
                <p:spPr bwMode="auto">
                  <a:xfrm>
                    <a:off x="6194628" y="1903463"/>
                    <a:ext cx="19202" cy="170807"/>
                  </a:xfrm>
                  <a:prstGeom prst="rect">
                    <a:avLst/>
                  </a:prstGeom>
                  <a:solidFill>
                    <a:srgbClr val="50E6FF"/>
                  </a:solidFill>
                  <a:ln w="12700" cap="flat">
                    <a:no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panose="020B0502040204020203" pitchFamily="34" charset="0"/>
                      <a:cs typeface="Segoe UI" panose="020B0502040204020203" pitchFamily="34" charset="0"/>
                    </a:endParaRPr>
                  </a:p>
                </p:txBody>
              </p:sp>
            </p:grpSp>
            <p:grpSp>
              <p:nvGrpSpPr>
                <p:cNvPr id="10" name="Group 9">
                  <a:extLst>
                    <a:ext uri="{FF2B5EF4-FFF2-40B4-BE49-F238E27FC236}">
                      <a16:creationId xmlns:a16="http://schemas.microsoft.com/office/drawing/2014/main" id="{221E08B2-1A02-FB40-A599-E6593053F219}"/>
                    </a:ext>
                  </a:extLst>
                </p:cNvPr>
                <p:cNvGrpSpPr/>
                <p:nvPr/>
              </p:nvGrpSpPr>
              <p:grpSpPr>
                <a:xfrm>
                  <a:off x="7918710" y="1988750"/>
                  <a:ext cx="348172" cy="322453"/>
                  <a:chOff x="5786695" y="1006762"/>
                  <a:chExt cx="473472" cy="438498"/>
                </a:xfrm>
              </p:grpSpPr>
              <p:sp>
                <p:nvSpPr>
                  <p:cNvPr id="249" name="Freeform: Shape 829">
                    <a:extLst>
                      <a:ext uri="{FF2B5EF4-FFF2-40B4-BE49-F238E27FC236}">
                        <a16:creationId xmlns:a16="http://schemas.microsoft.com/office/drawing/2014/main" id="{A343F2C7-3AD9-544F-8961-04D62D9F24B0}"/>
                      </a:ext>
                    </a:extLst>
                  </p:cNvPr>
                  <p:cNvSpPr/>
                  <p:nvPr/>
                </p:nvSpPr>
                <p:spPr bwMode="auto">
                  <a:xfrm>
                    <a:off x="5838584" y="1006762"/>
                    <a:ext cx="340129" cy="438498"/>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solidFill>
                    <a:srgbClr val="2F78D0"/>
                  </a:solidFill>
                  <a:ln w="12700">
                    <a:solidFill>
                      <a:srgbClr val="02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5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8" name="TextBox 7">
                    <a:extLst>
                      <a:ext uri="{FF2B5EF4-FFF2-40B4-BE49-F238E27FC236}">
                        <a16:creationId xmlns:a16="http://schemas.microsoft.com/office/drawing/2014/main" id="{937BB11C-7638-8844-AD98-33EC5E011908}"/>
                      </a:ext>
                    </a:extLst>
                  </p:cNvPr>
                  <p:cNvSpPr txBox="1"/>
                  <p:nvPr/>
                </p:nvSpPr>
                <p:spPr>
                  <a:xfrm>
                    <a:off x="5786695" y="1128563"/>
                    <a:ext cx="473472" cy="257403"/>
                  </a:xfrm>
                  <a:prstGeom prst="rect">
                    <a:avLst/>
                  </a:prstGeom>
                  <a:noFill/>
                </p:spPr>
                <p:txBody>
                  <a:bodyPr wrap="none" lIns="91440" tIns="45720" rIns="91440" bIns="45720" rtlCol="0">
                    <a:spAutoFit/>
                  </a:bodyPr>
                  <a:lstStyle/>
                  <a:p>
                    <a:pPr algn="l">
                      <a:lnSpc>
                        <a:spcPct val="90000"/>
                      </a:lnSpc>
                      <a:spcAft>
                        <a:spcPts val="600"/>
                      </a:spcAft>
                    </a:pPr>
                    <a:r>
                      <a:rPr lang="en-US" sz="700" b="1" dirty="0">
                        <a:solidFill>
                          <a:srgbClr val="50E6FF"/>
                        </a:solidFill>
                        <a:latin typeface="Segoe UI" panose="020B0502040204020203" pitchFamily="34" charset="0"/>
                        <a:cs typeface="Segoe UI" panose="020B0502040204020203" pitchFamily="34" charset="0"/>
                      </a:rPr>
                      <a:t>SQL</a:t>
                    </a:r>
                    <a:endParaRPr lang="en-US" sz="1200" b="1" dirty="0">
                      <a:solidFill>
                        <a:srgbClr val="50E6FF"/>
                      </a:solidFill>
                      <a:latin typeface="Segoe UI" panose="020B0502040204020203" pitchFamily="34" charset="0"/>
                      <a:cs typeface="Segoe UI" panose="020B0502040204020203" pitchFamily="34" charset="0"/>
                    </a:endParaRPr>
                  </a:p>
                </p:txBody>
              </p:sp>
            </p:grpSp>
          </p:grpSp>
        </p:grpSp>
      </p:grpSp>
      <p:grpSp>
        <p:nvGrpSpPr>
          <p:cNvPr id="28" name="Group 27">
            <a:extLst>
              <a:ext uri="{FF2B5EF4-FFF2-40B4-BE49-F238E27FC236}">
                <a16:creationId xmlns:a16="http://schemas.microsoft.com/office/drawing/2014/main" id="{CE13E8DA-EAA1-3740-8FD1-6F362F81F8BE}"/>
              </a:ext>
            </a:extLst>
          </p:cNvPr>
          <p:cNvGrpSpPr/>
          <p:nvPr/>
        </p:nvGrpSpPr>
        <p:grpSpPr>
          <a:xfrm>
            <a:off x="3721556" y="2599980"/>
            <a:ext cx="2070668" cy="2819720"/>
            <a:chOff x="3807284" y="2373557"/>
            <a:chExt cx="2070668" cy="2819720"/>
          </a:xfrm>
        </p:grpSpPr>
        <p:cxnSp>
          <p:nvCxnSpPr>
            <p:cNvPr id="290" name="Straight Connector 289">
              <a:extLst>
                <a:ext uri="{FF2B5EF4-FFF2-40B4-BE49-F238E27FC236}">
                  <a16:creationId xmlns:a16="http://schemas.microsoft.com/office/drawing/2014/main" id="{D879A722-77DE-4044-BD54-C66394106851}"/>
                </a:ext>
              </a:extLst>
            </p:cNvPr>
            <p:cNvCxnSpPr>
              <a:cxnSpLocks/>
            </p:cNvCxnSpPr>
            <p:nvPr/>
          </p:nvCxnSpPr>
          <p:spPr>
            <a:xfrm>
              <a:off x="4430539" y="2373557"/>
              <a:ext cx="0" cy="129069"/>
            </a:xfrm>
            <a:prstGeom prst="line">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5F1A80E5-9C7A-FB49-9AAF-F68055D5176E}"/>
                </a:ext>
              </a:extLst>
            </p:cNvPr>
            <p:cNvGrpSpPr/>
            <p:nvPr/>
          </p:nvGrpSpPr>
          <p:grpSpPr>
            <a:xfrm>
              <a:off x="3807284" y="2547683"/>
              <a:ext cx="2070668" cy="2645594"/>
              <a:chOff x="3807284" y="2547683"/>
              <a:chExt cx="2070668" cy="2645594"/>
            </a:xfrm>
          </p:grpSpPr>
          <p:grpSp>
            <p:nvGrpSpPr>
              <p:cNvPr id="45" name="Group 44">
                <a:extLst>
                  <a:ext uri="{FF2B5EF4-FFF2-40B4-BE49-F238E27FC236}">
                    <a16:creationId xmlns:a16="http://schemas.microsoft.com/office/drawing/2014/main" id="{40B09AE3-96A1-43B1-BD85-7C3103F0A8C7}"/>
                  </a:ext>
                </a:extLst>
              </p:cNvPr>
              <p:cNvGrpSpPr/>
              <p:nvPr/>
            </p:nvGrpSpPr>
            <p:grpSpPr>
              <a:xfrm>
                <a:off x="3809535" y="3541495"/>
                <a:ext cx="2068417" cy="1651782"/>
                <a:chOff x="8707830" y="3825718"/>
                <a:chExt cx="2068417" cy="1651782"/>
              </a:xfrm>
            </p:grpSpPr>
            <p:sp>
              <p:nvSpPr>
                <p:cNvPr id="398" name="Rectangle 397">
                  <a:extLst>
                    <a:ext uri="{FF2B5EF4-FFF2-40B4-BE49-F238E27FC236}">
                      <a16:creationId xmlns:a16="http://schemas.microsoft.com/office/drawing/2014/main" id="{0F4E4795-4AD3-A94C-A85E-4D89F8EC95AC}"/>
                    </a:ext>
                  </a:extLst>
                </p:cNvPr>
                <p:cNvSpPr/>
                <p:nvPr/>
              </p:nvSpPr>
              <p:spPr>
                <a:xfrm>
                  <a:off x="8707830" y="3825718"/>
                  <a:ext cx="2068417" cy="1651782"/>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r>
                    <a:rPr lang="en-US" sz="1000" dirty="0">
                      <a:solidFill>
                        <a:schemeClr val="tx2"/>
                      </a:solidFill>
                      <a:latin typeface="+mj-lt"/>
                      <a:cs typeface="Segoe UI" panose="020B0502040204020203" pitchFamily="34" charset="0"/>
                    </a:rPr>
                    <a:t>Data mart</a:t>
                  </a:r>
                </a:p>
              </p:txBody>
            </p:sp>
            <p:sp>
              <p:nvSpPr>
                <p:cNvPr id="401" name="Rectangle 400">
                  <a:extLst>
                    <a:ext uri="{FF2B5EF4-FFF2-40B4-BE49-F238E27FC236}">
                      <a16:creationId xmlns:a16="http://schemas.microsoft.com/office/drawing/2014/main" id="{919E8DFF-5E0A-EA44-8311-F0CF6204481A}"/>
                    </a:ext>
                  </a:extLst>
                </p:cNvPr>
                <p:cNvSpPr/>
                <p:nvPr/>
              </p:nvSpPr>
              <p:spPr>
                <a:xfrm>
                  <a:off x="8832007" y="4252580"/>
                  <a:ext cx="877131" cy="1047042"/>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t">
                  <a:noAutofit/>
                </a:bodyPr>
                <a:lstStyle/>
                <a:p>
                  <a:pPr lvl="0" algn="ctr" defTabSz="457200">
                    <a:defRPr/>
                  </a:pPr>
                  <a:r>
                    <a:rPr lang="en-US" sz="1000" dirty="0">
                      <a:solidFill>
                        <a:schemeClr val="tx1"/>
                      </a:solidFill>
                      <a:latin typeface="Segoe UI" panose="020B0502040204020203" pitchFamily="34" charset="0"/>
                      <a:cs typeface="Segoe UI" panose="020B0502040204020203" pitchFamily="34" charset="0"/>
                    </a:rPr>
                    <a:t>SQL Data Node</a:t>
                  </a:r>
                </a:p>
              </p:txBody>
            </p:sp>
            <p:sp>
              <p:nvSpPr>
                <p:cNvPr id="403" name="Rectangle 402">
                  <a:extLst>
                    <a:ext uri="{FF2B5EF4-FFF2-40B4-BE49-F238E27FC236}">
                      <a16:creationId xmlns:a16="http://schemas.microsoft.com/office/drawing/2014/main" id="{99E65971-2466-7F46-804E-B95089E42B3D}"/>
                    </a:ext>
                  </a:extLst>
                </p:cNvPr>
                <p:cNvSpPr/>
                <p:nvPr/>
              </p:nvSpPr>
              <p:spPr>
                <a:xfrm>
                  <a:off x="9790674" y="4252578"/>
                  <a:ext cx="877131" cy="1047042"/>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t">
                  <a:noAutofit/>
                </a:bodyPr>
                <a:lstStyle/>
                <a:p>
                  <a:pPr lvl="0" algn="ctr" defTabSz="457200">
                    <a:defRPr/>
                  </a:pPr>
                  <a:r>
                    <a:rPr lang="en-US" sz="1000" dirty="0">
                      <a:solidFill>
                        <a:schemeClr val="tx1"/>
                      </a:solidFill>
                      <a:latin typeface="Segoe UI" panose="020B0502040204020203" pitchFamily="34" charset="0"/>
                      <a:cs typeface="Segoe UI" panose="020B0502040204020203" pitchFamily="34" charset="0"/>
                    </a:rPr>
                    <a:t>SQL Data Node</a:t>
                  </a:r>
                </a:p>
              </p:txBody>
            </p:sp>
          </p:grpSp>
          <p:grpSp>
            <p:nvGrpSpPr>
              <p:cNvPr id="39" name="Group 38">
                <a:extLst>
                  <a:ext uri="{FF2B5EF4-FFF2-40B4-BE49-F238E27FC236}">
                    <a16:creationId xmlns:a16="http://schemas.microsoft.com/office/drawing/2014/main" id="{99667A08-7D30-4DFB-B61F-834C3443760D}"/>
                  </a:ext>
                </a:extLst>
              </p:cNvPr>
              <p:cNvGrpSpPr/>
              <p:nvPr/>
            </p:nvGrpSpPr>
            <p:grpSpPr>
              <a:xfrm>
                <a:off x="3807284" y="2547683"/>
                <a:ext cx="1216089" cy="804424"/>
                <a:chOff x="9380696" y="2831906"/>
                <a:chExt cx="1216089" cy="804424"/>
              </a:xfrm>
            </p:grpSpPr>
            <p:sp>
              <p:nvSpPr>
                <p:cNvPr id="115" name="Rectangle 114">
                  <a:extLst>
                    <a:ext uri="{FF2B5EF4-FFF2-40B4-BE49-F238E27FC236}">
                      <a16:creationId xmlns:a16="http://schemas.microsoft.com/office/drawing/2014/main" id="{2E019E4F-ED7A-48BA-8466-34A7FCDAADEF}"/>
                    </a:ext>
                  </a:extLst>
                </p:cNvPr>
                <p:cNvSpPr/>
                <p:nvPr/>
              </p:nvSpPr>
              <p:spPr>
                <a:xfrm>
                  <a:off x="9380696" y="2831906"/>
                  <a:ext cx="1216089" cy="804424"/>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r>
                    <a:rPr lang="en-US" sz="1000" dirty="0">
                      <a:solidFill>
                        <a:schemeClr val="tx2"/>
                      </a:solidFill>
                      <a:latin typeface="+mj-lt"/>
                      <a:cs typeface="Segoe UI" panose="020B0502040204020203" pitchFamily="34" charset="0"/>
                    </a:rPr>
                    <a:t>Compute pool</a:t>
                  </a:r>
                </a:p>
              </p:txBody>
            </p:sp>
            <p:sp>
              <p:nvSpPr>
                <p:cNvPr id="174" name="Rectangle 173">
                  <a:extLst>
                    <a:ext uri="{FF2B5EF4-FFF2-40B4-BE49-F238E27FC236}">
                      <a16:creationId xmlns:a16="http://schemas.microsoft.com/office/drawing/2014/main" id="{A22D4463-06BB-4A37-ABA0-B61F52F151BC}"/>
                    </a:ext>
                  </a:extLst>
                </p:cNvPr>
                <p:cNvSpPr/>
                <p:nvPr/>
              </p:nvSpPr>
              <p:spPr>
                <a:xfrm>
                  <a:off x="9504446" y="3122787"/>
                  <a:ext cx="990116" cy="400110"/>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000" dirty="0">
                      <a:solidFill>
                        <a:schemeClr val="tx1"/>
                      </a:solidFill>
                      <a:latin typeface="Segoe UI" panose="020B0502040204020203" pitchFamily="34" charset="0"/>
                      <a:cs typeface="Segoe UI" panose="020B0502040204020203" pitchFamily="34" charset="0"/>
                    </a:rPr>
                    <a:t>SQL Compute Node</a:t>
                  </a:r>
                </a:p>
              </p:txBody>
            </p:sp>
          </p:grpSp>
          <p:cxnSp>
            <p:nvCxnSpPr>
              <p:cNvPr id="23" name="Straight Arrow Connector 22">
                <a:extLst>
                  <a:ext uri="{FF2B5EF4-FFF2-40B4-BE49-F238E27FC236}">
                    <a16:creationId xmlns:a16="http://schemas.microsoft.com/office/drawing/2014/main" id="{BBF568FF-8EAD-4A97-91F5-539EACC578A7}"/>
                  </a:ext>
                </a:extLst>
              </p:cNvPr>
              <p:cNvCxnSpPr>
                <a:cxnSpLocks/>
              </p:cNvCxnSpPr>
              <p:nvPr/>
            </p:nvCxnSpPr>
            <p:spPr>
              <a:xfrm>
                <a:off x="4441717" y="3236540"/>
                <a:ext cx="0" cy="304955"/>
              </a:xfrm>
              <a:prstGeom prst="straightConnector1">
                <a:avLst/>
              </a:prstGeom>
              <a:ln w="12700">
                <a:solidFill>
                  <a:srgbClr val="0078D7"/>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7A6C9E83-C099-0B48-AD07-964E937C89E3}"/>
                  </a:ext>
                </a:extLst>
              </p:cNvPr>
              <p:cNvSpPr/>
              <p:nvPr/>
            </p:nvSpPr>
            <p:spPr>
              <a:xfrm>
                <a:off x="4052317" y="4780566"/>
                <a:ext cx="639920" cy="246221"/>
              </a:xfrm>
              <a:prstGeom prst="rect">
                <a:avLst/>
              </a:prstGeom>
            </p:spPr>
            <p:txBody>
              <a:bodyPr wrap="none">
                <a:spAutoFit/>
              </a:bodyPr>
              <a:lstStyle/>
              <a:p>
                <a:pPr lvl="0" algn="ctr" defTabSz="457200">
                  <a:defRPr/>
                </a:pPr>
                <a:r>
                  <a:rPr lang="en-US" sz="1000" dirty="0">
                    <a:solidFill>
                      <a:schemeClr val="tx2"/>
                    </a:solidFill>
                    <a:latin typeface="+mj-lt"/>
                    <a:cs typeface="Segoe UI" panose="020B0502040204020203" pitchFamily="34" charset="0"/>
                  </a:rPr>
                  <a:t>Storage</a:t>
                </a:r>
              </a:p>
            </p:txBody>
          </p:sp>
          <p:sp>
            <p:nvSpPr>
              <p:cNvPr id="620" name="Rectangle 619">
                <a:extLst>
                  <a:ext uri="{FF2B5EF4-FFF2-40B4-BE49-F238E27FC236}">
                    <a16:creationId xmlns:a16="http://schemas.microsoft.com/office/drawing/2014/main" id="{B8FC2FF8-1E0C-8343-BED8-5F3246D79320}"/>
                  </a:ext>
                </a:extLst>
              </p:cNvPr>
              <p:cNvSpPr/>
              <p:nvPr/>
            </p:nvSpPr>
            <p:spPr>
              <a:xfrm>
                <a:off x="4996832" y="4782887"/>
                <a:ext cx="639920" cy="246221"/>
              </a:xfrm>
              <a:prstGeom prst="rect">
                <a:avLst/>
              </a:prstGeom>
            </p:spPr>
            <p:txBody>
              <a:bodyPr wrap="none">
                <a:spAutoFit/>
              </a:bodyPr>
              <a:lstStyle/>
              <a:p>
                <a:pPr lvl="0" algn="ctr" defTabSz="457200">
                  <a:defRPr/>
                </a:pPr>
                <a:r>
                  <a:rPr lang="en-US" sz="1000" dirty="0">
                    <a:solidFill>
                      <a:schemeClr val="tx2"/>
                    </a:solidFill>
                    <a:latin typeface="+mj-lt"/>
                    <a:cs typeface="Segoe UI" panose="020B0502040204020203" pitchFamily="34" charset="0"/>
                  </a:rPr>
                  <a:t>Storage</a:t>
                </a:r>
              </a:p>
            </p:txBody>
          </p:sp>
          <p:sp>
            <p:nvSpPr>
              <p:cNvPr id="252" name="Freeform: Shape 829">
                <a:extLst>
                  <a:ext uri="{FF2B5EF4-FFF2-40B4-BE49-F238E27FC236}">
                    <a16:creationId xmlns:a16="http://schemas.microsoft.com/office/drawing/2014/main" id="{F741376A-00B2-A248-AFD2-CB46EA36E761}"/>
                  </a:ext>
                </a:extLst>
              </p:cNvPr>
              <p:cNvSpPr/>
              <p:nvPr/>
            </p:nvSpPr>
            <p:spPr bwMode="auto">
              <a:xfrm>
                <a:off x="5182318" y="4442423"/>
                <a:ext cx="252675" cy="325751"/>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solidFill>
                <a:srgbClr val="2F78D0"/>
              </a:solidFill>
              <a:ln w="12700">
                <a:solidFill>
                  <a:srgbClr val="02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254" name="Freeform: Shape 829">
                <a:extLst>
                  <a:ext uri="{FF2B5EF4-FFF2-40B4-BE49-F238E27FC236}">
                    <a16:creationId xmlns:a16="http://schemas.microsoft.com/office/drawing/2014/main" id="{D26E7CCD-0E1B-7642-8184-19599B4EA57C}"/>
                  </a:ext>
                </a:extLst>
              </p:cNvPr>
              <p:cNvSpPr/>
              <p:nvPr/>
            </p:nvSpPr>
            <p:spPr bwMode="auto">
              <a:xfrm>
                <a:off x="4254218" y="4436785"/>
                <a:ext cx="252675" cy="325751"/>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solidFill>
                <a:srgbClr val="2F78D0"/>
              </a:solidFill>
              <a:ln w="12700">
                <a:solidFill>
                  <a:srgbClr val="02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grpSp>
      <p:sp>
        <p:nvSpPr>
          <p:cNvPr id="256" name="Rectangle 255">
            <a:extLst>
              <a:ext uri="{FF2B5EF4-FFF2-40B4-BE49-F238E27FC236}">
                <a16:creationId xmlns:a16="http://schemas.microsoft.com/office/drawing/2014/main" id="{6DC4CD9D-FDCA-4A72-8177-9D51EAE54F16}"/>
              </a:ext>
            </a:extLst>
          </p:cNvPr>
          <p:cNvSpPr/>
          <p:nvPr/>
        </p:nvSpPr>
        <p:spPr>
          <a:xfrm>
            <a:off x="583872" y="1000748"/>
            <a:ext cx="4314237" cy="837213"/>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r>
              <a:rPr lang="en-US" sz="1000" b="1" dirty="0">
                <a:solidFill>
                  <a:schemeClr val="tx2"/>
                </a:solidFill>
                <a:latin typeface="Segoe UI Semibold" panose="020B0502040204020203" pitchFamily="34" charset="0"/>
                <a:cs typeface="Segoe UI Semibold" panose="020B0502040204020203" pitchFamily="34" charset="0"/>
              </a:rPr>
              <a:t>Control Plane</a:t>
            </a:r>
          </a:p>
        </p:txBody>
      </p:sp>
      <p:sp>
        <p:nvSpPr>
          <p:cNvPr id="257" name="Rectangle 256">
            <a:extLst>
              <a:ext uri="{FF2B5EF4-FFF2-40B4-BE49-F238E27FC236}">
                <a16:creationId xmlns:a16="http://schemas.microsoft.com/office/drawing/2014/main" id="{769A9B31-230A-4EB7-A745-7B094F90F1E5}"/>
              </a:ext>
            </a:extLst>
          </p:cNvPr>
          <p:cNvSpPr/>
          <p:nvPr/>
        </p:nvSpPr>
        <p:spPr>
          <a:xfrm>
            <a:off x="688701" y="1226087"/>
            <a:ext cx="990116" cy="246221"/>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000" dirty="0">
                <a:solidFill>
                  <a:schemeClr val="tx1"/>
                </a:solidFill>
                <a:cs typeface="Segoe UI Semibold" panose="020B0502040204020203" pitchFamily="34" charset="0"/>
              </a:rPr>
              <a:t>Controller Svc</a:t>
            </a:r>
          </a:p>
        </p:txBody>
      </p:sp>
      <p:sp>
        <p:nvSpPr>
          <p:cNvPr id="258" name="Rectangle 257">
            <a:extLst>
              <a:ext uri="{FF2B5EF4-FFF2-40B4-BE49-F238E27FC236}">
                <a16:creationId xmlns:a16="http://schemas.microsoft.com/office/drawing/2014/main" id="{BEB76F30-D372-4BAF-96C0-4D46724F7117}"/>
              </a:ext>
            </a:extLst>
          </p:cNvPr>
          <p:cNvSpPr/>
          <p:nvPr/>
        </p:nvSpPr>
        <p:spPr>
          <a:xfrm>
            <a:off x="692586" y="1506211"/>
            <a:ext cx="2310627" cy="246221"/>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000" dirty="0">
                <a:solidFill>
                  <a:schemeClr val="tx1"/>
                </a:solidFill>
                <a:cs typeface="Segoe UI Semibold" panose="020B0502040204020203" pitchFamily="34" charset="0"/>
              </a:rPr>
              <a:t>Configuration Store (SQL Server)</a:t>
            </a:r>
          </a:p>
        </p:txBody>
      </p:sp>
      <p:sp>
        <p:nvSpPr>
          <p:cNvPr id="259" name="Rectangle 258">
            <a:extLst>
              <a:ext uri="{FF2B5EF4-FFF2-40B4-BE49-F238E27FC236}">
                <a16:creationId xmlns:a16="http://schemas.microsoft.com/office/drawing/2014/main" id="{FF495303-F272-4F09-9C82-D348B60B43DB}"/>
              </a:ext>
            </a:extLst>
          </p:cNvPr>
          <p:cNvSpPr/>
          <p:nvPr/>
        </p:nvSpPr>
        <p:spPr>
          <a:xfrm>
            <a:off x="4102581" y="1226087"/>
            <a:ext cx="709404" cy="246221"/>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000" dirty="0">
                <a:solidFill>
                  <a:schemeClr val="tx1"/>
                </a:solidFill>
                <a:cs typeface="Segoe UI Semibold" panose="020B0502040204020203" pitchFamily="34" charset="0"/>
              </a:rPr>
              <a:t>Grafana</a:t>
            </a:r>
          </a:p>
        </p:txBody>
      </p:sp>
      <p:sp>
        <p:nvSpPr>
          <p:cNvPr id="260" name="Rectangle 259">
            <a:extLst>
              <a:ext uri="{FF2B5EF4-FFF2-40B4-BE49-F238E27FC236}">
                <a16:creationId xmlns:a16="http://schemas.microsoft.com/office/drawing/2014/main" id="{B4990FD4-54A7-4EC5-A829-6E1F8CC9DDD0}"/>
              </a:ext>
            </a:extLst>
          </p:cNvPr>
          <p:cNvSpPr/>
          <p:nvPr/>
        </p:nvSpPr>
        <p:spPr>
          <a:xfrm>
            <a:off x="3071629" y="1498853"/>
            <a:ext cx="971543" cy="246221"/>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000" dirty="0">
                <a:solidFill>
                  <a:schemeClr val="tx1"/>
                </a:solidFill>
                <a:cs typeface="Segoe UI Semibold" panose="020B0502040204020203" pitchFamily="34" charset="0"/>
              </a:rPr>
              <a:t>Elastic Search</a:t>
            </a:r>
          </a:p>
        </p:txBody>
      </p:sp>
      <p:sp>
        <p:nvSpPr>
          <p:cNvPr id="261" name="Rectangle 260">
            <a:extLst>
              <a:ext uri="{FF2B5EF4-FFF2-40B4-BE49-F238E27FC236}">
                <a16:creationId xmlns:a16="http://schemas.microsoft.com/office/drawing/2014/main" id="{1339496D-F1CE-403A-9438-B54166DFE5D4}"/>
              </a:ext>
            </a:extLst>
          </p:cNvPr>
          <p:cNvSpPr/>
          <p:nvPr/>
        </p:nvSpPr>
        <p:spPr>
          <a:xfrm>
            <a:off x="1738226" y="1226087"/>
            <a:ext cx="1264987" cy="246221"/>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000" dirty="0">
                <a:solidFill>
                  <a:schemeClr val="tx1"/>
                </a:solidFill>
                <a:cs typeface="Segoe UI Semibold" panose="020B0502040204020203" pitchFamily="34" charset="0"/>
              </a:rPr>
              <a:t>Azure FSM Engine</a:t>
            </a:r>
          </a:p>
        </p:txBody>
      </p:sp>
      <p:sp>
        <p:nvSpPr>
          <p:cNvPr id="271" name="Rectangle 270">
            <a:extLst>
              <a:ext uri="{FF2B5EF4-FFF2-40B4-BE49-F238E27FC236}">
                <a16:creationId xmlns:a16="http://schemas.microsoft.com/office/drawing/2014/main" id="{1D7B3563-6641-4526-A40A-703732844C44}"/>
              </a:ext>
            </a:extLst>
          </p:cNvPr>
          <p:cNvSpPr/>
          <p:nvPr/>
        </p:nvSpPr>
        <p:spPr>
          <a:xfrm>
            <a:off x="4102581" y="1505639"/>
            <a:ext cx="709404" cy="246221"/>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000" dirty="0">
                <a:solidFill>
                  <a:schemeClr val="tx1"/>
                </a:solidFill>
                <a:cs typeface="Segoe UI Semibold" panose="020B0502040204020203" pitchFamily="34" charset="0"/>
              </a:rPr>
              <a:t>InfluxDB</a:t>
            </a:r>
          </a:p>
        </p:txBody>
      </p:sp>
      <p:sp>
        <p:nvSpPr>
          <p:cNvPr id="272" name="Rectangle 271">
            <a:extLst>
              <a:ext uri="{FF2B5EF4-FFF2-40B4-BE49-F238E27FC236}">
                <a16:creationId xmlns:a16="http://schemas.microsoft.com/office/drawing/2014/main" id="{68C79262-9969-4088-8120-673CC1E8C07E}"/>
              </a:ext>
            </a:extLst>
          </p:cNvPr>
          <p:cNvSpPr/>
          <p:nvPr/>
        </p:nvSpPr>
        <p:spPr>
          <a:xfrm>
            <a:off x="3062622" y="1226087"/>
            <a:ext cx="980550" cy="246221"/>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000" dirty="0">
                <a:solidFill>
                  <a:schemeClr val="tx1"/>
                </a:solidFill>
                <a:cs typeface="Segoe UI Semibold" panose="020B0502040204020203" pitchFamily="34" charset="0"/>
              </a:rPr>
              <a:t>Kibana</a:t>
            </a:r>
          </a:p>
        </p:txBody>
      </p:sp>
      <p:cxnSp>
        <p:nvCxnSpPr>
          <p:cNvPr id="32" name="Straight Connector 31">
            <a:extLst>
              <a:ext uri="{FF2B5EF4-FFF2-40B4-BE49-F238E27FC236}">
                <a16:creationId xmlns:a16="http://schemas.microsoft.com/office/drawing/2014/main" id="{D44B922D-A7C1-463B-8C78-B57B87D716DD}"/>
              </a:ext>
            </a:extLst>
          </p:cNvPr>
          <p:cNvCxnSpPr>
            <a:cxnSpLocks/>
          </p:cNvCxnSpPr>
          <p:nvPr/>
        </p:nvCxnSpPr>
        <p:spPr>
          <a:xfrm>
            <a:off x="583872" y="1827558"/>
            <a:ext cx="1546441" cy="311473"/>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3" name="Straight Connector 272">
            <a:extLst>
              <a:ext uri="{FF2B5EF4-FFF2-40B4-BE49-F238E27FC236}">
                <a16:creationId xmlns:a16="http://schemas.microsoft.com/office/drawing/2014/main" id="{11F5AB1D-DC7A-414C-9347-A4A7509FD5E9}"/>
              </a:ext>
            </a:extLst>
          </p:cNvPr>
          <p:cNvCxnSpPr>
            <a:cxnSpLocks/>
            <a:endCxn id="358" idx="0"/>
          </p:cNvCxnSpPr>
          <p:nvPr/>
        </p:nvCxnSpPr>
        <p:spPr>
          <a:xfrm>
            <a:off x="4911104" y="1851592"/>
            <a:ext cx="2069520" cy="285031"/>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21742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0"/>
                                        </p:tgtEl>
                                        <p:attrNameLst>
                                          <p:attrName>style.visibility</p:attrName>
                                        </p:attrNameLst>
                                      </p:cBhvr>
                                      <p:to>
                                        <p:strVal val="visible"/>
                                      </p:to>
                                    </p:set>
                                    <p:animEffect transition="in" filter="fade">
                                      <p:cBhvr>
                                        <p:cTn id="17" dur="500"/>
                                        <p:tgtEl>
                                          <p:spTgt spid="3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8"/>
                                        </p:tgtEl>
                                        <p:attrNameLst>
                                          <p:attrName>style.visibility</p:attrName>
                                        </p:attrNameLst>
                                      </p:cBhvr>
                                      <p:to>
                                        <p:strVal val="visible"/>
                                      </p:to>
                                    </p:set>
                                    <p:animEffect transition="in" filter="fade">
                                      <p:cBhvr>
                                        <p:cTn id="22" dur="500"/>
                                        <p:tgtEl>
                                          <p:spTgt spid="28"/>
                                        </p:tgtEl>
                                      </p:cBhvr>
                                    </p:animEffect>
                                  </p:childTnLst>
                                </p:cTn>
                              </p:par>
                              <p:par>
                                <p:cTn id="23" presetID="10" presetClass="entr" presetSubtype="0" fill="hold" nodeType="withEffect">
                                  <p:stCondLst>
                                    <p:cond delay="0"/>
                                  </p:stCondLst>
                                  <p:childTnLst>
                                    <p:set>
                                      <p:cBhvr>
                                        <p:cTn id="24" dur="1" fill="hold">
                                          <p:stCondLst>
                                            <p:cond delay="0"/>
                                          </p:stCondLst>
                                        </p:cTn>
                                        <p:tgtEl>
                                          <p:spTgt spid="22"/>
                                        </p:tgtEl>
                                        <p:attrNameLst>
                                          <p:attrName>style.visibility</p:attrName>
                                        </p:attrNameLst>
                                      </p:cBhvr>
                                      <p:to>
                                        <p:strVal val="visible"/>
                                      </p:to>
                                    </p:set>
                                    <p:animEffect transition="in" filter="fade">
                                      <p:cBhvr>
                                        <p:cTn id="25" dur="500"/>
                                        <p:tgtEl>
                                          <p:spTgt spid="22"/>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24"/>
                                        </p:tgtEl>
                                        <p:attrNameLst>
                                          <p:attrName>style.visibility</p:attrName>
                                        </p:attrNameLst>
                                      </p:cBhvr>
                                      <p:to>
                                        <p:strVal val="visible"/>
                                      </p:to>
                                    </p:set>
                                    <p:animEffect transition="in" filter="fade">
                                      <p:cBhvr>
                                        <p:cTn id="30" dur="500"/>
                                        <p:tgtEl>
                                          <p:spTgt spid="24"/>
                                        </p:tgtEl>
                                      </p:cBhvr>
                                    </p:animEffec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56"/>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57"/>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58"/>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59"/>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60"/>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61"/>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71"/>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72"/>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32"/>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27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6" grpId="0" animBg="1"/>
      <p:bldP spid="257" grpId="0" animBg="1"/>
      <p:bldP spid="258" grpId="0" animBg="1"/>
      <p:bldP spid="259" grpId="0" animBg="1"/>
      <p:bldP spid="260" grpId="0" animBg="1"/>
      <p:bldP spid="261" grpId="0" animBg="1"/>
      <p:bldP spid="271" grpId="0" animBg="1"/>
      <p:bldP spid="272" grpId="0" animBg="1"/>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B8737A-B9CD-4619-BC49-75DE312320A9}"/>
              </a:ext>
            </a:extLst>
          </p:cNvPr>
          <p:cNvSpPr>
            <a:spLocks noGrp="1"/>
          </p:cNvSpPr>
          <p:nvPr>
            <p:ph type="title"/>
          </p:nvPr>
        </p:nvSpPr>
        <p:spPr>
          <a:xfrm>
            <a:off x="359663" y="257532"/>
            <a:ext cx="11018520" cy="553998"/>
          </a:xfrm>
        </p:spPr>
        <p:txBody>
          <a:bodyPr/>
          <a:lstStyle/>
          <a:p>
            <a:r>
              <a:rPr lang="en-US" dirty="0"/>
              <a:t>Azure Data Studio and Data Virtualization</a:t>
            </a:r>
          </a:p>
        </p:txBody>
      </p:sp>
      <p:sp>
        <p:nvSpPr>
          <p:cNvPr id="5" name="Rectangle 4">
            <a:extLst>
              <a:ext uri="{FF2B5EF4-FFF2-40B4-BE49-F238E27FC236}">
                <a16:creationId xmlns:a16="http://schemas.microsoft.com/office/drawing/2014/main" id="{90AD6BFD-A8EE-4AB8-90DC-0262FBD3613A}"/>
              </a:ext>
            </a:extLst>
          </p:cNvPr>
          <p:cNvSpPr/>
          <p:nvPr/>
        </p:nvSpPr>
        <p:spPr bwMode="auto">
          <a:xfrm>
            <a:off x="7515497" y="1222452"/>
            <a:ext cx="4396740" cy="98326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Using </a:t>
            </a:r>
            <a:r>
              <a:rPr lang="en-US" sz="2000" dirty="0">
                <a:gradFill>
                  <a:gsLst>
                    <a:gs pos="0">
                      <a:srgbClr val="FFFFFF"/>
                    </a:gs>
                    <a:gs pos="100000">
                      <a:srgbClr val="FFFFFF"/>
                    </a:gs>
                  </a:gsLst>
                  <a:lin ang="5400000" scaled="0"/>
                </a:gradFill>
                <a:ea typeface="Segoe UI" pitchFamily="34" charset="0"/>
                <a:cs typeface="Segoe UI" pitchFamily="34" charset="0"/>
                <a:hlinkClick r:id="rId2"/>
              </a:rPr>
              <a:t>PROSE</a:t>
            </a:r>
            <a:r>
              <a:rPr lang="en-US" sz="2000" dirty="0">
                <a:gradFill>
                  <a:gsLst>
                    <a:gs pos="0">
                      <a:srgbClr val="FFFFFF"/>
                    </a:gs>
                    <a:gs pos="100000">
                      <a:srgbClr val="FFFFFF"/>
                    </a:gs>
                  </a:gsLst>
                  <a:lin ang="5400000" scaled="0"/>
                </a:gradFill>
                <a:ea typeface="Segoe UI" pitchFamily="34" charset="0"/>
                <a:cs typeface="Segoe UI" pitchFamily="34" charset="0"/>
              </a:rPr>
              <a:t> for intelligent import and schema detection</a:t>
            </a:r>
          </a:p>
        </p:txBody>
      </p:sp>
      <p:pic>
        <p:nvPicPr>
          <p:cNvPr id="3" name="Picture 2">
            <a:extLst>
              <a:ext uri="{FF2B5EF4-FFF2-40B4-BE49-F238E27FC236}">
                <a16:creationId xmlns:a16="http://schemas.microsoft.com/office/drawing/2014/main" id="{E6B96FCA-8430-4CD4-92B8-595B9610CC71}"/>
              </a:ext>
            </a:extLst>
          </p:cNvPr>
          <p:cNvPicPr>
            <a:picLocks noChangeAspect="1"/>
          </p:cNvPicPr>
          <p:nvPr/>
        </p:nvPicPr>
        <p:blipFill>
          <a:blip r:embed="rId3"/>
          <a:stretch>
            <a:fillRect/>
          </a:stretch>
        </p:blipFill>
        <p:spPr>
          <a:xfrm>
            <a:off x="192023" y="1011198"/>
            <a:ext cx="3684969" cy="5323420"/>
          </a:xfrm>
          <a:prstGeom prst="rect">
            <a:avLst/>
          </a:prstGeom>
        </p:spPr>
      </p:pic>
      <p:pic>
        <p:nvPicPr>
          <p:cNvPr id="4" name="Picture 3">
            <a:extLst>
              <a:ext uri="{FF2B5EF4-FFF2-40B4-BE49-F238E27FC236}">
                <a16:creationId xmlns:a16="http://schemas.microsoft.com/office/drawing/2014/main" id="{527B7C1F-F023-4E80-A791-CA4E9F905174}"/>
              </a:ext>
            </a:extLst>
          </p:cNvPr>
          <p:cNvPicPr>
            <a:picLocks noChangeAspect="1"/>
          </p:cNvPicPr>
          <p:nvPr/>
        </p:nvPicPr>
        <p:blipFill>
          <a:blip r:embed="rId4"/>
          <a:stretch>
            <a:fillRect/>
          </a:stretch>
        </p:blipFill>
        <p:spPr>
          <a:xfrm>
            <a:off x="388620" y="1222452"/>
            <a:ext cx="6376749" cy="4824018"/>
          </a:xfrm>
          <a:prstGeom prst="rect">
            <a:avLst/>
          </a:prstGeom>
        </p:spPr>
      </p:pic>
      <p:graphicFrame>
        <p:nvGraphicFramePr>
          <p:cNvPr id="6" name="Diagram 5">
            <a:extLst>
              <a:ext uri="{FF2B5EF4-FFF2-40B4-BE49-F238E27FC236}">
                <a16:creationId xmlns:a16="http://schemas.microsoft.com/office/drawing/2014/main" id="{9FB552FA-8C76-42B2-90E1-03F53F8E1CC0}"/>
              </a:ext>
            </a:extLst>
          </p:cNvPr>
          <p:cNvGraphicFramePr/>
          <p:nvPr>
            <p:extLst/>
          </p:nvPr>
        </p:nvGraphicFramePr>
        <p:xfrm>
          <a:off x="7961774" y="2053312"/>
          <a:ext cx="3504185" cy="372230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7" name="Picture 6">
            <a:extLst>
              <a:ext uri="{FF2B5EF4-FFF2-40B4-BE49-F238E27FC236}">
                <a16:creationId xmlns:a16="http://schemas.microsoft.com/office/drawing/2014/main" id="{E10C59BF-2057-41B8-8B90-A2DA31CABA4D}"/>
              </a:ext>
            </a:extLst>
          </p:cNvPr>
          <p:cNvPicPr>
            <a:picLocks noChangeAspect="1"/>
          </p:cNvPicPr>
          <p:nvPr/>
        </p:nvPicPr>
        <p:blipFill>
          <a:blip r:embed="rId10"/>
          <a:stretch>
            <a:fillRect/>
          </a:stretch>
        </p:blipFill>
        <p:spPr>
          <a:xfrm>
            <a:off x="2135078" y="1313565"/>
            <a:ext cx="3811466" cy="4718686"/>
          </a:xfrm>
          <a:prstGeom prst="rect">
            <a:avLst/>
          </a:prstGeom>
        </p:spPr>
      </p:pic>
    </p:spTree>
    <p:extLst>
      <p:ext uri="{BB962C8B-B14F-4D97-AF65-F5344CB8AC3E}">
        <p14:creationId xmlns:p14="http://schemas.microsoft.com/office/powerpoint/2010/main" val="5574978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Graphic spid="6" grpId="0">
        <p:bldAsOne/>
      </p:bldGraphic>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5" y="2534625"/>
            <a:ext cx="6922489" cy="997196"/>
          </a:xfrm>
        </p:spPr>
        <p:txBody>
          <a:bodyPr/>
          <a:lstStyle/>
          <a:p>
            <a:r>
              <a:rPr lang="en-US" dirty="0"/>
              <a:t>Module 8 Activity: SQL Server Big Data Clusters</a:t>
            </a:r>
          </a:p>
        </p:txBody>
      </p:sp>
      <p:sp>
        <p:nvSpPr>
          <p:cNvPr id="4" name="Text Placeholder 3">
            <a:extLst>
              <a:ext uri="{FF2B5EF4-FFF2-40B4-BE49-F238E27FC236}">
                <a16:creationId xmlns:a16="http://schemas.microsoft.com/office/drawing/2014/main" id="{19845D98-2CE9-45E6-9AA5-7DA5B4AF1C6D}"/>
              </a:ext>
            </a:extLst>
          </p:cNvPr>
          <p:cNvSpPr>
            <a:spLocks noGrp="1"/>
          </p:cNvSpPr>
          <p:nvPr>
            <p:ph type="body" sz="quarter" idx="12"/>
          </p:nvPr>
        </p:nvSpPr>
        <p:spPr>
          <a:xfrm>
            <a:off x="585216" y="3977319"/>
            <a:ext cx="6400800" cy="307777"/>
          </a:xfrm>
        </p:spPr>
        <p:txBody>
          <a:bodyPr/>
          <a:lstStyle/>
          <a:p>
            <a:r>
              <a:rPr lang="en-US" dirty="0"/>
              <a:t>A peek at SQL Server Big Data Clusters</a:t>
            </a:r>
          </a:p>
        </p:txBody>
      </p:sp>
    </p:spTree>
    <p:extLst>
      <p:ext uri="{BB962C8B-B14F-4D97-AF65-F5344CB8AC3E}">
        <p14:creationId xmlns:p14="http://schemas.microsoft.com/office/powerpoint/2010/main" val="4456090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DE104-D85B-43D4-AC99-58903696A798}"/>
              </a:ext>
            </a:extLst>
          </p:cNvPr>
          <p:cNvSpPr>
            <a:spLocks noGrp="1"/>
          </p:cNvSpPr>
          <p:nvPr>
            <p:ph type="title"/>
          </p:nvPr>
        </p:nvSpPr>
        <p:spPr>
          <a:xfrm>
            <a:off x="585216" y="2537210"/>
            <a:ext cx="6400800" cy="997196"/>
          </a:xfrm>
        </p:spPr>
        <p:txBody>
          <a:bodyPr/>
          <a:lstStyle/>
          <a:p>
            <a:r>
              <a:rPr lang="en-US" dirty="0"/>
              <a:t>Module 9: What is else is new in SQL Server 2019</a:t>
            </a:r>
          </a:p>
        </p:txBody>
      </p:sp>
    </p:spTree>
    <p:extLst>
      <p:ext uri="{BB962C8B-B14F-4D97-AF65-F5344CB8AC3E}">
        <p14:creationId xmlns:p14="http://schemas.microsoft.com/office/powerpoint/2010/main" val="3472186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2F16C553-EA3D-0B4D-A558-04C3F1C6FD93}"/>
              </a:ext>
            </a:extLst>
          </p:cNvPr>
          <p:cNvSpPr/>
          <p:nvPr/>
        </p:nvSpPr>
        <p:spPr>
          <a:xfrm>
            <a:off x="5067395" y="318453"/>
            <a:ext cx="6736701" cy="622109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a:defRPr/>
            </a:pPr>
            <a:endParaRPr kumimoji="0" lang="en-US" sz="1800" b="0" i="0" u="none" strike="noStrike" kern="1200" cap="none" spc="0" normalizeH="0" baseline="0" noProof="0" dirty="0">
              <a:ln>
                <a:noFill/>
              </a:ln>
              <a:solidFill>
                <a:schemeClr val="tx1"/>
              </a:solidFill>
              <a:effectLst/>
              <a:uLnTx/>
              <a:uFillTx/>
              <a:latin typeface="Consolas" panose="020B0609020204030204" pitchFamily="49" charset="0"/>
            </a:endParaRPr>
          </a:p>
        </p:txBody>
      </p:sp>
      <p:sp>
        <p:nvSpPr>
          <p:cNvPr id="17" name="Title 16"/>
          <p:cNvSpPr>
            <a:spLocks noGrp="1"/>
          </p:cNvSpPr>
          <p:nvPr>
            <p:ph type="title"/>
          </p:nvPr>
        </p:nvSpPr>
        <p:spPr>
          <a:xfrm>
            <a:off x="588263" y="457200"/>
            <a:ext cx="4364737" cy="553998"/>
          </a:xfrm>
        </p:spPr>
        <p:txBody>
          <a:bodyPr/>
          <a:lstStyle/>
          <a:p>
            <a:r>
              <a:rPr lang="en-US" dirty="0"/>
              <a:t>The Customer Voice</a:t>
            </a:r>
          </a:p>
        </p:txBody>
      </p:sp>
      <p:sp>
        <p:nvSpPr>
          <p:cNvPr id="6" name="Text Placeholder 5"/>
          <p:cNvSpPr>
            <a:spLocks noGrp="1"/>
          </p:cNvSpPr>
          <p:nvPr>
            <p:ph type="body" sz="quarter" idx="10"/>
          </p:nvPr>
        </p:nvSpPr>
        <p:spPr>
          <a:xfrm>
            <a:off x="588263" y="1650414"/>
            <a:ext cx="3759200" cy="3898503"/>
          </a:xfrm>
        </p:spPr>
        <p:txBody>
          <a:bodyPr/>
          <a:lstStyle/>
          <a:p>
            <a:pPr>
              <a:spcBef>
                <a:spcPts val="1000"/>
              </a:spcBef>
            </a:pPr>
            <a:r>
              <a:rPr lang="en-US" sz="2000" dirty="0"/>
              <a:t>Columnstore stats in DBCC CLONEDATABASE</a:t>
            </a:r>
          </a:p>
          <a:p>
            <a:pPr>
              <a:spcBef>
                <a:spcPts val="1000"/>
              </a:spcBef>
            </a:pPr>
            <a:r>
              <a:rPr lang="en-US" sz="2000" dirty="0"/>
              <a:t>Estimate compression for Columnstore indexes</a:t>
            </a:r>
          </a:p>
          <a:p>
            <a:r>
              <a:rPr lang="en-US" dirty="0"/>
              <a:t>Diagnostics for auto stats blocking</a:t>
            </a:r>
          </a:p>
          <a:p>
            <a:pPr>
              <a:spcBef>
                <a:spcPts val="1000"/>
              </a:spcBef>
            </a:pPr>
            <a:r>
              <a:rPr lang="en-US" dirty="0"/>
              <a:t>The #1 voted customer feedback item of all time: String Truncation (1000+ votes)</a:t>
            </a:r>
          </a:p>
          <a:p>
            <a:pPr>
              <a:spcBef>
                <a:spcPts val="1000"/>
              </a:spcBef>
            </a:pPr>
            <a:r>
              <a:rPr lang="en-US" sz="2000" dirty="0"/>
              <a:t>Troubleshoot page resource waits with new built-in T-SQL</a:t>
            </a:r>
          </a:p>
        </p:txBody>
      </p:sp>
      <p:sp>
        <p:nvSpPr>
          <p:cNvPr id="2" name="Rectangle 1">
            <a:extLst>
              <a:ext uri="{FF2B5EF4-FFF2-40B4-BE49-F238E27FC236}">
                <a16:creationId xmlns:a16="http://schemas.microsoft.com/office/drawing/2014/main" id="{52961319-B32B-41FE-8BBF-24202B001C20}"/>
              </a:ext>
            </a:extLst>
          </p:cNvPr>
          <p:cNvSpPr/>
          <p:nvPr/>
        </p:nvSpPr>
        <p:spPr>
          <a:xfrm>
            <a:off x="5877152" y="897374"/>
            <a:ext cx="5250155" cy="369332"/>
          </a:xfrm>
          <a:prstGeom prst="rect">
            <a:avLst/>
          </a:prstGeom>
        </p:spPr>
        <p:txBody>
          <a:bodyPr wrap="none">
            <a:spAutoFit/>
          </a:bodyPr>
          <a:lstStyle/>
          <a:p>
            <a:r>
              <a:rPr lang="en-US" sz="1800" dirty="0">
                <a:latin typeface="Consolas" panose="020B0609020204030204" pitchFamily="49" charset="0"/>
              </a:rPr>
              <a:t>String or binary data would be truncated</a:t>
            </a:r>
          </a:p>
        </p:txBody>
      </p:sp>
      <p:sp>
        <p:nvSpPr>
          <p:cNvPr id="3" name="TextBox 2">
            <a:extLst>
              <a:ext uri="{FF2B5EF4-FFF2-40B4-BE49-F238E27FC236}">
                <a16:creationId xmlns:a16="http://schemas.microsoft.com/office/drawing/2014/main" id="{60F0B44C-6BD4-4732-8D2A-E39307AF79EF}"/>
              </a:ext>
            </a:extLst>
          </p:cNvPr>
          <p:cNvSpPr txBox="1"/>
          <p:nvPr/>
        </p:nvSpPr>
        <p:spPr>
          <a:xfrm>
            <a:off x="5935180" y="1650414"/>
            <a:ext cx="5192127" cy="830997"/>
          </a:xfrm>
          <a:prstGeom prst="rect">
            <a:avLst/>
          </a:prstGeom>
          <a:noFill/>
        </p:spPr>
        <p:txBody>
          <a:bodyPr wrap="none" lIns="0" tIns="0" rIns="0" bIns="0" rtlCol="0">
            <a:spAutoFit/>
          </a:bodyPr>
          <a:lstStyle/>
          <a:p>
            <a:r>
              <a:rPr lang="en-US" sz="1800" dirty="0">
                <a:latin typeface="Consolas" panose="020B0609020204030204" pitchFamily="49" charset="0"/>
              </a:rPr>
              <a:t>String or binary data would be truncated </a:t>
            </a:r>
          </a:p>
          <a:p>
            <a:r>
              <a:rPr lang="en-US" sz="1800" dirty="0">
                <a:latin typeface="Consolas" panose="020B0609020204030204" pitchFamily="49" charset="0"/>
              </a:rPr>
              <a:t>in table '%.*ls', column '%.*ls’. </a:t>
            </a:r>
          </a:p>
          <a:p>
            <a:r>
              <a:rPr lang="en-US" sz="1800" dirty="0">
                <a:latin typeface="Consolas" panose="020B0609020204030204" pitchFamily="49" charset="0"/>
              </a:rPr>
              <a:t>Truncated value: '%.*ls'</a:t>
            </a:r>
          </a:p>
        </p:txBody>
      </p:sp>
      <p:sp>
        <p:nvSpPr>
          <p:cNvPr id="8" name="Rectangle 7">
            <a:extLst>
              <a:ext uri="{FF2B5EF4-FFF2-40B4-BE49-F238E27FC236}">
                <a16:creationId xmlns:a16="http://schemas.microsoft.com/office/drawing/2014/main" id="{E2DE072B-B9D7-4ABD-9B91-929BECC63230}"/>
              </a:ext>
            </a:extLst>
          </p:cNvPr>
          <p:cNvSpPr/>
          <p:nvPr/>
        </p:nvSpPr>
        <p:spPr>
          <a:xfrm>
            <a:off x="5822491" y="4071601"/>
            <a:ext cx="6096000" cy="2031325"/>
          </a:xfrm>
          <a:prstGeom prst="rect">
            <a:avLst/>
          </a:prstGeom>
        </p:spPr>
        <p:txBody>
          <a:bodyPr>
            <a:spAutoFit/>
          </a:bodyPr>
          <a:lstStyle/>
          <a:p>
            <a:r>
              <a:rPr lang="en-US" sz="1800" dirty="0">
                <a:latin typeface="Consolas" panose="020B0609020204030204" pitchFamily="49" charset="0"/>
              </a:rPr>
              <a:t>SELECT page_info.* </a:t>
            </a:r>
          </a:p>
          <a:p>
            <a:r>
              <a:rPr lang="en-US" sz="1800" dirty="0">
                <a:latin typeface="Consolas" panose="020B0609020204030204" pitchFamily="49" charset="0"/>
              </a:rPr>
              <a:t>FROM sys.dm_exec_requests AS d </a:t>
            </a:r>
          </a:p>
          <a:p>
            <a:r>
              <a:rPr lang="en-US" sz="1800" dirty="0">
                <a:latin typeface="Consolas" panose="020B0609020204030204" pitchFamily="49" charset="0"/>
              </a:rPr>
              <a:t>  CROSS APPLY sys.</a:t>
            </a:r>
            <a:r>
              <a:rPr lang="en-US" sz="1800" b="1" dirty="0">
                <a:latin typeface="Consolas" panose="020B0609020204030204" pitchFamily="49" charset="0"/>
              </a:rPr>
              <a:t>fn_PageResCracker</a:t>
            </a:r>
            <a:r>
              <a:rPr lang="en-US" sz="1800" dirty="0">
                <a:latin typeface="Consolas" panose="020B0609020204030204" pitchFamily="49" charset="0"/>
              </a:rPr>
              <a:t>(d.page_resource) AS r</a:t>
            </a:r>
          </a:p>
          <a:p>
            <a:r>
              <a:rPr lang="en-US" sz="1800" dirty="0">
                <a:latin typeface="Consolas" panose="020B0609020204030204" pitchFamily="49" charset="0"/>
              </a:rPr>
              <a:t>  CROSS APPLY sys.</a:t>
            </a:r>
            <a:r>
              <a:rPr lang="en-US" sz="1800" b="1" dirty="0">
                <a:latin typeface="Consolas" panose="020B0609020204030204" pitchFamily="49" charset="0"/>
              </a:rPr>
              <a:t>dm_db_page_info</a:t>
            </a:r>
            <a:r>
              <a:rPr lang="en-US" sz="1800" dirty="0">
                <a:latin typeface="Consolas" panose="020B0609020204030204" pitchFamily="49" charset="0"/>
              </a:rPr>
              <a:t>(r.db_id, r.file_id, r.page_id,'DETAILED')</a:t>
            </a:r>
          </a:p>
          <a:p>
            <a:r>
              <a:rPr lang="en-US" sz="1800" dirty="0">
                <a:latin typeface="Consolas" panose="020B0609020204030204" pitchFamily="49" charset="0"/>
              </a:rPr>
              <a:t>    AS page_info;</a:t>
            </a:r>
          </a:p>
        </p:txBody>
      </p:sp>
    </p:spTree>
    <p:extLst>
      <p:ext uri="{BB962C8B-B14F-4D97-AF65-F5344CB8AC3E}">
        <p14:creationId xmlns:p14="http://schemas.microsoft.com/office/powerpoint/2010/main" val="10217048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8" grpId="0"/>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DE104-D85B-43D4-AC99-58903696A798}"/>
              </a:ext>
            </a:extLst>
          </p:cNvPr>
          <p:cNvSpPr>
            <a:spLocks noGrp="1"/>
          </p:cNvSpPr>
          <p:nvPr>
            <p:ph type="title"/>
          </p:nvPr>
        </p:nvSpPr>
        <p:spPr>
          <a:xfrm>
            <a:off x="585216" y="2537210"/>
            <a:ext cx="6400800" cy="997196"/>
          </a:xfrm>
        </p:spPr>
        <p:txBody>
          <a:bodyPr/>
          <a:lstStyle/>
          <a:p>
            <a:r>
              <a:rPr lang="en-US" dirty="0"/>
              <a:t>Module 10: Migrating and Next Steps</a:t>
            </a:r>
          </a:p>
        </p:txBody>
      </p:sp>
    </p:spTree>
    <p:extLst>
      <p:ext uri="{BB962C8B-B14F-4D97-AF65-F5344CB8AC3E}">
        <p14:creationId xmlns:p14="http://schemas.microsoft.com/office/powerpoint/2010/main" val="1039403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71C1A5-6D29-474F-9E9C-F8A34E6D6B10}"/>
              </a:ext>
            </a:extLst>
          </p:cNvPr>
          <p:cNvSpPr>
            <a:spLocks noGrp="1"/>
          </p:cNvSpPr>
          <p:nvPr>
            <p:ph type="title"/>
          </p:nvPr>
        </p:nvSpPr>
        <p:spPr>
          <a:xfrm>
            <a:off x="588263" y="457200"/>
            <a:ext cx="11018520" cy="553998"/>
          </a:xfrm>
        </p:spPr>
        <p:txBody>
          <a:bodyPr/>
          <a:lstStyle/>
          <a:p>
            <a:r>
              <a:rPr lang="en-US" dirty="0"/>
              <a:t>Migration to the Modern SQL Server</a:t>
            </a:r>
          </a:p>
        </p:txBody>
      </p:sp>
      <p:sp>
        <p:nvSpPr>
          <p:cNvPr id="4" name="Rectangle 3">
            <a:extLst>
              <a:ext uri="{FF2B5EF4-FFF2-40B4-BE49-F238E27FC236}">
                <a16:creationId xmlns:a16="http://schemas.microsoft.com/office/drawing/2014/main" id="{1AECACE9-0776-44A2-86FC-C797B5FF49D8}"/>
              </a:ext>
            </a:extLst>
          </p:cNvPr>
          <p:cNvSpPr/>
          <p:nvPr/>
        </p:nvSpPr>
        <p:spPr bwMode="auto">
          <a:xfrm flipH="1">
            <a:off x="0" y="1339702"/>
            <a:ext cx="12192000" cy="5518298"/>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 name="TextBox 4">
            <a:extLst>
              <a:ext uri="{FF2B5EF4-FFF2-40B4-BE49-F238E27FC236}">
                <a16:creationId xmlns:a16="http://schemas.microsoft.com/office/drawing/2014/main" id="{70C2DC38-F32E-495E-AC42-360DC25AED55}"/>
              </a:ext>
            </a:extLst>
          </p:cNvPr>
          <p:cNvSpPr txBox="1"/>
          <p:nvPr/>
        </p:nvSpPr>
        <p:spPr>
          <a:xfrm>
            <a:off x="269240" y="1906098"/>
            <a:ext cx="4222931" cy="338554"/>
          </a:xfrm>
          <a:prstGeom prst="rect">
            <a:avLst/>
          </a:prstGeom>
          <a:noFill/>
        </p:spPr>
        <p:txBody>
          <a:bodyPr wrap="square" lIns="91440" tIns="45720" rIns="91362" bIns="45720" rtlCol="0">
            <a:spAutoFit/>
          </a:bodyPr>
          <a:lstStyle>
            <a:defPPr>
              <a:defRPr lang="en-US"/>
            </a:defPPr>
            <a:lvl1pPr marL="93188" algn="ctr" defTabSz="949772">
              <a:spcBef>
                <a:spcPts val="306"/>
              </a:spcBef>
              <a:defRPr sz="1600" kern="0">
                <a:ln>
                  <a:solidFill>
                    <a:srgbClr val="FFFFFF">
                      <a:alpha val="0"/>
                    </a:srgbClr>
                  </a:solidFill>
                </a:ln>
                <a:solidFill>
                  <a:srgbClr val="002050"/>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91352" lvl="0" algn="l" defTabSz="931061">
              <a:spcBef>
                <a:spcPts val="300"/>
              </a:spcBef>
              <a:defRPr/>
            </a:pPr>
            <a:r>
              <a:rPr lang="en-US" b="1" dirty="0">
                <a:solidFill>
                  <a:schemeClr val="tx2"/>
                </a:solidFill>
                <a:latin typeface="Segoe UI Semibold" panose="020B0502040204020203" pitchFamily="34" charset="0"/>
                <a:cs typeface="Segoe UI Semibold" panose="020B0502040204020203" pitchFamily="34" charset="0"/>
              </a:rPr>
              <a:t>Migration from legacy SQL Server </a:t>
            </a:r>
          </a:p>
        </p:txBody>
      </p:sp>
      <p:sp>
        <p:nvSpPr>
          <p:cNvPr id="6" name="TextBox 5">
            <a:extLst>
              <a:ext uri="{FF2B5EF4-FFF2-40B4-BE49-F238E27FC236}">
                <a16:creationId xmlns:a16="http://schemas.microsoft.com/office/drawing/2014/main" id="{9EE8E107-6366-4FD5-A80E-6B9370F26FC4}"/>
              </a:ext>
            </a:extLst>
          </p:cNvPr>
          <p:cNvSpPr txBox="1"/>
          <p:nvPr/>
        </p:nvSpPr>
        <p:spPr>
          <a:xfrm>
            <a:off x="6380186" y="1936237"/>
            <a:ext cx="3680446" cy="338554"/>
          </a:xfrm>
          <a:prstGeom prst="rect">
            <a:avLst/>
          </a:prstGeom>
          <a:noFill/>
        </p:spPr>
        <p:txBody>
          <a:bodyPr wrap="square" lIns="91440" tIns="45720" rIns="91362" bIns="45720" rtlCol="0">
            <a:spAutoFit/>
          </a:bodyPr>
          <a:lstStyle>
            <a:defPPr>
              <a:defRPr lang="en-US"/>
            </a:defPPr>
            <a:lvl1pPr marL="93188" algn="ctr" defTabSz="949772">
              <a:spcBef>
                <a:spcPts val="306"/>
              </a:spcBef>
              <a:defRPr sz="1600" kern="0">
                <a:ln>
                  <a:solidFill>
                    <a:srgbClr val="FFFFFF">
                      <a:alpha val="0"/>
                    </a:srgbClr>
                  </a:solidFill>
                </a:ln>
                <a:solidFill>
                  <a:srgbClr val="002050"/>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91352" lvl="0" algn="l" defTabSz="931061">
              <a:spcBef>
                <a:spcPts val="300"/>
              </a:spcBef>
              <a:defRPr/>
            </a:pPr>
            <a:r>
              <a:rPr lang="en-US" b="1" dirty="0">
                <a:solidFill>
                  <a:schemeClr val="tx2"/>
                </a:solidFill>
                <a:latin typeface="Segoe UI Semibold" panose="020B0502040204020203" pitchFamily="34" charset="0"/>
                <a:cs typeface="Segoe UI Semibold" panose="020B0502040204020203" pitchFamily="34" charset="0"/>
              </a:rPr>
              <a:t>Migration from external databases </a:t>
            </a:r>
          </a:p>
        </p:txBody>
      </p:sp>
      <p:cxnSp>
        <p:nvCxnSpPr>
          <p:cNvPr id="7" name="Straight Connector 6">
            <a:extLst>
              <a:ext uri="{FF2B5EF4-FFF2-40B4-BE49-F238E27FC236}">
                <a16:creationId xmlns:a16="http://schemas.microsoft.com/office/drawing/2014/main" id="{EDA94D23-E56E-42C7-A16E-39F47D0264DC}"/>
              </a:ext>
            </a:extLst>
          </p:cNvPr>
          <p:cNvCxnSpPr/>
          <p:nvPr/>
        </p:nvCxnSpPr>
        <p:spPr>
          <a:xfrm>
            <a:off x="359768" y="2309354"/>
            <a:ext cx="5303520"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5DBFFBE3-BB4B-4024-88ED-078BCE0A76FF}"/>
              </a:ext>
            </a:extLst>
          </p:cNvPr>
          <p:cNvCxnSpPr/>
          <p:nvPr/>
        </p:nvCxnSpPr>
        <p:spPr>
          <a:xfrm>
            <a:off x="6479449" y="2309354"/>
            <a:ext cx="5303520"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E9F5DB7C-C9EC-4D20-9FFB-5FBDB102AC50}"/>
              </a:ext>
            </a:extLst>
          </p:cNvPr>
          <p:cNvSpPr txBox="1"/>
          <p:nvPr/>
        </p:nvSpPr>
        <p:spPr>
          <a:xfrm>
            <a:off x="7264027" y="5960010"/>
            <a:ext cx="3695568" cy="307777"/>
          </a:xfrm>
          <a:prstGeom prst="rect">
            <a:avLst/>
          </a:prstGeom>
          <a:noFill/>
        </p:spPr>
        <p:txBody>
          <a:bodyPr wrap="square" rtlCol="0">
            <a:spAutoFit/>
          </a:bodyPr>
          <a:lstStyle/>
          <a:p>
            <a:pPr algn="ctr" defTabSz="914188">
              <a:defRPr/>
            </a:pPr>
            <a:r>
              <a:rPr lang="en-US" sz="1400" b="1" kern="0" dirty="0">
                <a:ln>
                  <a:solidFill>
                    <a:srgbClr val="FFFFFF">
                      <a:alpha val="0"/>
                    </a:srgbClr>
                  </a:solidFill>
                </a:ln>
                <a:solidFill>
                  <a:srgbClr val="0078D7"/>
                </a:solidFill>
                <a:latin typeface="Segoe UI Semibold" charset="0"/>
                <a:ea typeface="Segoe UI Semibold" charset="0"/>
                <a:cs typeface="Segoe UI Semibold" charset="0"/>
              </a:rPr>
              <a:t>SQL Server Migration Assistant (SSMA) </a:t>
            </a:r>
          </a:p>
        </p:txBody>
      </p:sp>
      <p:sp>
        <p:nvSpPr>
          <p:cNvPr id="10" name="TextBox 9">
            <a:extLst>
              <a:ext uri="{FF2B5EF4-FFF2-40B4-BE49-F238E27FC236}">
                <a16:creationId xmlns:a16="http://schemas.microsoft.com/office/drawing/2014/main" id="{D5CEF99A-E5DE-45B3-963B-E5FA223D3174}"/>
              </a:ext>
            </a:extLst>
          </p:cNvPr>
          <p:cNvSpPr txBox="1"/>
          <p:nvPr/>
        </p:nvSpPr>
        <p:spPr>
          <a:xfrm>
            <a:off x="203214" y="4444479"/>
            <a:ext cx="1311814" cy="246221"/>
          </a:xfrm>
          <a:prstGeom prst="rect">
            <a:avLst/>
          </a:prstGeom>
          <a:noFill/>
        </p:spPr>
        <p:txBody>
          <a:bodyPr wrap="square" lIns="91440" tIns="45720" rIns="91440" bIns="45720" rtlCol="0">
            <a:spAutoFit/>
          </a:bodyPr>
          <a:lstStyle>
            <a:defPPr>
              <a:defRPr lang="en-US"/>
            </a:defPPr>
            <a:lvl1pPr algn="ctr" defTabSz="931482">
              <a:lnSpc>
                <a:spcPct val="90000"/>
              </a:lnSpc>
              <a:spcAft>
                <a:spcPts val="600"/>
              </a:spcAft>
              <a:defRPr sz="1000" b="1" kern="0">
                <a:ln>
                  <a:solidFill>
                    <a:srgbClr val="FFFFFF">
                      <a:alpha val="0"/>
                    </a:srgbClr>
                  </a:solidFill>
                </a:ln>
                <a:solidFill>
                  <a:srgbClr val="000000"/>
                </a:solidFill>
                <a:latin typeface="Segoe UI Semibold" charset="0"/>
                <a:cs typeface="Segoe UI Semibold" charset="0"/>
              </a:defRPr>
            </a:lvl1pPr>
          </a:lstStyle>
          <a:p>
            <a:pPr>
              <a:lnSpc>
                <a:spcPct val="100000"/>
              </a:lnSpc>
              <a:spcAft>
                <a:spcPts val="0"/>
              </a:spcAft>
            </a:pPr>
            <a:r>
              <a:rPr lang="en-US" dirty="0"/>
              <a:t>Legacy SQL Server</a:t>
            </a:r>
          </a:p>
        </p:txBody>
      </p:sp>
      <p:cxnSp>
        <p:nvCxnSpPr>
          <p:cNvPr id="11" name="Straight Arrow Connector 10">
            <a:extLst>
              <a:ext uri="{FF2B5EF4-FFF2-40B4-BE49-F238E27FC236}">
                <a16:creationId xmlns:a16="http://schemas.microsoft.com/office/drawing/2014/main" id="{C4FF6645-D1F0-40B2-A81A-D95066B4D193}"/>
              </a:ext>
            </a:extLst>
          </p:cNvPr>
          <p:cNvCxnSpPr>
            <a:cxnSpLocks/>
          </p:cNvCxnSpPr>
          <p:nvPr/>
        </p:nvCxnSpPr>
        <p:spPr>
          <a:xfrm>
            <a:off x="1549199" y="4236613"/>
            <a:ext cx="2658691" cy="0"/>
          </a:xfrm>
          <a:prstGeom prst="straightConnector1">
            <a:avLst/>
          </a:prstGeom>
          <a:ln w="12700">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B104406C-83CD-4BB9-AE11-707D9FF38438}"/>
              </a:ext>
            </a:extLst>
          </p:cNvPr>
          <p:cNvSpPr txBox="1"/>
          <p:nvPr/>
        </p:nvSpPr>
        <p:spPr>
          <a:xfrm>
            <a:off x="-132565" y="5845540"/>
            <a:ext cx="1951445" cy="707886"/>
          </a:xfrm>
          <a:prstGeom prst="rect">
            <a:avLst/>
          </a:prstGeom>
          <a:noFill/>
        </p:spPr>
        <p:txBody>
          <a:bodyPr wrap="square" lIns="91440" tIns="45720" rIns="91440" bIns="45720" rtlCol="0">
            <a:spAutoFit/>
          </a:bodyPr>
          <a:lstStyle>
            <a:defPPr>
              <a:defRPr lang="en-US"/>
            </a:defPPr>
            <a:lvl1pPr algn="ctr" defTabSz="931482">
              <a:lnSpc>
                <a:spcPct val="90000"/>
              </a:lnSpc>
              <a:spcAft>
                <a:spcPts val="600"/>
              </a:spcAft>
              <a:defRPr sz="1000" b="1" kern="0">
                <a:ln>
                  <a:solidFill>
                    <a:srgbClr val="FFFFFF">
                      <a:alpha val="0"/>
                    </a:srgbClr>
                  </a:solidFill>
                </a:ln>
                <a:solidFill>
                  <a:srgbClr val="000000"/>
                </a:solidFill>
                <a:latin typeface="Segoe UI Semibold" charset="0"/>
                <a:cs typeface="Segoe UI Semibold" charset="0"/>
              </a:defRPr>
            </a:lvl1pPr>
          </a:lstStyle>
          <a:p>
            <a:pPr>
              <a:lnSpc>
                <a:spcPct val="100000"/>
              </a:lnSpc>
              <a:spcAft>
                <a:spcPts val="0"/>
              </a:spcAft>
            </a:pPr>
            <a:r>
              <a:rPr lang="en-US" dirty="0"/>
              <a:t>Data Migration </a:t>
            </a:r>
          </a:p>
          <a:p>
            <a:pPr>
              <a:lnSpc>
                <a:spcPct val="100000"/>
              </a:lnSpc>
              <a:spcAft>
                <a:spcPts val="0"/>
              </a:spcAft>
            </a:pPr>
            <a:r>
              <a:rPr lang="en-US" dirty="0"/>
              <a:t>Assistant</a:t>
            </a:r>
          </a:p>
          <a:p>
            <a:pPr>
              <a:lnSpc>
                <a:spcPct val="100000"/>
              </a:lnSpc>
              <a:spcAft>
                <a:spcPts val="0"/>
              </a:spcAft>
            </a:pPr>
            <a:r>
              <a:rPr lang="en-US" dirty="0"/>
              <a:t>Azure Database Migration Service</a:t>
            </a:r>
          </a:p>
        </p:txBody>
      </p:sp>
      <p:sp>
        <p:nvSpPr>
          <p:cNvPr id="13" name="Rectangle 12">
            <a:extLst>
              <a:ext uri="{FF2B5EF4-FFF2-40B4-BE49-F238E27FC236}">
                <a16:creationId xmlns:a16="http://schemas.microsoft.com/office/drawing/2014/main" id="{9A1CB678-F533-4ED5-A812-3D70C7DAB3B5}"/>
              </a:ext>
            </a:extLst>
          </p:cNvPr>
          <p:cNvSpPr/>
          <p:nvPr/>
        </p:nvSpPr>
        <p:spPr>
          <a:xfrm>
            <a:off x="2151254" y="5548328"/>
            <a:ext cx="1314784" cy="861774"/>
          </a:xfrm>
          <a:prstGeom prst="rect">
            <a:avLst/>
          </a:prstGeom>
          <a:noFill/>
        </p:spPr>
        <p:txBody>
          <a:bodyPr wrap="square" lIns="91440" tIns="45720" rIns="91440" bIns="45720" rtlCol="0">
            <a:spAutoFit/>
          </a:bodyPr>
          <a:lstStyle/>
          <a:p>
            <a:pPr algn="ctr" defTabSz="931482"/>
            <a:r>
              <a:rPr lang="en-US" sz="1000" b="1" kern="0" dirty="0">
                <a:ln>
                  <a:solidFill>
                    <a:srgbClr val="FFFFFF">
                      <a:alpha val="0"/>
                    </a:srgbClr>
                  </a:solidFill>
                </a:ln>
                <a:solidFill>
                  <a:srgbClr val="000000"/>
                </a:solidFill>
                <a:latin typeface="Segoe UI Semibold" charset="0"/>
                <a:cs typeface="Segoe UI Semibold" charset="0"/>
              </a:rPr>
              <a:t>In-Place (Windows)</a:t>
            </a:r>
          </a:p>
          <a:p>
            <a:pPr algn="ctr" defTabSz="931482"/>
            <a:r>
              <a:rPr lang="en-US" sz="1000" b="1" kern="0" dirty="0">
                <a:ln>
                  <a:solidFill>
                    <a:srgbClr val="FFFFFF">
                      <a:alpha val="0"/>
                    </a:srgbClr>
                  </a:solidFill>
                </a:ln>
                <a:solidFill>
                  <a:srgbClr val="000000"/>
                </a:solidFill>
                <a:latin typeface="Segoe UI Semibold" charset="0"/>
                <a:cs typeface="Segoe UI Semibold" charset="0"/>
              </a:rPr>
              <a:t>Database Backup</a:t>
            </a:r>
          </a:p>
          <a:p>
            <a:pPr algn="ctr" defTabSz="931482"/>
            <a:r>
              <a:rPr lang="en-US" sz="1000" b="1" kern="0" dirty="0">
                <a:ln>
                  <a:solidFill>
                    <a:srgbClr val="FFFFFF">
                      <a:alpha val="0"/>
                    </a:srgbClr>
                  </a:solidFill>
                </a:ln>
                <a:solidFill>
                  <a:srgbClr val="000000"/>
                </a:solidFill>
                <a:latin typeface="Segoe UI Semibold" charset="0"/>
                <a:cs typeface="Segoe UI Semibold" charset="0"/>
              </a:rPr>
              <a:t>Log Shipping</a:t>
            </a:r>
          </a:p>
          <a:p>
            <a:pPr algn="ctr" defTabSz="931482"/>
            <a:r>
              <a:rPr lang="en-US" sz="1000" b="1" kern="0" dirty="0">
                <a:ln>
                  <a:solidFill>
                    <a:srgbClr val="FFFFFF">
                      <a:alpha val="0"/>
                    </a:srgbClr>
                  </a:solidFill>
                </a:ln>
                <a:solidFill>
                  <a:srgbClr val="000000"/>
                </a:solidFill>
                <a:latin typeface="Segoe UI Semibold" charset="0"/>
                <a:cs typeface="Segoe UI Semibold" charset="0"/>
              </a:rPr>
              <a:t>Bulk Import</a:t>
            </a:r>
          </a:p>
          <a:p>
            <a:pPr algn="ctr" defTabSz="931482"/>
            <a:r>
              <a:rPr lang="en-US" sz="1000" b="1" kern="0" dirty="0">
                <a:ln>
                  <a:solidFill>
                    <a:srgbClr val="FFFFFF">
                      <a:alpha val="0"/>
                    </a:srgbClr>
                  </a:solidFill>
                </a:ln>
                <a:solidFill>
                  <a:srgbClr val="000000"/>
                </a:solidFill>
                <a:latin typeface="Segoe UI Semibold" charset="0"/>
                <a:cs typeface="Segoe UI Semibold" charset="0"/>
              </a:rPr>
              <a:t>SSIS</a:t>
            </a:r>
          </a:p>
        </p:txBody>
      </p:sp>
      <p:sp>
        <p:nvSpPr>
          <p:cNvPr id="14" name="TextBox 13">
            <a:extLst>
              <a:ext uri="{FF2B5EF4-FFF2-40B4-BE49-F238E27FC236}">
                <a16:creationId xmlns:a16="http://schemas.microsoft.com/office/drawing/2014/main" id="{5A717E8C-8AEE-4F85-9E44-042FAB97B967}"/>
              </a:ext>
            </a:extLst>
          </p:cNvPr>
          <p:cNvSpPr txBox="1"/>
          <p:nvPr/>
        </p:nvSpPr>
        <p:spPr>
          <a:xfrm>
            <a:off x="1922811" y="3398380"/>
            <a:ext cx="1890818" cy="400110"/>
          </a:xfrm>
          <a:prstGeom prst="rect">
            <a:avLst/>
          </a:prstGeom>
          <a:noFill/>
        </p:spPr>
        <p:txBody>
          <a:bodyPr wrap="square" lIns="91440" tIns="45720" rIns="91440" bIns="45720" rtlCol="0">
            <a:spAutoFit/>
          </a:bodyPr>
          <a:lstStyle>
            <a:defPPr>
              <a:defRPr lang="en-US"/>
            </a:defPPr>
            <a:lvl1pPr algn="ctr" defTabSz="931482">
              <a:lnSpc>
                <a:spcPct val="90000"/>
              </a:lnSpc>
              <a:spcAft>
                <a:spcPts val="600"/>
              </a:spcAft>
              <a:defRPr sz="1000" b="1" kern="0">
                <a:ln>
                  <a:solidFill>
                    <a:srgbClr val="FFFFFF">
                      <a:alpha val="0"/>
                    </a:srgbClr>
                  </a:solidFill>
                </a:ln>
                <a:solidFill>
                  <a:srgbClr val="000000"/>
                </a:solidFill>
                <a:latin typeface="Segoe UI Semibold" charset="0"/>
                <a:cs typeface="Segoe UI Semibold" charset="0"/>
              </a:defRPr>
            </a:lvl1pPr>
          </a:lstStyle>
          <a:p>
            <a:pPr>
              <a:lnSpc>
                <a:spcPct val="100000"/>
              </a:lnSpc>
              <a:spcAft>
                <a:spcPts val="0"/>
              </a:spcAft>
            </a:pPr>
            <a:r>
              <a:rPr lang="en-US" dirty="0"/>
              <a:t>Database Experimentation </a:t>
            </a:r>
          </a:p>
          <a:p>
            <a:pPr>
              <a:lnSpc>
                <a:spcPct val="100000"/>
              </a:lnSpc>
              <a:spcAft>
                <a:spcPts val="0"/>
              </a:spcAft>
            </a:pPr>
            <a:r>
              <a:rPr lang="en-US" dirty="0"/>
              <a:t>Assistant</a:t>
            </a:r>
          </a:p>
        </p:txBody>
      </p:sp>
      <p:cxnSp>
        <p:nvCxnSpPr>
          <p:cNvPr id="15" name="Straight Arrow Connector 14">
            <a:extLst>
              <a:ext uri="{FF2B5EF4-FFF2-40B4-BE49-F238E27FC236}">
                <a16:creationId xmlns:a16="http://schemas.microsoft.com/office/drawing/2014/main" id="{E866CFCD-891A-4948-842E-006AA8FA3C1B}"/>
              </a:ext>
            </a:extLst>
          </p:cNvPr>
          <p:cNvCxnSpPr>
            <a:cxnSpLocks/>
          </p:cNvCxnSpPr>
          <p:nvPr/>
        </p:nvCxnSpPr>
        <p:spPr>
          <a:xfrm flipH="1">
            <a:off x="859121" y="4748958"/>
            <a:ext cx="1" cy="322241"/>
          </a:xfrm>
          <a:prstGeom prst="straightConnector1">
            <a:avLst/>
          </a:prstGeom>
          <a:ln w="12700">
            <a:solidFill>
              <a:schemeClr val="tx2"/>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90EAB999-03AB-42F4-A9F5-038E208183F5}"/>
              </a:ext>
            </a:extLst>
          </p:cNvPr>
          <p:cNvSpPr txBox="1"/>
          <p:nvPr/>
        </p:nvSpPr>
        <p:spPr>
          <a:xfrm>
            <a:off x="4243633" y="4444479"/>
            <a:ext cx="1311813" cy="861774"/>
          </a:xfrm>
          <a:prstGeom prst="rect">
            <a:avLst/>
          </a:prstGeom>
          <a:noFill/>
        </p:spPr>
        <p:txBody>
          <a:bodyPr wrap="square" lIns="91440" tIns="45720" rIns="91440" bIns="45720" rtlCol="0">
            <a:spAutoFit/>
          </a:bodyPr>
          <a:lstStyle>
            <a:defPPr>
              <a:defRPr lang="en-US"/>
            </a:defPPr>
            <a:lvl1pPr algn="ctr" defTabSz="931482">
              <a:lnSpc>
                <a:spcPct val="90000"/>
              </a:lnSpc>
              <a:spcAft>
                <a:spcPts val="600"/>
              </a:spcAft>
              <a:defRPr sz="1000" b="1" kern="0">
                <a:ln>
                  <a:solidFill>
                    <a:srgbClr val="FFFFFF">
                      <a:alpha val="0"/>
                    </a:srgbClr>
                  </a:solidFill>
                </a:ln>
                <a:solidFill>
                  <a:srgbClr val="000000"/>
                </a:solidFill>
                <a:latin typeface="Segoe UI Semibold" charset="0"/>
                <a:cs typeface="Segoe UI Semibold" charset="0"/>
              </a:defRPr>
            </a:lvl1pPr>
          </a:lstStyle>
          <a:p>
            <a:pPr>
              <a:lnSpc>
                <a:spcPct val="100000"/>
              </a:lnSpc>
              <a:spcAft>
                <a:spcPts val="0"/>
              </a:spcAft>
            </a:pPr>
            <a:r>
              <a:rPr lang="en-US" dirty="0"/>
              <a:t>SQL Server 2017</a:t>
            </a:r>
          </a:p>
          <a:p>
            <a:pPr>
              <a:lnSpc>
                <a:spcPct val="100000"/>
              </a:lnSpc>
              <a:spcAft>
                <a:spcPts val="0"/>
              </a:spcAft>
            </a:pPr>
            <a:r>
              <a:rPr lang="en-US" dirty="0"/>
              <a:t>SQL Server 2019*</a:t>
            </a:r>
          </a:p>
          <a:p>
            <a:pPr>
              <a:lnSpc>
                <a:spcPct val="100000"/>
              </a:lnSpc>
              <a:spcAft>
                <a:spcPts val="0"/>
              </a:spcAft>
            </a:pPr>
            <a:r>
              <a:rPr lang="en-US" dirty="0"/>
              <a:t>SQL Server in Azure Virtual Machine</a:t>
            </a:r>
          </a:p>
        </p:txBody>
      </p:sp>
      <p:grpSp>
        <p:nvGrpSpPr>
          <p:cNvPr id="17" name="Group 16">
            <a:extLst>
              <a:ext uri="{FF2B5EF4-FFF2-40B4-BE49-F238E27FC236}">
                <a16:creationId xmlns:a16="http://schemas.microsoft.com/office/drawing/2014/main" id="{144B8D75-E80E-4219-B2CD-A4F0429270D4}"/>
              </a:ext>
            </a:extLst>
          </p:cNvPr>
          <p:cNvGrpSpPr/>
          <p:nvPr/>
        </p:nvGrpSpPr>
        <p:grpSpPr>
          <a:xfrm>
            <a:off x="6985408" y="2897230"/>
            <a:ext cx="4252806" cy="2734575"/>
            <a:chOff x="7023803" y="3514085"/>
            <a:chExt cx="4252806" cy="2734575"/>
          </a:xfrm>
        </p:grpSpPr>
        <p:grpSp>
          <p:nvGrpSpPr>
            <p:cNvPr id="18" name="Group 17">
              <a:extLst>
                <a:ext uri="{FF2B5EF4-FFF2-40B4-BE49-F238E27FC236}">
                  <a16:creationId xmlns:a16="http://schemas.microsoft.com/office/drawing/2014/main" id="{2928CBEC-56C6-4787-8962-87D162C6045A}"/>
                </a:ext>
              </a:extLst>
            </p:cNvPr>
            <p:cNvGrpSpPr/>
            <p:nvPr/>
          </p:nvGrpSpPr>
          <p:grpSpPr>
            <a:xfrm>
              <a:off x="10087461" y="4539081"/>
              <a:ext cx="1189148" cy="857464"/>
              <a:chOff x="12911365" y="8266796"/>
              <a:chExt cx="1189148" cy="857464"/>
            </a:xfrm>
          </p:grpSpPr>
          <p:sp>
            <p:nvSpPr>
              <p:cNvPr id="94" name="TextBox 93">
                <a:extLst>
                  <a:ext uri="{FF2B5EF4-FFF2-40B4-BE49-F238E27FC236}">
                    <a16:creationId xmlns:a16="http://schemas.microsoft.com/office/drawing/2014/main" id="{41A23962-8F3A-442C-B090-90F6AFE07C18}"/>
                  </a:ext>
                </a:extLst>
              </p:cNvPr>
              <p:cNvSpPr txBox="1"/>
              <p:nvPr/>
            </p:nvSpPr>
            <p:spPr>
              <a:xfrm>
                <a:off x="12911365" y="8870344"/>
                <a:ext cx="1189148" cy="253916"/>
              </a:xfrm>
              <a:prstGeom prst="rect">
                <a:avLst/>
              </a:prstGeom>
              <a:noFill/>
            </p:spPr>
            <p:txBody>
              <a:bodyPr wrap="square" rtlCol="0">
                <a:spAutoFit/>
              </a:bodyPr>
              <a:lstStyle>
                <a:defPPr>
                  <a:defRPr lang="en-US"/>
                </a:defPPr>
                <a:lvl1pPr algn="ctr" defTabSz="896397">
                  <a:defRPr sz="1050" kern="0">
                    <a:solidFill>
                      <a:sysClr val="windowText" lastClr="000000"/>
                    </a:solidFill>
                  </a:defRPr>
                </a:lvl1pPr>
              </a:lstStyle>
              <a:p>
                <a:pPr marL="0" marR="0" lvl="0" indent="0" algn="ctr" defTabSz="8963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ysClr val="windowText" lastClr="000000"/>
                    </a:solidFill>
                    <a:effectLst/>
                    <a:uLnTx/>
                    <a:uFillTx/>
                    <a:latin typeface="Segoe UI"/>
                    <a:ea typeface="+mn-ea"/>
                    <a:cs typeface="+mn-cs"/>
                  </a:rPr>
                  <a:t>SQL Server</a:t>
                </a:r>
              </a:p>
            </p:txBody>
          </p:sp>
          <p:sp>
            <p:nvSpPr>
              <p:cNvPr id="95" name="Cylinder 513">
                <a:extLst>
                  <a:ext uri="{FF2B5EF4-FFF2-40B4-BE49-F238E27FC236}">
                    <a16:creationId xmlns:a16="http://schemas.microsoft.com/office/drawing/2014/main" id="{BED6D504-0291-40FE-8B6D-801F4AB28CDE}"/>
                  </a:ext>
                </a:extLst>
              </p:cNvPr>
              <p:cNvSpPr/>
              <p:nvPr/>
            </p:nvSpPr>
            <p:spPr bwMode="auto">
              <a:xfrm>
                <a:off x="13303050" y="8266796"/>
                <a:ext cx="405778" cy="533094"/>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4"/>
                  </a:solidFill>
                  <a:effectLst/>
                  <a:uLnTx/>
                  <a:uFillTx/>
                  <a:latin typeface="Segoe UI Light"/>
                  <a:ea typeface="Segoe UI" pitchFamily="34" charset="0"/>
                  <a:cs typeface="Segoe UI" pitchFamily="34" charset="0"/>
                </a:endParaRPr>
              </a:p>
            </p:txBody>
          </p:sp>
        </p:grpSp>
        <p:grpSp>
          <p:nvGrpSpPr>
            <p:cNvPr id="19" name="Group 18">
              <a:extLst>
                <a:ext uri="{FF2B5EF4-FFF2-40B4-BE49-F238E27FC236}">
                  <a16:creationId xmlns:a16="http://schemas.microsoft.com/office/drawing/2014/main" id="{38841CBB-496D-4E56-9166-596BB13D2AD8}"/>
                </a:ext>
              </a:extLst>
            </p:cNvPr>
            <p:cNvGrpSpPr/>
            <p:nvPr/>
          </p:nvGrpSpPr>
          <p:grpSpPr>
            <a:xfrm>
              <a:off x="9154540" y="3541748"/>
              <a:ext cx="588378" cy="2626318"/>
              <a:chOff x="6832052" y="1648686"/>
              <a:chExt cx="900844" cy="4021049"/>
            </a:xfrm>
          </p:grpSpPr>
          <p:grpSp>
            <p:nvGrpSpPr>
              <p:cNvPr id="34" name="Group 33">
                <a:extLst>
                  <a:ext uri="{FF2B5EF4-FFF2-40B4-BE49-F238E27FC236}">
                    <a16:creationId xmlns:a16="http://schemas.microsoft.com/office/drawing/2014/main" id="{B7F51F03-CA31-4514-9666-C5D138406E3B}"/>
                  </a:ext>
                </a:extLst>
              </p:cNvPr>
              <p:cNvGrpSpPr/>
              <p:nvPr/>
            </p:nvGrpSpPr>
            <p:grpSpPr>
              <a:xfrm>
                <a:off x="6832052" y="1916737"/>
                <a:ext cx="900844" cy="268336"/>
                <a:chOff x="551886" y="4945335"/>
                <a:chExt cx="508602" cy="151498"/>
              </a:xfrm>
            </p:grpSpPr>
            <p:sp>
              <p:nvSpPr>
                <p:cNvPr id="91" name="Rectangle 90">
                  <a:extLst>
                    <a:ext uri="{FF2B5EF4-FFF2-40B4-BE49-F238E27FC236}">
                      <a16:creationId xmlns:a16="http://schemas.microsoft.com/office/drawing/2014/main" id="{7E03D692-4618-4651-B575-C4FE8C6467A7}"/>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Oval 91">
                  <a:extLst>
                    <a:ext uri="{FF2B5EF4-FFF2-40B4-BE49-F238E27FC236}">
                      <a16:creationId xmlns:a16="http://schemas.microsoft.com/office/drawing/2014/main" id="{7490A278-0D0A-4F8A-BDFB-DE9389EA7C11}"/>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3" name="Straight Connector 92">
                  <a:extLst>
                    <a:ext uri="{FF2B5EF4-FFF2-40B4-BE49-F238E27FC236}">
                      <a16:creationId xmlns:a16="http://schemas.microsoft.com/office/drawing/2014/main" id="{408BF174-C899-49F7-ABA3-ACC45DC0E1D2}"/>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5" name="Group 34">
                <a:extLst>
                  <a:ext uri="{FF2B5EF4-FFF2-40B4-BE49-F238E27FC236}">
                    <a16:creationId xmlns:a16="http://schemas.microsoft.com/office/drawing/2014/main" id="{6913E090-D1F5-4B18-9274-3E3DAD008135}"/>
                  </a:ext>
                </a:extLst>
              </p:cNvPr>
              <p:cNvGrpSpPr/>
              <p:nvPr/>
            </p:nvGrpSpPr>
            <p:grpSpPr>
              <a:xfrm>
                <a:off x="6832052" y="2184788"/>
                <a:ext cx="900844" cy="268336"/>
                <a:chOff x="551886" y="4945335"/>
                <a:chExt cx="508602" cy="151498"/>
              </a:xfrm>
            </p:grpSpPr>
            <p:sp>
              <p:nvSpPr>
                <p:cNvPr id="88" name="Rectangle 87">
                  <a:extLst>
                    <a:ext uri="{FF2B5EF4-FFF2-40B4-BE49-F238E27FC236}">
                      <a16:creationId xmlns:a16="http://schemas.microsoft.com/office/drawing/2014/main" id="{A4CC7237-1BEB-402C-8F1D-178F43F02CC9}"/>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Oval 88">
                  <a:extLst>
                    <a:ext uri="{FF2B5EF4-FFF2-40B4-BE49-F238E27FC236}">
                      <a16:creationId xmlns:a16="http://schemas.microsoft.com/office/drawing/2014/main" id="{830A023A-3A94-4930-A45B-3E0F0DA93BB0}"/>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0" name="Straight Connector 89">
                  <a:extLst>
                    <a:ext uri="{FF2B5EF4-FFF2-40B4-BE49-F238E27FC236}">
                      <a16:creationId xmlns:a16="http://schemas.microsoft.com/office/drawing/2014/main" id="{E8DF39A0-4295-4E41-BBDB-082799E43F66}"/>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2E2E03A0-88FB-4096-811D-FC5835DCC9A0}"/>
                  </a:ext>
                </a:extLst>
              </p:cNvPr>
              <p:cNvGrpSpPr/>
              <p:nvPr/>
            </p:nvGrpSpPr>
            <p:grpSpPr>
              <a:xfrm>
                <a:off x="6832052" y="1648686"/>
                <a:ext cx="900844" cy="268336"/>
                <a:chOff x="551886" y="4945335"/>
                <a:chExt cx="508602" cy="151498"/>
              </a:xfrm>
            </p:grpSpPr>
            <p:sp>
              <p:nvSpPr>
                <p:cNvPr id="85" name="Rectangle 84">
                  <a:extLst>
                    <a:ext uri="{FF2B5EF4-FFF2-40B4-BE49-F238E27FC236}">
                      <a16:creationId xmlns:a16="http://schemas.microsoft.com/office/drawing/2014/main" id="{0C98B09C-DADB-4171-9BAA-AC4B91DF8C5B}"/>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Oval 85">
                  <a:extLst>
                    <a:ext uri="{FF2B5EF4-FFF2-40B4-BE49-F238E27FC236}">
                      <a16:creationId xmlns:a16="http://schemas.microsoft.com/office/drawing/2014/main" id="{7FC1E7AC-B1EA-4499-8DC9-7EC203A0D90D}"/>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7" name="Straight Connector 86">
                  <a:extLst>
                    <a:ext uri="{FF2B5EF4-FFF2-40B4-BE49-F238E27FC236}">
                      <a16:creationId xmlns:a16="http://schemas.microsoft.com/office/drawing/2014/main" id="{82216F6A-6258-421D-9346-CF4DF7E04675}"/>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7" name="Group 36">
                <a:extLst>
                  <a:ext uri="{FF2B5EF4-FFF2-40B4-BE49-F238E27FC236}">
                    <a16:creationId xmlns:a16="http://schemas.microsoft.com/office/drawing/2014/main" id="{8113E90F-5C0A-4EE0-9AFE-7CAD897C9FF3}"/>
                  </a:ext>
                </a:extLst>
              </p:cNvPr>
              <p:cNvGrpSpPr/>
              <p:nvPr/>
            </p:nvGrpSpPr>
            <p:grpSpPr>
              <a:xfrm>
                <a:off x="6832052" y="2720890"/>
                <a:ext cx="900844" cy="268336"/>
                <a:chOff x="551886" y="4945335"/>
                <a:chExt cx="508602" cy="151498"/>
              </a:xfrm>
            </p:grpSpPr>
            <p:sp>
              <p:nvSpPr>
                <p:cNvPr id="82" name="Rectangle 81">
                  <a:extLst>
                    <a:ext uri="{FF2B5EF4-FFF2-40B4-BE49-F238E27FC236}">
                      <a16:creationId xmlns:a16="http://schemas.microsoft.com/office/drawing/2014/main" id="{8E70EC86-DBC0-4E38-A02D-7C5AD185A00D}"/>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 name="Oval 82">
                  <a:extLst>
                    <a:ext uri="{FF2B5EF4-FFF2-40B4-BE49-F238E27FC236}">
                      <a16:creationId xmlns:a16="http://schemas.microsoft.com/office/drawing/2014/main" id="{8465E951-E3EA-4979-B75E-A5155711289F}"/>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4" name="Straight Connector 83">
                  <a:extLst>
                    <a:ext uri="{FF2B5EF4-FFF2-40B4-BE49-F238E27FC236}">
                      <a16:creationId xmlns:a16="http://schemas.microsoft.com/office/drawing/2014/main" id="{4EF6354D-40A0-4BD7-82EB-8DEF2764E692}"/>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8" name="Group 37">
                <a:extLst>
                  <a:ext uri="{FF2B5EF4-FFF2-40B4-BE49-F238E27FC236}">
                    <a16:creationId xmlns:a16="http://schemas.microsoft.com/office/drawing/2014/main" id="{3713A0AE-C190-4319-8FAF-3B01A3815B18}"/>
                  </a:ext>
                </a:extLst>
              </p:cNvPr>
              <p:cNvGrpSpPr/>
              <p:nvPr/>
            </p:nvGrpSpPr>
            <p:grpSpPr>
              <a:xfrm>
                <a:off x="6832052" y="2988941"/>
                <a:ext cx="900844" cy="268336"/>
                <a:chOff x="551886" y="4945335"/>
                <a:chExt cx="508602" cy="151498"/>
              </a:xfrm>
            </p:grpSpPr>
            <p:sp>
              <p:nvSpPr>
                <p:cNvPr id="79" name="Rectangle 78">
                  <a:extLst>
                    <a:ext uri="{FF2B5EF4-FFF2-40B4-BE49-F238E27FC236}">
                      <a16:creationId xmlns:a16="http://schemas.microsoft.com/office/drawing/2014/main" id="{7D6DC29E-0A10-42F4-B6B6-2F9F40D5220D}"/>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Oval 79">
                  <a:extLst>
                    <a:ext uri="{FF2B5EF4-FFF2-40B4-BE49-F238E27FC236}">
                      <a16:creationId xmlns:a16="http://schemas.microsoft.com/office/drawing/2014/main" id="{573D6FE3-7E8F-48D4-A70B-1B0480477C4F}"/>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1" name="Straight Connector 80">
                  <a:extLst>
                    <a:ext uri="{FF2B5EF4-FFF2-40B4-BE49-F238E27FC236}">
                      <a16:creationId xmlns:a16="http://schemas.microsoft.com/office/drawing/2014/main" id="{E5DB1A85-A721-4C7C-9742-CC36EDE80677}"/>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ABB22E80-F8E4-45E6-84F2-7941F67C34E4}"/>
                  </a:ext>
                </a:extLst>
              </p:cNvPr>
              <p:cNvGrpSpPr/>
              <p:nvPr/>
            </p:nvGrpSpPr>
            <p:grpSpPr>
              <a:xfrm>
                <a:off x="6832052" y="2452839"/>
                <a:ext cx="900844" cy="268336"/>
                <a:chOff x="551886" y="4945335"/>
                <a:chExt cx="508602" cy="151498"/>
              </a:xfrm>
            </p:grpSpPr>
            <p:sp>
              <p:nvSpPr>
                <p:cNvPr id="76" name="Rectangle 75">
                  <a:extLst>
                    <a:ext uri="{FF2B5EF4-FFF2-40B4-BE49-F238E27FC236}">
                      <a16:creationId xmlns:a16="http://schemas.microsoft.com/office/drawing/2014/main" id="{BBEF10E4-ED4D-403F-8053-0B782A808B40}"/>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 name="Oval 76">
                  <a:extLst>
                    <a:ext uri="{FF2B5EF4-FFF2-40B4-BE49-F238E27FC236}">
                      <a16:creationId xmlns:a16="http://schemas.microsoft.com/office/drawing/2014/main" id="{34DE98F3-C201-4FFD-948F-52AF1A0AA088}"/>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8" name="Straight Connector 77">
                  <a:extLst>
                    <a:ext uri="{FF2B5EF4-FFF2-40B4-BE49-F238E27FC236}">
                      <a16:creationId xmlns:a16="http://schemas.microsoft.com/office/drawing/2014/main" id="{62AE88A3-AF9D-47B8-84A8-E709A78DC6CF}"/>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64B7C1EC-9147-4F77-A2B1-46FECE52F5EA}"/>
                  </a:ext>
                </a:extLst>
              </p:cNvPr>
              <p:cNvGrpSpPr/>
              <p:nvPr/>
            </p:nvGrpSpPr>
            <p:grpSpPr>
              <a:xfrm>
                <a:off x="6832052" y="3525043"/>
                <a:ext cx="900844" cy="268336"/>
                <a:chOff x="551886" y="4945335"/>
                <a:chExt cx="508602" cy="151498"/>
              </a:xfrm>
            </p:grpSpPr>
            <p:sp>
              <p:nvSpPr>
                <p:cNvPr id="73" name="Rectangle 72">
                  <a:extLst>
                    <a:ext uri="{FF2B5EF4-FFF2-40B4-BE49-F238E27FC236}">
                      <a16:creationId xmlns:a16="http://schemas.microsoft.com/office/drawing/2014/main" id="{4CC38A70-9AC1-477C-AEB8-520EE1820C5E}"/>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Oval 73">
                  <a:extLst>
                    <a:ext uri="{FF2B5EF4-FFF2-40B4-BE49-F238E27FC236}">
                      <a16:creationId xmlns:a16="http://schemas.microsoft.com/office/drawing/2014/main" id="{3F396736-D16C-496A-95BA-6DC3F2D71D71}"/>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5" name="Straight Connector 74">
                  <a:extLst>
                    <a:ext uri="{FF2B5EF4-FFF2-40B4-BE49-F238E27FC236}">
                      <a16:creationId xmlns:a16="http://schemas.microsoft.com/office/drawing/2014/main" id="{EB75B82A-9821-4662-AE6C-D598E09CA6C3}"/>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F76BEAD7-42AD-45BA-9942-5CF95DAD4291}"/>
                  </a:ext>
                </a:extLst>
              </p:cNvPr>
              <p:cNvGrpSpPr/>
              <p:nvPr/>
            </p:nvGrpSpPr>
            <p:grpSpPr>
              <a:xfrm>
                <a:off x="6832052" y="3793094"/>
                <a:ext cx="900844" cy="268336"/>
                <a:chOff x="551886" y="4945335"/>
                <a:chExt cx="508602" cy="151498"/>
              </a:xfrm>
            </p:grpSpPr>
            <p:sp>
              <p:nvSpPr>
                <p:cNvPr id="70" name="Rectangle 69">
                  <a:extLst>
                    <a:ext uri="{FF2B5EF4-FFF2-40B4-BE49-F238E27FC236}">
                      <a16:creationId xmlns:a16="http://schemas.microsoft.com/office/drawing/2014/main" id="{0A6BE5B0-F8C8-4A73-B71F-21D4E163F600}"/>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Oval 70">
                  <a:extLst>
                    <a:ext uri="{FF2B5EF4-FFF2-40B4-BE49-F238E27FC236}">
                      <a16:creationId xmlns:a16="http://schemas.microsoft.com/office/drawing/2014/main" id="{79B577BA-8230-4D61-BFFA-8E7577CC7BE3}"/>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2" name="Straight Connector 71">
                  <a:extLst>
                    <a:ext uri="{FF2B5EF4-FFF2-40B4-BE49-F238E27FC236}">
                      <a16:creationId xmlns:a16="http://schemas.microsoft.com/office/drawing/2014/main" id="{019E238F-D548-44E6-B0A0-ACC912F3FFD8}"/>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id="{B8AD1B00-77FD-41A5-A1C1-1F3D3F96EDEF}"/>
                  </a:ext>
                </a:extLst>
              </p:cNvPr>
              <p:cNvGrpSpPr/>
              <p:nvPr/>
            </p:nvGrpSpPr>
            <p:grpSpPr>
              <a:xfrm>
                <a:off x="6832052" y="3256992"/>
                <a:ext cx="900844" cy="268336"/>
                <a:chOff x="551886" y="4945335"/>
                <a:chExt cx="508602" cy="151498"/>
              </a:xfrm>
            </p:grpSpPr>
            <p:sp>
              <p:nvSpPr>
                <p:cNvPr id="67" name="Rectangle 66">
                  <a:extLst>
                    <a:ext uri="{FF2B5EF4-FFF2-40B4-BE49-F238E27FC236}">
                      <a16:creationId xmlns:a16="http://schemas.microsoft.com/office/drawing/2014/main" id="{1433D3D4-DBF0-4A45-8B5D-1276A6EEE8B8}"/>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Oval 67">
                  <a:extLst>
                    <a:ext uri="{FF2B5EF4-FFF2-40B4-BE49-F238E27FC236}">
                      <a16:creationId xmlns:a16="http://schemas.microsoft.com/office/drawing/2014/main" id="{5F6C2CF9-DA33-4971-B539-01A4AC14F601}"/>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9" name="Straight Connector 68">
                  <a:extLst>
                    <a:ext uri="{FF2B5EF4-FFF2-40B4-BE49-F238E27FC236}">
                      <a16:creationId xmlns:a16="http://schemas.microsoft.com/office/drawing/2014/main" id="{21E7AF37-0C5C-48BD-A1F2-25719C33CE6A}"/>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3" name="Group 42">
                <a:extLst>
                  <a:ext uri="{FF2B5EF4-FFF2-40B4-BE49-F238E27FC236}">
                    <a16:creationId xmlns:a16="http://schemas.microsoft.com/office/drawing/2014/main" id="{B0457A77-F4E7-4AD6-81E6-32126BACCF00}"/>
                  </a:ext>
                </a:extLst>
              </p:cNvPr>
              <p:cNvGrpSpPr/>
              <p:nvPr/>
            </p:nvGrpSpPr>
            <p:grpSpPr>
              <a:xfrm>
                <a:off x="6832052" y="4329196"/>
                <a:ext cx="900844" cy="268336"/>
                <a:chOff x="551886" y="4945335"/>
                <a:chExt cx="508602" cy="151498"/>
              </a:xfrm>
            </p:grpSpPr>
            <p:sp>
              <p:nvSpPr>
                <p:cNvPr id="64" name="Rectangle 63">
                  <a:extLst>
                    <a:ext uri="{FF2B5EF4-FFF2-40B4-BE49-F238E27FC236}">
                      <a16:creationId xmlns:a16="http://schemas.microsoft.com/office/drawing/2014/main" id="{748A72E4-2DF3-4553-81FB-D0B6BC50362D}"/>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Oval 64">
                  <a:extLst>
                    <a:ext uri="{FF2B5EF4-FFF2-40B4-BE49-F238E27FC236}">
                      <a16:creationId xmlns:a16="http://schemas.microsoft.com/office/drawing/2014/main" id="{4B4B610E-2E4C-43D2-9CD0-6E5BF4A8EC77}"/>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6" name="Straight Connector 65">
                  <a:extLst>
                    <a:ext uri="{FF2B5EF4-FFF2-40B4-BE49-F238E27FC236}">
                      <a16:creationId xmlns:a16="http://schemas.microsoft.com/office/drawing/2014/main" id="{5E6176AC-255C-4222-B7DC-1E9B2E3EA323}"/>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4" name="Group 43">
                <a:extLst>
                  <a:ext uri="{FF2B5EF4-FFF2-40B4-BE49-F238E27FC236}">
                    <a16:creationId xmlns:a16="http://schemas.microsoft.com/office/drawing/2014/main" id="{15A9CDB3-E9F9-454F-830F-D3102AD986FB}"/>
                  </a:ext>
                </a:extLst>
              </p:cNvPr>
              <p:cNvGrpSpPr/>
              <p:nvPr/>
            </p:nvGrpSpPr>
            <p:grpSpPr>
              <a:xfrm>
                <a:off x="6832052" y="4597247"/>
                <a:ext cx="900844" cy="268336"/>
                <a:chOff x="551886" y="4945335"/>
                <a:chExt cx="508602" cy="151498"/>
              </a:xfrm>
            </p:grpSpPr>
            <p:sp>
              <p:nvSpPr>
                <p:cNvPr id="61" name="Rectangle 60">
                  <a:extLst>
                    <a:ext uri="{FF2B5EF4-FFF2-40B4-BE49-F238E27FC236}">
                      <a16:creationId xmlns:a16="http://schemas.microsoft.com/office/drawing/2014/main" id="{392EF9A4-DC32-4E2E-B758-54F6CE4778CF}"/>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2" name="Oval 61">
                  <a:extLst>
                    <a:ext uri="{FF2B5EF4-FFF2-40B4-BE49-F238E27FC236}">
                      <a16:creationId xmlns:a16="http://schemas.microsoft.com/office/drawing/2014/main" id="{6641EA30-6728-42EB-9B44-29B65A3444E4}"/>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3" name="Straight Connector 62">
                  <a:extLst>
                    <a:ext uri="{FF2B5EF4-FFF2-40B4-BE49-F238E27FC236}">
                      <a16:creationId xmlns:a16="http://schemas.microsoft.com/office/drawing/2014/main" id="{56E98024-D539-4539-9A19-4C5744AF6529}"/>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D342F2D2-2FDF-479C-9612-F1A678B35882}"/>
                  </a:ext>
                </a:extLst>
              </p:cNvPr>
              <p:cNvGrpSpPr/>
              <p:nvPr/>
            </p:nvGrpSpPr>
            <p:grpSpPr>
              <a:xfrm>
                <a:off x="6832052" y="4061145"/>
                <a:ext cx="900844" cy="268336"/>
                <a:chOff x="551886" y="4945335"/>
                <a:chExt cx="508602" cy="151498"/>
              </a:xfrm>
            </p:grpSpPr>
            <p:sp>
              <p:nvSpPr>
                <p:cNvPr id="58" name="Rectangle 57">
                  <a:extLst>
                    <a:ext uri="{FF2B5EF4-FFF2-40B4-BE49-F238E27FC236}">
                      <a16:creationId xmlns:a16="http://schemas.microsoft.com/office/drawing/2014/main" id="{9B57E0A3-4B4B-4990-B105-6116FC63DD95}"/>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 name="Oval 58">
                  <a:extLst>
                    <a:ext uri="{FF2B5EF4-FFF2-40B4-BE49-F238E27FC236}">
                      <a16:creationId xmlns:a16="http://schemas.microsoft.com/office/drawing/2014/main" id="{5CEB4F56-1976-4961-9B3D-FF60120C4551}"/>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0" name="Straight Connector 59">
                  <a:extLst>
                    <a:ext uri="{FF2B5EF4-FFF2-40B4-BE49-F238E27FC236}">
                      <a16:creationId xmlns:a16="http://schemas.microsoft.com/office/drawing/2014/main" id="{C7AC84DA-51B9-46D5-AC52-B53D8FA30724}"/>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6" name="Group 45">
                <a:extLst>
                  <a:ext uri="{FF2B5EF4-FFF2-40B4-BE49-F238E27FC236}">
                    <a16:creationId xmlns:a16="http://schemas.microsoft.com/office/drawing/2014/main" id="{14405365-A683-42AC-9193-961845733940}"/>
                  </a:ext>
                </a:extLst>
              </p:cNvPr>
              <p:cNvGrpSpPr/>
              <p:nvPr/>
            </p:nvGrpSpPr>
            <p:grpSpPr>
              <a:xfrm>
                <a:off x="6832052" y="5133349"/>
                <a:ext cx="900844" cy="268336"/>
                <a:chOff x="551886" y="4945335"/>
                <a:chExt cx="508602" cy="151498"/>
              </a:xfrm>
            </p:grpSpPr>
            <p:sp>
              <p:nvSpPr>
                <p:cNvPr id="55" name="Rectangle 54">
                  <a:extLst>
                    <a:ext uri="{FF2B5EF4-FFF2-40B4-BE49-F238E27FC236}">
                      <a16:creationId xmlns:a16="http://schemas.microsoft.com/office/drawing/2014/main" id="{60C39D4D-7826-4F13-91D2-90F164B6DCA6}"/>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6A3EE07F-BEF6-4FC7-80BB-2A725AB7CD1A}"/>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7" name="Straight Connector 56">
                  <a:extLst>
                    <a:ext uri="{FF2B5EF4-FFF2-40B4-BE49-F238E27FC236}">
                      <a16:creationId xmlns:a16="http://schemas.microsoft.com/office/drawing/2014/main" id="{9256AE65-DDFE-463F-9185-09FC901C54EC}"/>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7" name="Group 46">
                <a:extLst>
                  <a:ext uri="{FF2B5EF4-FFF2-40B4-BE49-F238E27FC236}">
                    <a16:creationId xmlns:a16="http://schemas.microsoft.com/office/drawing/2014/main" id="{F728FF1C-2149-4F31-AD2A-1794E6A17E74}"/>
                  </a:ext>
                </a:extLst>
              </p:cNvPr>
              <p:cNvGrpSpPr/>
              <p:nvPr/>
            </p:nvGrpSpPr>
            <p:grpSpPr>
              <a:xfrm>
                <a:off x="6832052" y="5401399"/>
                <a:ext cx="900844" cy="268336"/>
                <a:chOff x="551886" y="4945335"/>
                <a:chExt cx="508602" cy="151498"/>
              </a:xfrm>
            </p:grpSpPr>
            <p:sp>
              <p:nvSpPr>
                <p:cNvPr id="52" name="Rectangle 51">
                  <a:extLst>
                    <a:ext uri="{FF2B5EF4-FFF2-40B4-BE49-F238E27FC236}">
                      <a16:creationId xmlns:a16="http://schemas.microsoft.com/office/drawing/2014/main" id="{0C9ADD6F-53C7-475A-B107-F71EF9F47BB8}"/>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Oval 52">
                  <a:extLst>
                    <a:ext uri="{FF2B5EF4-FFF2-40B4-BE49-F238E27FC236}">
                      <a16:creationId xmlns:a16="http://schemas.microsoft.com/office/drawing/2014/main" id="{4A5A2C95-B4F4-492E-A6B1-2F1B88BBF216}"/>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4" name="Straight Connector 53">
                  <a:extLst>
                    <a:ext uri="{FF2B5EF4-FFF2-40B4-BE49-F238E27FC236}">
                      <a16:creationId xmlns:a16="http://schemas.microsoft.com/office/drawing/2014/main" id="{24F3A22E-8D8F-40E3-B5A6-427823EA2E35}"/>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816F09E7-4BCF-4D5A-B843-ECB7BD77C782}"/>
                  </a:ext>
                </a:extLst>
              </p:cNvPr>
              <p:cNvGrpSpPr/>
              <p:nvPr/>
            </p:nvGrpSpPr>
            <p:grpSpPr>
              <a:xfrm>
                <a:off x="6832052" y="4865298"/>
                <a:ext cx="900844" cy="268336"/>
                <a:chOff x="551886" y="4945335"/>
                <a:chExt cx="508602" cy="151498"/>
              </a:xfrm>
            </p:grpSpPr>
            <p:sp>
              <p:nvSpPr>
                <p:cNvPr id="49" name="Rectangle 48">
                  <a:extLst>
                    <a:ext uri="{FF2B5EF4-FFF2-40B4-BE49-F238E27FC236}">
                      <a16:creationId xmlns:a16="http://schemas.microsoft.com/office/drawing/2014/main" id="{D96F334C-A37A-476F-93B2-F0B9343F03A2}"/>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Oval 49">
                  <a:extLst>
                    <a:ext uri="{FF2B5EF4-FFF2-40B4-BE49-F238E27FC236}">
                      <a16:creationId xmlns:a16="http://schemas.microsoft.com/office/drawing/2014/main" id="{B2457FFC-C7ED-48FC-9118-578A76D09840}"/>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1" name="Straight Connector 50">
                  <a:extLst>
                    <a:ext uri="{FF2B5EF4-FFF2-40B4-BE49-F238E27FC236}">
                      <a16:creationId xmlns:a16="http://schemas.microsoft.com/office/drawing/2014/main" id="{9F109918-9256-4743-BD7B-FBF73D1A0570}"/>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cxnSp>
          <p:nvCxnSpPr>
            <p:cNvPr id="20" name="Straight Connector 19">
              <a:extLst>
                <a:ext uri="{FF2B5EF4-FFF2-40B4-BE49-F238E27FC236}">
                  <a16:creationId xmlns:a16="http://schemas.microsoft.com/office/drawing/2014/main" id="{8DA1D417-6347-40D6-8E6B-2BB92FAB33BA}"/>
                </a:ext>
              </a:extLst>
            </p:cNvPr>
            <p:cNvCxnSpPr>
              <a:cxnSpLocks/>
            </p:cNvCxnSpPr>
            <p:nvPr/>
          </p:nvCxnSpPr>
          <p:spPr>
            <a:xfrm>
              <a:off x="9844089" y="4849858"/>
              <a:ext cx="457200" cy="0"/>
            </a:xfrm>
            <a:prstGeom prst="line">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C3D574E9-B04C-465D-9354-383DE7E4A1DF}"/>
                </a:ext>
              </a:extLst>
            </p:cNvPr>
            <p:cNvGrpSpPr/>
            <p:nvPr/>
          </p:nvGrpSpPr>
          <p:grpSpPr>
            <a:xfrm>
              <a:off x="7023803" y="3514085"/>
              <a:ext cx="1302280" cy="2734575"/>
              <a:chOff x="5352889" y="6558080"/>
              <a:chExt cx="2044956" cy="4294077"/>
            </a:xfrm>
          </p:grpSpPr>
          <p:pic>
            <p:nvPicPr>
              <p:cNvPr id="23" name="Picture 2" descr="https://upload.wikimedia.org/wikipedia/commons/thumb/5/50/Oracle_logo.svg/640px-Oracle_logo.svg.png">
                <a:extLst>
                  <a:ext uri="{FF2B5EF4-FFF2-40B4-BE49-F238E27FC236}">
                    <a16:creationId xmlns:a16="http://schemas.microsoft.com/office/drawing/2014/main" id="{0C543B33-911A-4B73-AC6F-431C0D873F8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07920" y="6558080"/>
                <a:ext cx="1304164" cy="185436"/>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4" descr="https://upload.wikimedia.org/wikipedia/en/thumb/6/62/MySQL.svg/320px-MySQL.svg.png">
                <a:extLst>
                  <a:ext uri="{FF2B5EF4-FFF2-40B4-BE49-F238E27FC236}">
                    <a16:creationId xmlns:a16="http://schemas.microsoft.com/office/drawing/2014/main" id="{1C888672-31F2-4EEE-AC7C-D1CA0F432EE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25015" y="9407522"/>
                <a:ext cx="984440" cy="507601"/>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6" descr="http://matillion.review.propervillains.agency/wp-content/uploads/2017/02/IBM-DB2-logo.png">
                <a:extLst>
                  <a:ext uri="{FF2B5EF4-FFF2-40B4-BE49-F238E27FC236}">
                    <a16:creationId xmlns:a16="http://schemas.microsoft.com/office/drawing/2014/main" id="{151B261C-B869-46D8-88B2-90FF08E68E9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33620" y="8254497"/>
                <a:ext cx="578464" cy="578464"/>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Group 25">
                <a:extLst>
                  <a:ext uri="{FF2B5EF4-FFF2-40B4-BE49-F238E27FC236}">
                    <a16:creationId xmlns:a16="http://schemas.microsoft.com/office/drawing/2014/main" id="{232ED763-13C1-45D8-A976-2E54A43E570F}"/>
                  </a:ext>
                </a:extLst>
              </p:cNvPr>
              <p:cNvGrpSpPr/>
              <p:nvPr/>
            </p:nvGrpSpPr>
            <p:grpSpPr>
              <a:xfrm>
                <a:off x="5730110" y="7364241"/>
                <a:ext cx="1165810" cy="286708"/>
                <a:chOff x="5143500" y="2943225"/>
                <a:chExt cx="3950517" cy="971550"/>
              </a:xfrm>
            </p:grpSpPr>
            <p:pic>
              <p:nvPicPr>
                <p:cNvPr id="32" name="Picture 8" descr="https://upload.wikimedia.org/wikipedia/commons/thumb/5/59/SAP_2011_logo.svg/200px-SAP_2011_logo.svg.png">
                  <a:extLst>
                    <a:ext uri="{FF2B5EF4-FFF2-40B4-BE49-F238E27FC236}">
                      <a16:creationId xmlns:a16="http://schemas.microsoft.com/office/drawing/2014/main" id="{FCFDBDC8-7070-4F49-9C8B-C9409696980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43500" y="2943225"/>
                  <a:ext cx="1905000" cy="971550"/>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0" descr="https://saphack.files.wordpress.com/2012/06/sybasesap_final_logo_blk.png">
                  <a:extLst>
                    <a:ext uri="{FF2B5EF4-FFF2-40B4-BE49-F238E27FC236}">
                      <a16:creationId xmlns:a16="http://schemas.microsoft.com/office/drawing/2014/main" id="{38F07277-6FE5-420A-822D-B59632E2666A}"/>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b="40459"/>
                <a:stretch/>
              </p:blipFill>
              <p:spPr bwMode="auto">
                <a:xfrm>
                  <a:off x="6958634" y="3136937"/>
                  <a:ext cx="2135383" cy="612794"/>
                </a:xfrm>
                <a:prstGeom prst="rect">
                  <a:avLst/>
                </a:prstGeom>
                <a:noFill/>
                <a:extLst>
                  <a:ext uri="{909E8E84-426E-40DD-AFC4-6F175D3DCCD1}">
                    <a14:hiddenFill xmlns:a14="http://schemas.microsoft.com/office/drawing/2010/main">
                      <a:solidFill>
                        <a:srgbClr val="FFFFFF"/>
                      </a:solidFill>
                    </a14:hiddenFill>
                  </a:ext>
                </a:extLst>
              </p:spPr>
            </p:pic>
          </p:grpSp>
          <p:sp>
            <p:nvSpPr>
              <p:cNvPr id="27" name="TextBox 26">
                <a:extLst>
                  <a:ext uri="{FF2B5EF4-FFF2-40B4-BE49-F238E27FC236}">
                    <a16:creationId xmlns:a16="http://schemas.microsoft.com/office/drawing/2014/main" id="{DB212E11-BB88-44E2-9DAD-FD63CF1F084E}"/>
                  </a:ext>
                </a:extLst>
              </p:cNvPr>
              <p:cNvSpPr txBox="1"/>
              <p:nvPr/>
            </p:nvSpPr>
            <p:spPr>
              <a:xfrm>
                <a:off x="5352889" y="10489684"/>
                <a:ext cx="1543030" cy="362473"/>
              </a:xfrm>
              <a:prstGeom prst="rect">
                <a:avLst/>
              </a:prstGeom>
              <a:noFill/>
            </p:spPr>
            <p:txBody>
              <a:bodyPr wrap="none" lIns="0" tIns="45720" rIns="0" bIns="4572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A33539"/>
                    </a:solidFill>
                    <a:effectLst/>
                    <a:uLnTx/>
                    <a:uFillTx/>
                    <a:latin typeface="Segoe UI Semibold" panose="020B0702040204020203" pitchFamily="34" charset="0"/>
                    <a:ea typeface="+mn-ea"/>
                    <a:cs typeface="Segoe UI Semibold" panose="020B0702040204020203" pitchFamily="34" charset="0"/>
                  </a:rPr>
                  <a:t>Microsoft Access</a:t>
                </a:r>
              </a:p>
            </p:txBody>
          </p:sp>
          <p:cxnSp>
            <p:nvCxnSpPr>
              <p:cNvPr id="28" name="Connector: Elbow 188">
                <a:extLst>
                  <a:ext uri="{FF2B5EF4-FFF2-40B4-BE49-F238E27FC236}">
                    <a16:creationId xmlns:a16="http://schemas.microsoft.com/office/drawing/2014/main" id="{1F40AB45-86D9-475E-9B82-43DFA36CB9B3}"/>
                  </a:ext>
                </a:extLst>
              </p:cNvPr>
              <p:cNvCxnSpPr>
                <a:cxnSpLocks/>
              </p:cNvCxnSpPr>
              <p:nvPr/>
            </p:nvCxnSpPr>
            <p:spPr>
              <a:xfrm rot="10800000" flipH="1" flipV="1">
                <a:off x="7157922" y="9661323"/>
                <a:ext cx="12700" cy="999176"/>
              </a:xfrm>
              <a:prstGeom prst="bentConnector3">
                <a:avLst>
                  <a:gd name="adj1" fmla="val 1800000"/>
                </a:avLst>
              </a:prstGeom>
              <a:ln w="12700">
                <a:solidFill>
                  <a:schemeClr val="tx2"/>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Connector: Elbow 191">
                <a:extLst>
                  <a:ext uri="{FF2B5EF4-FFF2-40B4-BE49-F238E27FC236}">
                    <a16:creationId xmlns:a16="http://schemas.microsoft.com/office/drawing/2014/main" id="{7DEEA9B7-362F-46CE-BEE8-1560D54EEB73}"/>
                  </a:ext>
                </a:extLst>
              </p:cNvPr>
              <p:cNvCxnSpPr>
                <a:cxnSpLocks/>
              </p:cNvCxnSpPr>
              <p:nvPr/>
            </p:nvCxnSpPr>
            <p:spPr>
              <a:xfrm rot="10800000" flipH="1" flipV="1">
                <a:off x="7157922" y="6650797"/>
                <a:ext cx="12700" cy="1892931"/>
              </a:xfrm>
              <a:prstGeom prst="bentConnector3">
                <a:avLst>
                  <a:gd name="adj1" fmla="val 1800000"/>
                </a:avLst>
              </a:prstGeom>
              <a:ln w="12700">
                <a:solidFill>
                  <a:schemeClr val="tx2"/>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8C4A06D9-DF8B-47D8-9938-3CEBA66645A0}"/>
                  </a:ext>
                </a:extLst>
              </p:cNvPr>
              <p:cNvCxnSpPr>
                <a:cxnSpLocks/>
              </p:cNvCxnSpPr>
              <p:nvPr/>
            </p:nvCxnSpPr>
            <p:spPr>
              <a:xfrm flipH="1" flipV="1">
                <a:off x="7170622" y="7507595"/>
                <a:ext cx="227223" cy="0"/>
              </a:xfrm>
              <a:prstGeom prst="straightConnector1">
                <a:avLst/>
              </a:prstGeom>
              <a:ln w="12700">
                <a:solidFill>
                  <a:schemeClr val="tx2"/>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A6C1EB3A-2538-46E4-A73A-DB8BCD3CE2DB}"/>
                  </a:ext>
                </a:extLst>
              </p:cNvPr>
              <p:cNvCxnSpPr>
                <a:cxnSpLocks/>
              </p:cNvCxnSpPr>
              <p:nvPr/>
            </p:nvCxnSpPr>
            <p:spPr>
              <a:xfrm flipH="1">
                <a:off x="7386961" y="8564457"/>
                <a:ext cx="0" cy="1091400"/>
              </a:xfrm>
              <a:prstGeom prst="line">
                <a:avLst/>
              </a:prstGeom>
              <a:ln w="12700">
                <a:solidFill>
                  <a:schemeClr val="tx2"/>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22" name="Straight Connector 21">
              <a:extLst>
                <a:ext uri="{FF2B5EF4-FFF2-40B4-BE49-F238E27FC236}">
                  <a16:creationId xmlns:a16="http://schemas.microsoft.com/office/drawing/2014/main" id="{DD14A7FF-54B6-4027-8962-E07A2A7C065B}"/>
                </a:ext>
              </a:extLst>
            </p:cNvPr>
            <p:cNvCxnSpPr>
              <a:cxnSpLocks/>
            </p:cNvCxnSpPr>
            <p:nvPr/>
          </p:nvCxnSpPr>
          <p:spPr>
            <a:xfrm>
              <a:off x="8549413" y="4849858"/>
              <a:ext cx="457200" cy="0"/>
            </a:xfrm>
            <a:prstGeom prst="line">
              <a:avLst/>
            </a:prstGeom>
            <a:ln w="12700">
              <a:solidFill>
                <a:schemeClr val="tx2"/>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96" name="Group 95">
            <a:extLst>
              <a:ext uri="{FF2B5EF4-FFF2-40B4-BE49-F238E27FC236}">
                <a16:creationId xmlns:a16="http://schemas.microsoft.com/office/drawing/2014/main" id="{52FBEC3F-6FAB-4323-8DF6-5990E408E4AB}"/>
              </a:ext>
            </a:extLst>
          </p:cNvPr>
          <p:cNvGrpSpPr/>
          <p:nvPr/>
        </p:nvGrpSpPr>
        <p:grpSpPr>
          <a:xfrm>
            <a:off x="4596045" y="3699280"/>
            <a:ext cx="687395" cy="706713"/>
            <a:chOff x="2776302" y="4657642"/>
            <a:chExt cx="1550488" cy="1594059"/>
          </a:xfrm>
        </p:grpSpPr>
        <p:sp>
          <p:nvSpPr>
            <p:cNvPr id="97" name="Cylinder 812">
              <a:extLst>
                <a:ext uri="{FF2B5EF4-FFF2-40B4-BE49-F238E27FC236}">
                  <a16:creationId xmlns:a16="http://schemas.microsoft.com/office/drawing/2014/main" id="{12EE1719-8B94-43FA-9B5D-831A7348FE06}"/>
                </a:ext>
              </a:extLst>
            </p:cNvPr>
            <p:cNvSpPr/>
            <p:nvPr/>
          </p:nvSpPr>
          <p:spPr bwMode="auto">
            <a:xfrm>
              <a:off x="2776302" y="4657642"/>
              <a:ext cx="1043832" cy="1371349"/>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900" dirty="0">
                  <a:solidFill>
                    <a:schemeClr val="tx2"/>
                  </a:solidFill>
                  <a:ea typeface="Segoe UI" pitchFamily="34" charset="0"/>
                  <a:cs typeface="Segoe UI Semilight" panose="020B0402040204020203" pitchFamily="34" charset="0"/>
                </a:rPr>
                <a:t>SQL</a:t>
              </a:r>
            </a:p>
          </p:txBody>
        </p:sp>
        <p:sp>
          <p:nvSpPr>
            <p:cNvPr id="98" name="Freeform 146">
              <a:extLst>
                <a:ext uri="{FF2B5EF4-FFF2-40B4-BE49-F238E27FC236}">
                  <a16:creationId xmlns:a16="http://schemas.microsoft.com/office/drawing/2014/main" id="{E9C4372A-55E4-4AE9-8A05-BF07371557B8}"/>
                </a:ext>
              </a:extLst>
            </p:cNvPr>
            <p:cNvSpPr>
              <a:spLocks noChangeAspect="1"/>
            </p:cNvSpPr>
            <p:nvPr/>
          </p:nvSpPr>
          <p:spPr bwMode="auto">
            <a:xfrm>
              <a:off x="3311549" y="5608740"/>
              <a:ext cx="1015241" cy="64296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lumMod val="95000"/>
              </a:schemeClr>
            </a:solid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IN" b="1" dirty="0">
                <a:solidFill>
                  <a:schemeClr val="tx2"/>
                </a:solidFill>
                <a:latin typeface="Segoe UI Semilight" panose="020B0402040204020203" pitchFamily="34" charset="0"/>
                <a:ea typeface="Segoe UI" pitchFamily="34" charset="0"/>
                <a:cs typeface="Segoe UI Semilight" panose="020B0402040204020203" pitchFamily="34" charset="0"/>
              </a:endParaRPr>
            </a:p>
          </p:txBody>
        </p:sp>
      </p:grpSp>
      <p:grpSp>
        <p:nvGrpSpPr>
          <p:cNvPr id="99" name="Group 98">
            <a:extLst>
              <a:ext uri="{FF2B5EF4-FFF2-40B4-BE49-F238E27FC236}">
                <a16:creationId xmlns:a16="http://schemas.microsoft.com/office/drawing/2014/main" id="{DF4510EC-45C5-4EAE-8640-50279B00325E}"/>
              </a:ext>
            </a:extLst>
          </p:cNvPr>
          <p:cNvGrpSpPr/>
          <p:nvPr/>
        </p:nvGrpSpPr>
        <p:grpSpPr>
          <a:xfrm>
            <a:off x="627734" y="3699280"/>
            <a:ext cx="687395" cy="706713"/>
            <a:chOff x="2776302" y="4657642"/>
            <a:chExt cx="1550488" cy="1594059"/>
          </a:xfrm>
        </p:grpSpPr>
        <p:sp>
          <p:nvSpPr>
            <p:cNvPr id="100" name="Cylinder 812">
              <a:extLst>
                <a:ext uri="{FF2B5EF4-FFF2-40B4-BE49-F238E27FC236}">
                  <a16:creationId xmlns:a16="http://schemas.microsoft.com/office/drawing/2014/main" id="{4171D115-1E6D-4F0D-B51C-A9FDF0A826AD}"/>
                </a:ext>
              </a:extLst>
            </p:cNvPr>
            <p:cNvSpPr/>
            <p:nvPr/>
          </p:nvSpPr>
          <p:spPr bwMode="auto">
            <a:xfrm>
              <a:off x="2776302" y="4657642"/>
              <a:ext cx="1043832" cy="1371349"/>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900" dirty="0">
                  <a:solidFill>
                    <a:schemeClr val="tx2"/>
                  </a:solidFill>
                  <a:ea typeface="Segoe UI" pitchFamily="34" charset="0"/>
                  <a:cs typeface="Segoe UI Semilight" panose="020B0402040204020203" pitchFamily="34" charset="0"/>
                </a:rPr>
                <a:t>SQL</a:t>
              </a:r>
            </a:p>
          </p:txBody>
        </p:sp>
        <p:sp>
          <p:nvSpPr>
            <p:cNvPr id="101" name="Freeform 146">
              <a:extLst>
                <a:ext uri="{FF2B5EF4-FFF2-40B4-BE49-F238E27FC236}">
                  <a16:creationId xmlns:a16="http://schemas.microsoft.com/office/drawing/2014/main" id="{7722D982-23C9-47F1-9985-DB1A28BFE09F}"/>
                </a:ext>
              </a:extLst>
            </p:cNvPr>
            <p:cNvSpPr>
              <a:spLocks noChangeAspect="1"/>
            </p:cNvSpPr>
            <p:nvPr/>
          </p:nvSpPr>
          <p:spPr bwMode="auto">
            <a:xfrm>
              <a:off x="3311549" y="5608740"/>
              <a:ext cx="1015241" cy="64296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lumMod val="95000"/>
              </a:schemeClr>
            </a:solid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IN" b="1" dirty="0">
                <a:solidFill>
                  <a:schemeClr val="tx2"/>
                </a:solidFill>
                <a:latin typeface="Segoe UI Semilight" panose="020B0402040204020203" pitchFamily="34" charset="0"/>
                <a:ea typeface="Segoe UI" pitchFamily="34" charset="0"/>
                <a:cs typeface="Segoe UI Semilight" panose="020B0402040204020203" pitchFamily="34" charset="0"/>
              </a:endParaRPr>
            </a:p>
          </p:txBody>
        </p:sp>
      </p:grpSp>
      <p:grpSp>
        <p:nvGrpSpPr>
          <p:cNvPr id="102" name="Group 101">
            <a:extLst>
              <a:ext uri="{FF2B5EF4-FFF2-40B4-BE49-F238E27FC236}">
                <a16:creationId xmlns:a16="http://schemas.microsoft.com/office/drawing/2014/main" id="{3546881B-A3F7-45BA-ABA8-31EC10C12F4D}"/>
              </a:ext>
            </a:extLst>
          </p:cNvPr>
          <p:cNvGrpSpPr/>
          <p:nvPr/>
        </p:nvGrpSpPr>
        <p:grpSpPr>
          <a:xfrm>
            <a:off x="616442" y="5177141"/>
            <a:ext cx="596443" cy="608872"/>
            <a:chOff x="3217439" y="2055979"/>
            <a:chExt cx="909013" cy="927955"/>
          </a:xfrm>
        </p:grpSpPr>
        <p:sp>
          <p:nvSpPr>
            <p:cNvPr id="103" name="Freeform: Shape 102">
              <a:extLst>
                <a:ext uri="{FF2B5EF4-FFF2-40B4-BE49-F238E27FC236}">
                  <a16:creationId xmlns:a16="http://schemas.microsoft.com/office/drawing/2014/main" id="{724E98B5-AAEC-491D-9AFD-06758346F995}"/>
                </a:ext>
              </a:extLst>
            </p:cNvPr>
            <p:cNvSpPr/>
            <p:nvPr/>
          </p:nvSpPr>
          <p:spPr bwMode="auto">
            <a:xfrm>
              <a:off x="3217439" y="2055979"/>
              <a:ext cx="718456" cy="927955"/>
            </a:xfrm>
            <a:custGeom>
              <a:avLst/>
              <a:gdLst>
                <a:gd name="connsiteX0" fmla="*/ 359228 w 718456"/>
                <a:gd name="connsiteY0" fmla="*/ 0 h 927955"/>
                <a:gd name="connsiteX1" fmla="*/ 718456 w 718456"/>
                <a:gd name="connsiteY1" fmla="*/ 129563 h 927955"/>
                <a:gd name="connsiteX2" fmla="*/ 718456 w 718456"/>
                <a:gd name="connsiteY2" fmla="*/ 424727 h 927955"/>
                <a:gd name="connsiteX3" fmla="*/ 557373 w 718456"/>
                <a:gd name="connsiteY3" fmla="*/ 598284 h 927955"/>
                <a:gd name="connsiteX4" fmla="*/ 718456 w 718456"/>
                <a:gd name="connsiteY4" fmla="*/ 771840 h 927955"/>
                <a:gd name="connsiteX5" fmla="*/ 718456 w 718456"/>
                <a:gd name="connsiteY5" fmla="*/ 798392 h 927955"/>
                <a:gd name="connsiteX6" fmla="*/ 359228 w 718456"/>
                <a:gd name="connsiteY6" fmla="*/ 927955 h 927955"/>
                <a:gd name="connsiteX7" fmla="*/ 0 w 718456"/>
                <a:gd name="connsiteY7" fmla="*/ 798392 h 927955"/>
                <a:gd name="connsiteX8" fmla="*/ 0 w 718456"/>
                <a:gd name="connsiteY8" fmla="*/ 129563 h 927955"/>
                <a:gd name="connsiteX9" fmla="*/ 359228 w 718456"/>
                <a:gd name="connsiteY9" fmla="*/ 0 h 927955"/>
                <a:gd name="connsiteX0" fmla="*/ 557373 w 718456"/>
                <a:gd name="connsiteY0" fmla="*/ 598284 h 927955"/>
                <a:gd name="connsiteX1" fmla="*/ 718456 w 718456"/>
                <a:gd name="connsiteY1" fmla="*/ 771840 h 927955"/>
                <a:gd name="connsiteX2" fmla="*/ 718456 w 718456"/>
                <a:gd name="connsiteY2" fmla="*/ 798392 h 927955"/>
                <a:gd name="connsiteX3" fmla="*/ 359228 w 718456"/>
                <a:gd name="connsiteY3" fmla="*/ 927955 h 927955"/>
                <a:gd name="connsiteX4" fmla="*/ 0 w 718456"/>
                <a:gd name="connsiteY4" fmla="*/ 798392 h 927955"/>
                <a:gd name="connsiteX5" fmla="*/ 0 w 718456"/>
                <a:gd name="connsiteY5" fmla="*/ 129563 h 927955"/>
                <a:gd name="connsiteX6" fmla="*/ 359228 w 718456"/>
                <a:gd name="connsiteY6" fmla="*/ 0 h 927955"/>
                <a:gd name="connsiteX7" fmla="*/ 718456 w 718456"/>
                <a:gd name="connsiteY7" fmla="*/ 129563 h 927955"/>
                <a:gd name="connsiteX8" fmla="*/ 718456 w 718456"/>
                <a:gd name="connsiteY8" fmla="*/ 424727 h 927955"/>
                <a:gd name="connsiteX9" fmla="*/ 648813 w 718456"/>
                <a:gd name="connsiteY9" fmla="*/ 689724 h 927955"/>
                <a:gd name="connsiteX0" fmla="*/ 557373 w 718456"/>
                <a:gd name="connsiteY0" fmla="*/ 598284 h 927955"/>
                <a:gd name="connsiteX1" fmla="*/ 718456 w 718456"/>
                <a:gd name="connsiteY1" fmla="*/ 771840 h 927955"/>
                <a:gd name="connsiteX2" fmla="*/ 718456 w 718456"/>
                <a:gd name="connsiteY2" fmla="*/ 798392 h 927955"/>
                <a:gd name="connsiteX3" fmla="*/ 359228 w 718456"/>
                <a:gd name="connsiteY3" fmla="*/ 927955 h 927955"/>
                <a:gd name="connsiteX4" fmla="*/ 0 w 718456"/>
                <a:gd name="connsiteY4" fmla="*/ 798392 h 927955"/>
                <a:gd name="connsiteX5" fmla="*/ 0 w 718456"/>
                <a:gd name="connsiteY5" fmla="*/ 129563 h 927955"/>
                <a:gd name="connsiteX6" fmla="*/ 359228 w 718456"/>
                <a:gd name="connsiteY6" fmla="*/ 0 h 927955"/>
                <a:gd name="connsiteX7" fmla="*/ 718456 w 718456"/>
                <a:gd name="connsiteY7" fmla="*/ 129563 h 927955"/>
                <a:gd name="connsiteX8" fmla="*/ 718456 w 718456"/>
                <a:gd name="connsiteY8" fmla="*/ 424727 h 927955"/>
                <a:gd name="connsiteX0" fmla="*/ 718456 w 718456"/>
                <a:gd name="connsiteY0" fmla="*/ 771840 h 927955"/>
                <a:gd name="connsiteX1" fmla="*/ 718456 w 718456"/>
                <a:gd name="connsiteY1" fmla="*/ 798392 h 927955"/>
                <a:gd name="connsiteX2" fmla="*/ 359228 w 718456"/>
                <a:gd name="connsiteY2" fmla="*/ 927955 h 927955"/>
                <a:gd name="connsiteX3" fmla="*/ 0 w 718456"/>
                <a:gd name="connsiteY3" fmla="*/ 798392 h 927955"/>
                <a:gd name="connsiteX4" fmla="*/ 0 w 718456"/>
                <a:gd name="connsiteY4" fmla="*/ 129563 h 927955"/>
                <a:gd name="connsiteX5" fmla="*/ 359228 w 718456"/>
                <a:gd name="connsiteY5" fmla="*/ 0 h 927955"/>
                <a:gd name="connsiteX6" fmla="*/ 718456 w 718456"/>
                <a:gd name="connsiteY6" fmla="*/ 129563 h 927955"/>
                <a:gd name="connsiteX7" fmla="*/ 718456 w 718456"/>
                <a:gd name="connsiteY7" fmla="*/ 424727 h 927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8456" h="927955">
                  <a:moveTo>
                    <a:pt x="718456" y="771840"/>
                  </a:moveTo>
                  <a:lnTo>
                    <a:pt x="718456" y="798392"/>
                  </a:lnTo>
                  <a:cubicBezTo>
                    <a:pt x="718456" y="869948"/>
                    <a:pt x="557624" y="927955"/>
                    <a:pt x="359228" y="927955"/>
                  </a:cubicBezTo>
                  <a:cubicBezTo>
                    <a:pt x="160832" y="927955"/>
                    <a:pt x="0" y="869948"/>
                    <a:pt x="0" y="798392"/>
                  </a:cubicBezTo>
                  <a:lnTo>
                    <a:pt x="0" y="129563"/>
                  </a:lnTo>
                  <a:cubicBezTo>
                    <a:pt x="0" y="58007"/>
                    <a:pt x="160832" y="0"/>
                    <a:pt x="359228" y="0"/>
                  </a:cubicBezTo>
                  <a:cubicBezTo>
                    <a:pt x="557624" y="0"/>
                    <a:pt x="718456" y="58007"/>
                    <a:pt x="718456" y="129563"/>
                  </a:cubicBezTo>
                  <a:lnTo>
                    <a:pt x="718456" y="424727"/>
                  </a:lnTo>
                </a:path>
              </a:pathLst>
            </a:custGeom>
            <a:noFill/>
            <a:ln w="12700" cap="rnd">
              <a:solidFill>
                <a:schemeClr val="tx2"/>
              </a:solid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04" name="Arrow: Right 18">
              <a:extLst>
                <a:ext uri="{FF2B5EF4-FFF2-40B4-BE49-F238E27FC236}">
                  <a16:creationId xmlns:a16="http://schemas.microsoft.com/office/drawing/2014/main" id="{C9FAE782-011D-4EBA-A51C-43B1F125CDD7}"/>
                </a:ext>
              </a:extLst>
            </p:cNvPr>
            <p:cNvSpPr/>
            <p:nvPr/>
          </p:nvSpPr>
          <p:spPr bwMode="auto">
            <a:xfrm>
              <a:off x="3492595" y="2318783"/>
              <a:ext cx="175674" cy="378554"/>
            </a:xfrm>
            <a:custGeom>
              <a:avLst/>
              <a:gdLst>
                <a:gd name="connsiteX0" fmla="*/ 0 w 978408"/>
                <a:gd name="connsiteY0" fmla="*/ 121158 h 484632"/>
                <a:gd name="connsiteX1" fmla="*/ 736092 w 978408"/>
                <a:gd name="connsiteY1" fmla="*/ 121158 h 484632"/>
                <a:gd name="connsiteX2" fmla="*/ 736092 w 978408"/>
                <a:gd name="connsiteY2" fmla="*/ 0 h 484632"/>
                <a:gd name="connsiteX3" fmla="*/ 978408 w 978408"/>
                <a:gd name="connsiteY3" fmla="*/ 242316 h 484632"/>
                <a:gd name="connsiteX4" fmla="*/ 736092 w 978408"/>
                <a:gd name="connsiteY4" fmla="*/ 484632 h 484632"/>
                <a:gd name="connsiteX5" fmla="*/ 736092 w 978408"/>
                <a:gd name="connsiteY5" fmla="*/ 363474 h 484632"/>
                <a:gd name="connsiteX6" fmla="*/ 0 w 978408"/>
                <a:gd name="connsiteY6" fmla="*/ 363474 h 484632"/>
                <a:gd name="connsiteX7" fmla="*/ 0 w 978408"/>
                <a:gd name="connsiteY7" fmla="*/ 121158 h 484632"/>
                <a:gd name="connsiteX0" fmla="*/ 0 w 978408"/>
                <a:gd name="connsiteY0" fmla="*/ 363474 h 484632"/>
                <a:gd name="connsiteX1" fmla="*/ 0 w 978408"/>
                <a:gd name="connsiteY1" fmla="*/ 121158 h 484632"/>
                <a:gd name="connsiteX2" fmla="*/ 736092 w 978408"/>
                <a:gd name="connsiteY2" fmla="*/ 121158 h 484632"/>
                <a:gd name="connsiteX3" fmla="*/ 736092 w 978408"/>
                <a:gd name="connsiteY3" fmla="*/ 0 h 484632"/>
                <a:gd name="connsiteX4" fmla="*/ 978408 w 978408"/>
                <a:gd name="connsiteY4" fmla="*/ 242316 h 484632"/>
                <a:gd name="connsiteX5" fmla="*/ 736092 w 978408"/>
                <a:gd name="connsiteY5" fmla="*/ 484632 h 484632"/>
                <a:gd name="connsiteX6" fmla="*/ 736092 w 978408"/>
                <a:gd name="connsiteY6" fmla="*/ 363474 h 484632"/>
                <a:gd name="connsiteX7" fmla="*/ 91440 w 978408"/>
                <a:gd name="connsiteY7" fmla="*/ 454914 h 484632"/>
                <a:gd name="connsiteX0" fmla="*/ 0 w 978408"/>
                <a:gd name="connsiteY0" fmla="*/ 363474 h 484632"/>
                <a:gd name="connsiteX1" fmla="*/ 0 w 978408"/>
                <a:gd name="connsiteY1" fmla="*/ 121158 h 484632"/>
                <a:gd name="connsiteX2" fmla="*/ 736092 w 978408"/>
                <a:gd name="connsiteY2" fmla="*/ 121158 h 484632"/>
                <a:gd name="connsiteX3" fmla="*/ 736092 w 978408"/>
                <a:gd name="connsiteY3" fmla="*/ 0 h 484632"/>
                <a:gd name="connsiteX4" fmla="*/ 978408 w 978408"/>
                <a:gd name="connsiteY4" fmla="*/ 242316 h 484632"/>
                <a:gd name="connsiteX5" fmla="*/ 736092 w 978408"/>
                <a:gd name="connsiteY5" fmla="*/ 484632 h 484632"/>
                <a:gd name="connsiteX6" fmla="*/ 736092 w 978408"/>
                <a:gd name="connsiteY6" fmla="*/ 363474 h 484632"/>
                <a:gd name="connsiteX0" fmla="*/ 0 w 978408"/>
                <a:gd name="connsiteY0" fmla="*/ 121158 h 484632"/>
                <a:gd name="connsiteX1" fmla="*/ 736092 w 978408"/>
                <a:gd name="connsiteY1" fmla="*/ 121158 h 484632"/>
                <a:gd name="connsiteX2" fmla="*/ 736092 w 978408"/>
                <a:gd name="connsiteY2" fmla="*/ 0 h 484632"/>
                <a:gd name="connsiteX3" fmla="*/ 978408 w 978408"/>
                <a:gd name="connsiteY3" fmla="*/ 242316 h 484632"/>
                <a:gd name="connsiteX4" fmla="*/ 736092 w 978408"/>
                <a:gd name="connsiteY4" fmla="*/ 484632 h 484632"/>
                <a:gd name="connsiteX5" fmla="*/ 736092 w 978408"/>
                <a:gd name="connsiteY5" fmla="*/ 363474 h 484632"/>
                <a:gd name="connsiteX0" fmla="*/ 0 w 242316"/>
                <a:gd name="connsiteY0" fmla="*/ 121158 h 484632"/>
                <a:gd name="connsiteX1" fmla="*/ 0 w 242316"/>
                <a:gd name="connsiteY1" fmla="*/ 0 h 484632"/>
                <a:gd name="connsiteX2" fmla="*/ 242316 w 242316"/>
                <a:gd name="connsiteY2" fmla="*/ 242316 h 484632"/>
                <a:gd name="connsiteX3" fmla="*/ 0 w 242316"/>
                <a:gd name="connsiteY3" fmla="*/ 484632 h 484632"/>
                <a:gd name="connsiteX4" fmla="*/ 0 w 242316"/>
                <a:gd name="connsiteY4" fmla="*/ 363474 h 484632"/>
                <a:gd name="connsiteX0" fmla="*/ 0 w 242316"/>
                <a:gd name="connsiteY0" fmla="*/ 0 h 484632"/>
                <a:gd name="connsiteX1" fmla="*/ 242316 w 242316"/>
                <a:gd name="connsiteY1" fmla="*/ 242316 h 484632"/>
                <a:gd name="connsiteX2" fmla="*/ 0 w 242316"/>
                <a:gd name="connsiteY2" fmla="*/ 484632 h 484632"/>
                <a:gd name="connsiteX3" fmla="*/ 0 w 242316"/>
                <a:gd name="connsiteY3" fmla="*/ 363474 h 484632"/>
                <a:gd name="connsiteX0" fmla="*/ 0 w 242316"/>
                <a:gd name="connsiteY0" fmla="*/ 0 h 484632"/>
                <a:gd name="connsiteX1" fmla="*/ 242316 w 242316"/>
                <a:gd name="connsiteY1" fmla="*/ 242316 h 484632"/>
                <a:gd name="connsiteX2" fmla="*/ 0 w 242316"/>
                <a:gd name="connsiteY2" fmla="*/ 484632 h 484632"/>
              </a:gdLst>
              <a:ahLst/>
              <a:cxnLst>
                <a:cxn ang="0">
                  <a:pos x="connsiteX0" y="connsiteY0"/>
                </a:cxn>
                <a:cxn ang="0">
                  <a:pos x="connsiteX1" y="connsiteY1"/>
                </a:cxn>
                <a:cxn ang="0">
                  <a:pos x="connsiteX2" y="connsiteY2"/>
                </a:cxn>
              </a:cxnLst>
              <a:rect l="l" t="t" r="r" b="b"/>
              <a:pathLst>
                <a:path w="242316" h="484632">
                  <a:moveTo>
                    <a:pt x="0" y="0"/>
                  </a:moveTo>
                  <a:lnTo>
                    <a:pt x="242316" y="242316"/>
                  </a:lnTo>
                  <a:lnTo>
                    <a:pt x="0" y="484632"/>
                  </a:lnTo>
                </a:path>
              </a:pathLst>
            </a:custGeom>
            <a:noFill/>
            <a:ln w="12700" cap="rnd">
              <a:solidFill>
                <a:schemeClr val="tx2"/>
              </a:solid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05" name="Arrow: Right 18">
              <a:extLst>
                <a:ext uri="{FF2B5EF4-FFF2-40B4-BE49-F238E27FC236}">
                  <a16:creationId xmlns:a16="http://schemas.microsoft.com/office/drawing/2014/main" id="{1B0F446D-9072-4F21-9BF8-806D6F961B49}"/>
                </a:ext>
              </a:extLst>
            </p:cNvPr>
            <p:cNvSpPr/>
            <p:nvPr/>
          </p:nvSpPr>
          <p:spPr bwMode="auto">
            <a:xfrm flipH="1">
              <a:off x="3950778" y="2469810"/>
              <a:ext cx="175674" cy="378554"/>
            </a:xfrm>
            <a:custGeom>
              <a:avLst/>
              <a:gdLst>
                <a:gd name="connsiteX0" fmla="*/ 0 w 978408"/>
                <a:gd name="connsiteY0" fmla="*/ 121158 h 484632"/>
                <a:gd name="connsiteX1" fmla="*/ 736092 w 978408"/>
                <a:gd name="connsiteY1" fmla="*/ 121158 h 484632"/>
                <a:gd name="connsiteX2" fmla="*/ 736092 w 978408"/>
                <a:gd name="connsiteY2" fmla="*/ 0 h 484632"/>
                <a:gd name="connsiteX3" fmla="*/ 978408 w 978408"/>
                <a:gd name="connsiteY3" fmla="*/ 242316 h 484632"/>
                <a:gd name="connsiteX4" fmla="*/ 736092 w 978408"/>
                <a:gd name="connsiteY4" fmla="*/ 484632 h 484632"/>
                <a:gd name="connsiteX5" fmla="*/ 736092 w 978408"/>
                <a:gd name="connsiteY5" fmla="*/ 363474 h 484632"/>
                <a:gd name="connsiteX6" fmla="*/ 0 w 978408"/>
                <a:gd name="connsiteY6" fmla="*/ 363474 h 484632"/>
                <a:gd name="connsiteX7" fmla="*/ 0 w 978408"/>
                <a:gd name="connsiteY7" fmla="*/ 121158 h 484632"/>
                <a:gd name="connsiteX0" fmla="*/ 0 w 978408"/>
                <a:gd name="connsiteY0" fmla="*/ 363474 h 484632"/>
                <a:gd name="connsiteX1" fmla="*/ 0 w 978408"/>
                <a:gd name="connsiteY1" fmla="*/ 121158 h 484632"/>
                <a:gd name="connsiteX2" fmla="*/ 736092 w 978408"/>
                <a:gd name="connsiteY2" fmla="*/ 121158 h 484632"/>
                <a:gd name="connsiteX3" fmla="*/ 736092 w 978408"/>
                <a:gd name="connsiteY3" fmla="*/ 0 h 484632"/>
                <a:gd name="connsiteX4" fmla="*/ 978408 w 978408"/>
                <a:gd name="connsiteY4" fmla="*/ 242316 h 484632"/>
                <a:gd name="connsiteX5" fmla="*/ 736092 w 978408"/>
                <a:gd name="connsiteY5" fmla="*/ 484632 h 484632"/>
                <a:gd name="connsiteX6" fmla="*/ 736092 w 978408"/>
                <a:gd name="connsiteY6" fmla="*/ 363474 h 484632"/>
                <a:gd name="connsiteX7" fmla="*/ 91440 w 978408"/>
                <a:gd name="connsiteY7" fmla="*/ 454914 h 484632"/>
                <a:gd name="connsiteX0" fmla="*/ 0 w 978408"/>
                <a:gd name="connsiteY0" fmla="*/ 363474 h 484632"/>
                <a:gd name="connsiteX1" fmla="*/ 0 w 978408"/>
                <a:gd name="connsiteY1" fmla="*/ 121158 h 484632"/>
                <a:gd name="connsiteX2" fmla="*/ 736092 w 978408"/>
                <a:gd name="connsiteY2" fmla="*/ 121158 h 484632"/>
                <a:gd name="connsiteX3" fmla="*/ 736092 w 978408"/>
                <a:gd name="connsiteY3" fmla="*/ 0 h 484632"/>
                <a:gd name="connsiteX4" fmla="*/ 978408 w 978408"/>
                <a:gd name="connsiteY4" fmla="*/ 242316 h 484632"/>
                <a:gd name="connsiteX5" fmla="*/ 736092 w 978408"/>
                <a:gd name="connsiteY5" fmla="*/ 484632 h 484632"/>
                <a:gd name="connsiteX6" fmla="*/ 736092 w 978408"/>
                <a:gd name="connsiteY6" fmla="*/ 363474 h 484632"/>
                <a:gd name="connsiteX0" fmla="*/ 0 w 978408"/>
                <a:gd name="connsiteY0" fmla="*/ 121158 h 484632"/>
                <a:gd name="connsiteX1" fmla="*/ 736092 w 978408"/>
                <a:gd name="connsiteY1" fmla="*/ 121158 h 484632"/>
                <a:gd name="connsiteX2" fmla="*/ 736092 w 978408"/>
                <a:gd name="connsiteY2" fmla="*/ 0 h 484632"/>
                <a:gd name="connsiteX3" fmla="*/ 978408 w 978408"/>
                <a:gd name="connsiteY3" fmla="*/ 242316 h 484632"/>
                <a:gd name="connsiteX4" fmla="*/ 736092 w 978408"/>
                <a:gd name="connsiteY4" fmla="*/ 484632 h 484632"/>
                <a:gd name="connsiteX5" fmla="*/ 736092 w 978408"/>
                <a:gd name="connsiteY5" fmla="*/ 363474 h 484632"/>
                <a:gd name="connsiteX0" fmla="*/ 0 w 242316"/>
                <a:gd name="connsiteY0" fmla="*/ 121158 h 484632"/>
                <a:gd name="connsiteX1" fmla="*/ 0 w 242316"/>
                <a:gd name="connsiteY1" fmla="*/ 0 h 484632"/>
                <a:gd name="connsiteX2" fmla="*/ 242316 w 242316"/>
                <a:gd name="connsiteY2" fmla="*/ 242316 h 484632"/>
                <a:gd name="connsiteX3" fmla="*/ 0 w 242316"/>
                <a:gd name="connsiteY3" fmla="*/ 484632 h 484632"/>
                <a:gd name="connsiteX4" fmla="*/ 0 w 242316"/>
                <a:gd name="connsiteY4" fmla="*/ 363474 h 484632"/>
                <a:gd name="connsiteX0" fmla="*/ 0 w 242316"/>
                <a:gd name="connsiteY0" fmla="*/ 0 h 484632"/>
                <a:gd name="connsiteX1" fmla="*/ 242316 w 242316"/>
                <a:gd name="connsiteY1" fmla="*/ 242316 h 484632"/>
                <a:gd name="connsiteX2" fmla="*/ 0 w 242316"/>
                <a:gd name="connsiteY2" fmla="*/ 484632 h 484632"/>
                <a:gd name="connsiteX3" fmla="*/ 0 w 242316"/>
                <a:gd name="connsiteY3" fmla="*/ 363474 h 484632"/>
                <a:gd name="connsiteX0" fmla="*/ 0 w 242316"/>
                <a:gd name="connsiteY0" fmla="*/ 0 h 484632"/>
                <a:gd name="connsiteX1" fmla="*/ 242316 w 242316"/>
                <a:gd name="connsiteY1" fmla="*/ 242316 h 484632"/>
                <a:gd name="connsiteX2" fmla="*/ 0 w 242316"/>
                <a:gd name="connsiteY2" fmla="*/ 484632 h 484632"/>
              </a:gdLst>
              <a:ahLst/>
              <a:cxnLst>
                <a:cxn ang="0">
                  <a:pos x="connsiteX0" y="connsiteY0"/>
                </a:cxn>
                <a:cxn ang="0">
                  <a:pos x="connsiteX1" y="connsiteY1"/>
                </a:cxn>
                <a:cxn ang="0">
                  <a:pos x="connsiteX2" y="connsiteY2"/>
                </a:cxn>
              </a:cxnLst>
              <a:rect l="l" t="t" r="r" b="b"/>
              <a:pathLst>
                <a:path w="242316" h="484632">
                  <a:moveTo>
                    <a:pt x="0" y="0"/>
                  </a:moveTo>
                  <a:lnTo>
                    <a:pt x="242316" y="242316"/>
                  </a:lnTo>
                  <a:lnTo>
                    <a:pt x="0" y="484632"/>
                  </a:lnTo>
                </a:path>
              </a:pathLst>
            </a:custGeom>
            <a:noFill/>
            <a:ln w="12700" cap="rnd">
              <a:solidFill>
                <a:schemeClr val="tx2"/>
              </a:solid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sp>
        <p:nvSpPr>
          <p:cNvPr id="106" name="Cylinder 812">
            <a:extLst>
              <a:ext uri="{FF2B5EF4-FFF2-40B4-BE49-F238E27FC236}">
                <a16:creationId xmlns:a16="http://schemas.microsoft.com/office/drawing/2014/main" id="{1CA334C6-3E23-462E-A779-08186E7C12BB}"/>
              </a:ext>
            </a:extLst>
          </p:cNvPr>
          <p:cNvSpPr/>
          <p:nvPr/>
        </p:nvSpPr>
        <p:spPr bwMode="auto">
          <a:xfrm>
            <a:off x="2577259" y="4876747"/>
            <a:ext cx="462774" cy="607976"/>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900" dirty="0">
              <a:solidFill>
                <a:schemeClr val="tx2"/>
              </a:solidFill>
              <a:ea typeface="Segoe UI" pitchFamily="34" charset="0"/>
              <a:cs typeface="Segoe UI Semilight" panose="020B0402040204020203" pitchFamily="34" charset="0"/>
            </a:endParaRPr>
          </a:p>
        </p:txBody>
      </p:sp>
      <p:cxnSp>
        <p:nvCxnSpPr>
          <p:cNvPr id="107" name="Connector: Elbow 106">
            <a:extLst>
              <a:ext uri="{FF2B5EF4-FFF2-40B4-BE49-F238E27FC236}">
                <a16:creationId xmlns:a16="http://schemas.microsoft.com/office/drawing/2014/main" id="{3E102C3D-E098-483B-B094-B524CEC53E27}"/>
              </a:ext>
            </a:extLst>
          </p:cNvPr>
          <p:cNvCxnSpPr>
            <a:cxnSpLocks/>
          </p:cNvCxnSpPr>
          <p:nvPr/>
        </p:nvCxnSpPr>
        <p:spPr>
          <a:xfrm rot="5400000" flipH="1" flipV="1">
            <a:off x="1360731" y="2571941"/>
            <a:ext cx="442384" cy="1477529"/>
          </a:xfrm>
          <a:prstGeom prst="bentConnector2">
            <a:avLst/>
          </a:prstGeom>
          <a:ln w="12700">
            <a:solidFill>
              <a:schemeClr val="tx2"/>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Connector: Elbow 107">
            <a:extLst>
              <a:ext uri="{FF2B5EF4-FFF2-40B4-BE49-F238E27FC236}">
                <a16:creationId xmlns:a16="http://schemas.microsoft.com/office/drawing/2014/main" id="{D3DB0522-7B68-4C23-AEB7-89033FE25637}"/>
              </a:ext>
            </a:extLst>
          </p:cNvPr>
          <p:cNvCxnSpPr>
            <a:cxnSpLocks/>
          </p:cNvCxnSpPr>
          <p:nvPr/>
        </p:nvCxnSpPr>
        <p:spPr>
          <a:xfrm rot="16200000" flipV="1">
            <a:off x="3953977" y="2571941"/>
            <a:ext cx="442384" cy="1477529"/>
          </a:xfrm>
          <a:prstGeom prst="bentConnector2">
            <a:avLst/>
          </a:prstGeom>
          <a:ln w="12700">
            <a:solidFill>
              <a:schemeClr val="tx2"/>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09" name="Group 108">
            <a:extLst>
              <a:ext uri="{FF2B5EF4-FFF2-40B4-BE49-F238E27FC236}">
                <a16:creationId xmlns:a16="http://schemas.microsoft.com/office/drawing/2014/main" id="{EECA32FC-75A7-497B-9B5D-91044F29C379}"/>
              </a:ext>
            </a:extLst>
          </p:cNvPr>
          <p:cNvGrpSpPr/>
          <p:nvPr/>
        </p:nvGrpSpPr>
        <p:grpSpPr>
          <a:xfrm>
            <a:off x="2612251" y="2698570"/>
            <a:ext cx="644491" cy="633500"/>
            <a:chOff x="2612251" y="2884928"/>
            <a:chExt cx="644491" cy="633500"/>
          </a:xfrm>
        </p:grpSpPr>
        <p:sp>
          <p:nvSpPr>
            <p:cNvPr id="110" name="Cylinder 513">
              <a:extLst>
                <a:ext uri="{FF2B5EF4-FFF2-40B4-BE49-F238E27FC236}">
                  <a16:creationId xmlns:a16="http://schemas.microsoft.com/office/drawing/2014/main" id="{C65636ED-1B7A-4970-BF64-10F62E7CFBC9}"/>
                </a:ext>
              </a:extLst>
            </p:cNvPr>
            <p:cNvSpPr/>
            <p:nvPr/>
          </p:nvSpPr>
          <p:spPr bwMode="auto">
            <a:xfrm>
              <a:off x="2612251" y="2907755"/>
              <a:ext cx="464829" cy="610673"/>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dirty="0">
                <a:solidFill>
                  <a:schemeClr val="tx2"/>
                </a:solidFill>
                <a:latin typeface="+mj-lt"/>
                <a:ea typeface="Segoe UI" pitchFamily="34" charset="0"/>
                <a:cs typeface="Segoe UI" pitchFamily="34" charset="0"/>
              </a:endParaRPr>
            </a:p>
          </p:txBody>
        </p:sp>
        <p:grpSp>
          <p:nvGrpSpPr>
            <p:cNvPr id="111" name="Group 110">
              <a:extLst>
                <a:ext uri="{FF2B5EF4-FFF2-40B4-BE49-F238E27FC236}">
                  <a16:creationId xmlns:a16="http://schemas.microsoft.com/office/drawing/2014/main" id="{75A09D7E-A958-4BEA-8930-9877085D58E8}"/>
                </a:ext>
              </a:extLst>
            </p:cNvPr>
            <p:cNvGrpSpPr>
              <a:grpSpLocks noChangeAspect="1"/>
            </p:cNvGrpSpPr>
            <p:nvPr/>
          </p:nvGrpSpPr>
          <p:grpSpPr>
            <a:xfrm>
              <a:off x="2847932" y="2884928"/>
              <a:ext cx="408810" cy="454341"/>
              <a:chOff x="1976964" y="1368618"/>
              <a:chExt cx="467797" cy="725944"/>
            </a:xfrm>
            <a:solidFill>
              <a:schemeClr val="bg1"/>
            </a:solidFill>
          </p:grpSpPr>
          <p:sp>
            <p:nvSpPr>
              <p:cNvPr id="112" name="Freeform 413">
                <a:extLst>
                  <a:ext uri="{FF2B5EF4-FFF2-40B4-BE49-F238E27FC236}">
                    <a16:creationId xmlns:a16="http://schemas.microsoft.com/office/drawing/2014/main" id="{AEBD3BD0-C37C-4CB6-93E4-C348CBA452B8}"/>
                  </a:ext>
                </a:extLst>
              </p:cNvPr>
              <p:cNvSpPr>
                <a:spLocks/>
              </p:cNvSpPr>
              <p:nvPr/>
            </p:nvSpPr>
            <p:spPr bwMode="auto">
              <a:xfrm>
                <a:off x="1976964" y="1440822"/>
                <a:ext cx="467797" cy="653740"/>
              </a:xfrm>
              <a:custGeom>
                <a:avLst/>
                <a:gdLst>
                  <a:gd name="T0" fmla="*/ 102 w 109"/>
                  <a:gd name="T1" fmla="*/ 125 h 153"/>
                  <a:gd name="T2" fmla="*/ 70 w 109"/>
                  <a:gd name="T3" fmla="*/ 64 h 153"/>
                  <a:gd name="T4" fmla="*/ 68 w 109"/>
                  <a:gd name="T5" fmla="*/ 53 h 153"/>
                  <a:gd name="T6" fmla="*/ 68 w 109"/>
                  <a:gd name="T7" fmla="*/ 0 h 153"/>
                  <a:gd name="T8" fmla="*/ 59 w 109"/>
                  <a:gd name="T9" fmla="*/ 0 h 153"/>
                  <a:gd name="T10" fmla="*/ 51 w 109"/>
                  <a:gd name="T11" fmla="*/ 0 h 153"/>
                  <a:gd name="T12" fmla="*/ 42 w 109"/>
                  <a:gd name="T13" fmla="*/ 0 h 153"/>
                  <a:gd name="T14" fmla="*/ 42 w 109"/>
                  <a:gd name="T15" fmla="*/ 53 h 153"/>
                  <a:gd name="T16" fmla="*/ 39 w 109"/>
                  <a:gd name="T17" fmla="*/ 64 h 153"/>
                  <a:gd name="T18" fmla="*/ 7 w 109"/>
                  <a:gd name="T19" fmla="*/ 125 h 153"/>
                  <a:gd name="T20" fmla="*/ 22 w 109"/>
                  <a:gd name="T21" fmla="*/ 153 h 153"/>
                  <a:gd name="T22" fmla="*/ 51 w 109"/>
                  <a:gd name="T23" fmla="*/ 153 h 153"/>
                  <a:gd name="T24" fmla="*/ 59 w 109"/>
                  <a:gd name="T25" fmla="*/ 153 h 153"/>
                  <a:gd name="T26" fmla="*/ 90 w 109"/>
                  <a:gd name="T27" fmla="*/ 153 h 153"/>
                  <a:gd name="T28" fmla="*/ 102 w 109"/>
                  <a:gd name="T29" fmla="*/ 12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53">
                    <a:moveTo>
                      <a:pt x="102" y="125"/>
                    </a:moveTo>
                    <a:cubicBezTo>
                      <a:pt x="94" y="110"/>
                      <a:pt x="70" y="64"/>
                      <a:pt x="70" y="64"/>
                    </a:cubicBezTo>
                    <a:cubicBezTo>
                      <a:pt x="70" y="64"/>
                      <a:pt x="68" y="61"/>
                      <a:pt x="68" y="53"/>
                    </a:cubicBezTo>
                    <a:cubicBezTo>
                      <a:pt x="68" y="46"/>
                      <a:pt x="68" y="0"/>
                      <a:pt x="68" y="0"/>
                    </a:cubicBezTo>
                    <a:cubicBezTo>
                      <a:pt x="59" y="0"/>
                      <a:pt x="59" y="0"/>
                      <a:pt x="59" y="0"/>
                    </a:cubicBezTo>
                    <a:cubicBezTo>
                      <a:pt x="51" y="0"/>
                      <a:pt x="51" y="0"/>
                      <a:pt x="51" y="0"/>
                    </a:cubicBezTo>
                    <a:cubicBezTo>
                      <a:pt x="42" y="0"/>
                      <a:pt x="42" y="0"/>
                      <a:pt x="42" y="0"/>
                    </a:cubicBezTo>
                    <a:cubicBezTo>
                      <a:pt x="42" y="0"/>
                      <a:pt x="42" y="47"/>
                      <a:pt x="42" y="53"/>
                    </a:cubicBezTo>
                    <a:cubicBezTo>
                      <a:pt x="42" y="59"/>
                      <a:pt x="39" y="64"/>
                      <a:pt x="39" y="64"/>
                    </a:cubicBezTo>
                    <a:cubicBezTo>
                      <a:pt x="39" y="64"/>
                      <a:pt x="15" y="110"/>
                      <a:pt x="7" y="125"/>
                    </a:cubicBezTo>
                    <a:cubicBezTo>
                      <a:pt x="0" y="137"/>
                      <a:pt x="10" y="153"/>
                      <a:pt x="22" y="153"/>
                    </a:cubicBezTo>
                    <a:cubicBezTo>
                      <a:pt x="51" y="153"/>
                      <a:pt x="51" y="153"/>
                      <a:pt x="51" y="153"/>
                    </a:cubicBezTo>
                    <a:cubicBezTo>
                      <a:pt x="59" y="153"/>
                      <a:pt x="59" y="153"/>
                      <a:pt x="59" y="153"/>
                    </a:cubicBezTo>
                    <a:cubicBezTo>
                      <a:pt x="90" y="153"/>
                      <a:pt x="90" y="153"/>
                      <a:pt x="90" y="153"/>
                    </a:cubicBezTo>
                    <a:cubicBezTo>
                      <a:pt x="101" y="153"/>
                      <a:pt x="109" y="137"/>
                      <a:pt x="102" y="125"/>
                    </a:cubicBezTo>
                    <a:close/>
                  </a:path>
                </a:pathLst>
              </a:custGeom>
              <a:solidFill>
                <a:schemeClr val="bg1">
                  <a:lumMod val="95000"/>
                </a:schemeClr>
              </a:solidFill>
              <a:ln w="12700">
                <a:solidFill>
                  <a:schemeClr val="tx2"/>
                </a:solidFill>
                <a:round/>
                <a:headEnd/>
                <a:tailEnd/>
              </a:ln>
              <a:extLst/>
            </p:spPr>
            <p:txBody>
              <a:bodyPr vert="horz" wrap="square" lIns="87855" tIns="43927" rIns="87855" bIns="43927" numCol="1" anchor="t" anchorCtr="0" compatLnSpc="1">
                <a:prstTxWarp prst="textNoShape">
                  <a:avLst/>
                </a:prstTxWarp>
              </a:bodyPr>
              <a:lstStyle/>
              <a:p>
                <a:pPr defTabSz="896043">
                  <a:defRPr/>
                </a:pPr>
                <a:endParaRPr lang="en-US" sz="1729" dirty="0">
                  <a:solidFill>
                    <a:prstClr val="black"/>
                  </a:solidFill>
                  <a:latin typeface="Segoe UI"/>
                </a:endParaRPr>
              </a:p>
            </p:txBody>
          </p:sp>
          <p:sp>
            <p:nvSpPr>
              <p:cNvPr id="113" name="Freeform 415">
                <a:extLst>
                  <a:ext uri="{FF2B5EF4-FFF2-40B4-BE49-F238E27FC236}">
                    <a16:creationId xmlns:a16="http://schemas.microsoft.com/office/drawing/2014/main" id="{BAAC2900-7B52-417D-A09E-21ABE56DBF4C}"/>
                  </a:ext>
                </a:extLst>
              </p:cNvPr>
              <p:cNvSpPr>
                <a:spLocks/>
              </p:cNvSpPr>
              <p:nvPr/>
            </p:nvSpPr>
            <p:spPr bwMode="auto">
              <a:xfrm>
                <a:off x="2118869" y="1368618"/>
                <a:ext cx="183987" cy="72421"/>
              </a:xfrm>
              <a:custGeom>
                <a:avLst/>
                <a:gdLst>
                  <a:gd name="T0" fmla="*/ 43 w 43"/>
                  <a:gd name="T1" fmla="*/ 9 h 17"/>
                  <a:gd name="T2" fmla="*/ 35 w 43"/>
                  <a:gd name="T3" fmla="*/ 17 h 17"/>
                  <a:gd name="T4" fmla="*/ 9 w 43"/>
                  <a:gd name="T5" fmla="*/ 17 h 17"/>
                  <a:gd name="T6" fmla="*/ 0 w 43"/>
                  <a:gd name="T7" fmla="*/ 9 h 17"/>
                  <a:gd name="T8" fmla="*/ 0 w 43"/>
                  <a:gd name="T9" fmla="*/ 9 h 17"/>
                  <a:gd name="T10" fmla="*/ 9 w 43"/>
                  <a:gd name="T11" fmla="*/ 0 h 17"/>
                  <a:gd name="T12" fmla="*/ 35 w 43"/>
                  <a:gd name="T13" fmla="*/ 0 h 17"/>
                  <a:gd name="T14" fmla="*/ 43 w 43"/>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17">
                    <a:moveTo>
                      <a:pt x="43" y="9"/>
                    </a:moveTo>
                    <a:cubicBezTo>
                      <a:pt x="43" y="13"/>
                      <a:pt x="40" y="17"/>
                      <a:pt x="35" y="17"/>
                    </a:cubicBezTo>
                    <a:cubicBezTo>
                      <a:pt x="9" y="17"/>
                      <a:pt x="9" y="17"/>
                      <a:pt x="9" y="17"/>
                    </a:cubicBezTo>
                    <a:cubicBezTo>
                      <a:pt x="4" y="17"/>
                      <a:pt x="0" y="13"/>
                      <a:pt x="0" y="9"/>
                    </a:cubicBezTo>
                    <a:cubicBezTo>
                      <a:pt x="0" y="9"/>
                      <a:pt x="0" y="9"/>
                      <a:pt x="0" y="9"/>
                    </a:cubicBezTo>
                    <a:cubicBezTo>
                      <a:pt x="0" y="4"/>
                      <a:pt x="4" y="0"/>
                      <a:pt x="9" y="0"/>
                    </a:cubicBezTo>
                    <a:cubicBezTo>
                      <a:pt x="35" y="0"/>
                      <a:pt x="35" y="0"/>
                      <a:pt x="35" y="0"/>
                    </a:cubicBezTo>
                    <a:cubicBezTo>
                      <a:pt x="40" y="0"/>
                      <a:pt x="43" y="4"/>
                      <a:pt x="43" y="9"/>
                    </a:cubicBezTo>
                    <a:close/>
                  </a:path>
                </a:pathLst>
              </a:custGeom>
              <a:grpFill/>
              <a:ln w="12700">
                <a:solidFill>
                  <a:schemeClr val="tx2"/>
                </a:solidFill>
                <a:round/>
                <a:headEnd/>
                <a:tailEnd/>
              </a:ln>
              <a:extLst/>
            </p:spPr>
            <p:txBody>
              <a:bodyPr vert="horz" wrap="square" lIns="87855" tIns="43927" rIns="87855" bIns="43927" numCol="1" anchor="t" anchorCtr="0" compatLnSpc="1">
                <a:prstTxWarp prst="textNoShape">
                  <a:avLst/>
                </a:prstTxWarp>
              </a:bodyPr>
              <a:lstStyle/>
              <a:p>
                <a:pPr defTabSz="896043">
                  <a:defRPr/>
                </a:pPr>
                <a:endParaRPr lang="en-US" sz="1729" dirty="0">
                  <a:solidFill>
                    <a:prstClr val="black"/>
                  </a:solidFill>
                  <a:latin typeface="Segoe UI"/>
                </a:endParaRPr>
              </a:p>
            </p:txBody>
          </p:sp>
        </p:grpSp>
      </p:grpSp>
      <p:sp>
        <p:nvSpPr>
          <p:cNvPr id="114" name="TextBox 113">
            <a:extLst>
              <a:ext uri="{FF2B5EF4-FFF2-40B4-BE49-F238E27FC236}">
                <a16:creationId xmlns:a16="http://schemas.microsoft.com/office/drawing/2014/main" id="{2ABDB015-C54B-4756-83C8-9AF6729C3C86}"/>
              </a:ext>
            </a:extLst>
          </p:cNvPr>
          <p:cNvSpPr txBox="1"/>
          <p:nvPr/>
        </p:nvSpPr>
        <p:spPr>
          <a:xfrm>
            <a:off x="0" y="6568972"/>
            <a:ext cx="1311813" cy="246221"/>
          </a:xfrm>
          <a:prstGeom prst="rect">
            <a:avLst/>
          </a:prstGeom>
          <a:noFill/>
        </p:spPr>
        <p:txBody>
          <a:bodyPr wrap="square" lIns="91440" tIns="45720" rIns="91440" bIns="45720" rtlCol="0">
            <a:spAutoFit/>
          </a:bodyPr>
          <a:lstStyle>
            <a:defPPr>
              <a:defRPr lang="en-US"/>
            </a:defPPr>
            <a:lvl1pPr algn="ctr" defTabSz="931482">
              <a:lnSpc>
                <a:spcPct val="90000"/>
              </a:lnSpc>
              <a:spcAft>
                <a:spcPts val="600"/>
              </a:spcAft>
              <a:defRPr sz="1000" b="1" kern="0">
                <a:ln>
                  <a:solidFill>
                    <a:srgbClr val="FFFFFF">
                      <a:alpha val="0"/>
                    </a:srgbClr>
                  </a:solidFill>
                </a:ln>
                <a:solidFill>
                  <a:srgbClr val="000000"/>
                </a:solidFill>
                <a:latin typeface="Segoe UI Semibold" charset="0"/>
                <a:cs typeface="Segoe UI Semibold" charset="0"/>
              </a:defRPr>
            </a:lvl1pPr>
          </a:lstStyle>
          <a:p>
            <a:pPr>
              <a:lnSpc>
                <a:spcPct val="100000"/>
              </a:lnSpc>
              <a:spcAft>
                <a:spcPts val="0"/>
              </a:spcAft>
            </a:pPr>
            <a:r>
              <a:rPr lang="en-US" dirty="0"/>
              <a:t>* Coming by GA</a:t>
            </a:r>
          </a:p>
        </p:txBody>
      </p:sp>
      <p:sp>
        <p:nvSpPr>
          <p:cNvPr id="115" name="TextBox 114">
            <a:extLst>
              <a:ext uri="{FF2B5EF4-FFF2-40B4-BE49-F238E27FC236}">
                <a16:creationId xmlns:a16="http://schemas.microsoft.com/office/drawing/2014/main" id="{E8800EF6-0633-4E0F-8BD8-7D07FA899474}"/>
              </a:ext>
            </a:extLst>
          </p:cNvPr>
          <p:cNvSpPr txBox="1"/>
          <p:nvPr/>
        </p:nvSpPr>
        <p:spPr>
          <a:xfrm>
            <a:off x="-178739" y="2456375"/>
            <a:ext cx="1951445" cy="246221"/>
          </a:xfrm>
          <a:prstGeom prst="rect">
            <a:avLst/>
          </a:prstGeom>
          <a:noFill/>
        </p:spPr>
        <p:txBody>
          <a:bodyPr wrap="square" lIns="91440" tIns="45720" rIns="91440" bIns="45720" rtlCol="0">
            <a:spAutoFit/>
          </a:bodyPr>
          <a:lstStyle>
            <a:defPPr>
              <a:defRPr lang="en-US"/>
            </a:defPPr>
            <a:lvl1pPr algn="ctr" defTabSz="931482">
              <a:lnSpc>
                <a:spcPct val="90000"/>
              </a:lnSpc>
              <a:spcAft>
                <a:spcPts val="600"/>
              </a:spcAft>
              <a:defRPr sz="1000" b="1" kern="0">
                <a:ln>
                  <a:solidFill>
                    <a:srgbClr val="FFFFFF">
                      <a:alpha val="0"/>
                    </a:srgbClr>
                  </a:solidFill>
                </a:ln>
                <a:solidFill>
                  <a:srgbClr val="000000"/>
                </a:solidFill>
                <a:latin typeface="Segoe UI Semibold" charset="0"/>
                <a:cs typeface="Segoe UI Semibold" charset="0"/>
              </a:defRPr>
            </a:lvl1pPr>
          </a:lstStyle>
          <a:p>
            <a:pPr>
              <a:lnSpc>
                <a:spcPct val="100000"/>
              </a:lnSpc>
              <a:spcAft>
                <a:spcPts val="0"/>
              </a:spcAft>
            </a:pPr>
            <a:r>
              <a:rPr lang="en-US" dirty="0"/>
              <a:t>Azure Site Recovery</a:t>
            </a:r>
          </a:p>
        </p:txBody>
      </p:sp>
      <p:cxnSp>
        <p:nvCxnSpPr>
          <p:cNvPr id="116" name="Straight Arrow Connector 115">
            <a:extLst>
              <a:ext uri="{FF2B5EF4-FFF2-40B4-BE49-F238E27FC236}">
                <a16:creationId xmlns:a16="http://schemas.microsoft.com/office/drawing/2014/main" id="{7C841528-753C-4121-ADFE-CA05D9E1F069}"/>
              </a:ext>
            </a:extLst>
          </p:cNvPr>
          <p:cNvCxnSpPr>
            <a:cxnSpLocks/>
          </p:cNvCxnSpPr>
          <p:nvPr/>
        </p:nvCxnSpPr>
        <p:spPr>
          <a:xfrm>
            <a:off x="616442" y="2750371"/>
            <a:ext cx="11292" cy="781527"/>
          </a:xfrm>
          <a:prstGeom prst="straightConnector1">
            <a:avLst/>
          </a:prstGeom>
          <a:ln w="12700">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pic>
        <p:nvPicPr>
          <p:cNvPr id="1028" name="Picture 4" descr="Image result for azure site recovery logo">
            <a:extLst>
              <a:ext uri="{FF2B5EF4-FFF2-40B4-BE49-F238E27FC236}">
                <a16:creationId xmlns:a16="http://schemas.microsoft.com/office/drawing/2014/main" id="{D95967CC-80E0-427A-8CAE-85FD16304F6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239124" y="2414516"/>
            <a:ext cx="836858" cy="4393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07008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0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0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15"/>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028"/>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16"/>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9"/>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7"/>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6"/>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9" grpId="0"/>
      <p:bldP spid="12" grpId="0"/>
      <p:bldP spid="13" grpId="0"/>
      <p:bldP spid="14" grpId="0"/>
      <p:bldP spid="106" grpId="0" animBg="1"/>
      <p:bldP spid="11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 name="Rectangle 176"/>
          <p:cNvSpPr/>
          <p:nvPr/>
        </p:nvSpPr>
        <p:spPr bwMode="auto">
          <a:xfrm>
            <a:off x="9821960" y="1551132"/>
            <a:ext cx="2103120" cy="461665"/>
          </a:xfrm>
          <a:prstGeom prst="rect">
            <a:avLst/>
          </a:prstGeom>
          <a:noFill/>
          <a:ln w="6350" cap="flat" cmpd="sng" algn="ctr">
            <a:noFill/>
            <a:prstDash val="solid"/>
            <a:headEnd type="none" w="med" len="med"/>
            <a:tailEnd type="none" w="med" len="med"/>
          </a:ln>
          <a:effectLst/>
        </p:spPr>
        <p:txBody>
          <a:bodyPr rot="0" spcFirstLastPara="0" vert="horz" wrap="square" lIns="91440" tIns="45720" rIns="91401" bIns="45720" numCol="1" spcCol="0" rtlCol="0" fromWordArt="0" anchor="t" anchorCtr="0" forceAA="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1387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Insights in minutes </a:t>
            </a:r>
            <a:b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b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and rich reports</a:t>
            </a:r>
          </a:p>
        </p:txBody>
      </p:sp>
      <p:sp>
        <p:nvSpPr>
          <p:cNvPr id="179" name="Rectangle 178"/>
          <p:cNvSpPr/>
          <p:nvPr/>
        </p:nvSpPr>
        <p:spPr bwMode="auto">
          <a:xfrm>
            <a:off x="2657420" y="1551132"/>
            <a:ext cx="2103120" cy="461665"/>
          </a:xfrm>
          <a:prstGeom prst="rect">
            <a:avLst/>
          </a:prstGeom>
          <a:noFill/>
          <a:ln w="6350" cap="flat" cmpd="sng" algn="ctr">
            <a:noFill/>
            <a:prstDash val="solid"/>
            <a:headEnd type="none" w="med" len="med"/>
            <a:tailEnd type="none" w="med" len="med"/>
          </a:ln>
          <a:effectLst/>
        </p:spPr>
        <p:txBody>
          <a:bodyPr rot="0" spcFirstLastPara="0" vert="horz" wrap="square" lIns="91440" tIns="45720" rIns="91401" bIns="45720" numCol="1" spcCol="0" rtlCol="0" fromWordArt="0" anchor="t" anchorCtr="0" forceAA="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13874" rtl="0" eaLnBrk="1" fontAlgn="auto" latinLnBrk="0" hangingPunct="1">
              <a:lnSpc>
                <a:spcPct val="100000"/>
              </a:lnSpc>
              <a:spcBef>
                <a:spcPts val="0"/>
              </a:spcBef>
              <a:spcAft>
                <a:spcPts val="2400"/>
              </a:spcAft>
              <a:buClrTx/>
              <a:buSzTx/>
              <a:buFontTx/>
              <a:buNone/>
              <a:tabLst/>
              <a:defRPr/>
            </a:pP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Choice of platform </a:t>
            </a:r>
            <a:b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b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and language</a:t>
            </a:r>
          </a:p>
        </p:txBody>
      </p:sp>
      <p:sp>
        <p:nvSpPr>
          <p:cNvPr id="181" name="Rectangle 180"/>
          <p:cNvSpPr/>
          <p:nvPr/>
        </p:nvSpPr>
        <p:spPr bwMode="auto">
          <a:xfrm>
            <a:off x="7433780" y="1551132"/>
            <a:ext cx="2103120" cy="461665"/>
          </a:xfrm>
          <a:prstGeom prst="rect">
            <a:avLst/>
          </a:prstGeom>
          <a:noFill/>
          <a:ln w="6350" cap="flat" cmpd="sng" algn="ctr">
            <a:noFill/>
            <a:prstDash val="solid"/>
            <a:headEnd type="none" w="med" len="med"/>
            <a:tailEnd type="none" w="med" len="med"/>
          </a:ln>
          <a:effectLst/>
        </p:spPr>
        <p:txBody>
          <a:bodyPr rot="0" spcFirstLastPara="0" vert="horz" wrap="square" lIns="91440" tIns="45720" rIns="91401" bIns="45720" numCol="1" spcCol="0" rtlCol="0" fromWordArt="0" anchor="t" anchorCtr="0" forceAA="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13874" rtl="0" eaLnBrk="1" fontAlgn="auto" latinLnBrk="0" hangingPunct="1">
              <a:lnSpc>
                <a:spcPct val="100000"/>
              </a:lnSpc>
              <a:spcBef>
                <a:spcPts val="0"/>
              </a:spcBef>
              <a:spcAft>
                <a:spcPts val="2400"/>
              </a:spcAft>
              <a:buClrTx/>
              <a:buSzTx/>
              <a:buFontTx/>
              <a:buNone/>
              <a:tabLst/>
              <a:defRPr/>
            </a:pP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Most secure </a:t>
            </a:r>
            <a:b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b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over the last 8 years</a:t>
            </a:r>
            <a:r>
              <a:rPr kumimoji="0" lang="en-US" sz="1200" b="1" i="0" u="none" strike="noStrike" kern="0" cap="none" spc="0" normalizeH="0" baseline="30000" noProof="0" dirty="0">
                <a:ln>
                  <a:noFill/>
                </a:ln>
                <a:solidFill>
                  <a:srgbClr val="0078D7"/>
                </a:solidFill>
                <a:effectLst/>
                <a:uLnTx/>
                <a:uFillTx/>
                <a:latin typeface="Segoe UI Semibold" charset="0"/>
                <a:ea typeface="Segoe UI Semibold" charset="0"/>
                <a:cs typeface="Segoe UI Semibold" charset="0"/>
              </a:rPr>
              <a:t>5</a:t>
            </a:r>
          </a:p>
        </p:txBody>
      </p:sp>
      <p:graphicFrame>
        <p:nvGraphicFramePr>
          <p:cNvPr id="185" name="Chart 184">
            <a:extLst>
              <a:ext uri="{FF2B5EF4-FFF2-40B4-BE49-F238E27FC236}">
                <a16:creationId xmlns:a16="http://schemas.microsoft.com/office/drawing/2014/main" id="{70704024-56B2-4A33-A8E4-F0C2FF875539}"/>
              </a:ext>
            </a:extLst>
          </p:cNvPr>
          <p:cNvGraphicFramePr/>
          <p:nvPr>
            <p:extLst/>
          </p:nvPr>
        </p:nvGraphicFramePr>
        <p:xfrm>
          <a:off x="7365287" y="2196545"/>
          <a:ext cx="2168521" cy="2157204"/>
        </p:xfrm>
        <a:graphic>
          <a:graphicData uri="http://schemas.openxmlformats.org/drawingml/2006/chart">
            <c:chart xmlns:c="http://schemas.openxmlformats.org/drawingml/2006/chart" xmlns:r="http://schemas.openxmlformats.org/officeDocument/2006/relationships" r:id="rId3"/>
          </a:graphicData>
        </a:graphic>
      </p:graphicFrame>
      <p:sp>
        <p:nvSpPr>
          <p:cNvPr id="187" name="AutoShape 14">
            <a:extLst>
              <a:ext uri="{FF2B5EF4-FFF2-40B4-BE49-F238E27FC236}">
                <a16:creationId xmlns:a16="http://schemas.microsoft.com/office/drawing/2014/main" id="{1E47D1B0-680A-4130-A603-76BF80068841}"/>
              </a:ext>
            </a:extLst>
          </p:cNvPr>
          <p:cNvSpPr>
            <a:spLocks noChangeAspect="1" noChangeArrowheads="1" noTextEdit="1"/>
          </p:cNvSpPr>
          <p:nvPr/>
        </p:nvSpPr>
        <p:spPr bwMode="auto">
          <a:xfrm>
            <a:off x="10452827" y="3009281"/>
            <a:ext cx="771864" cy="1055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79" tIns="44789" rIns="89579" bIns="44789" numCol="1" anchor="t" anchorCtr="0" compatLnSpc="1">
            <a:prstTxWarp prst="textNoShape">
              <a:avLst/>
            </a:prstTxWarp>
          </a:bodyPr>
          <a:lstStyle/>
          <a:p>
            <a:pPr marL="0" marR="0" lvl="0" indent="0" algn="l" defTabSz="913489" rtl="0" eaLnBrk="1" fontAlgn="auto" latinLnBrk="0" hangingPunct="1">
              <a:lnSpc>
                <a:spcPct val="100000"/>
              </a:lnSpc>
              <a:spcBef>
                <a:spcPts val="0"/>
              </a:spcBef>
              <a:spcAft>
                <a:spcPts val="0"/>
              </a:spcAft>
              <a:buClrTx/>
              <a:buSzTx/>
              <a:buFontTx/>
              <a:buNone/>
              <a:tabLst/>
              <a:defRPr/>
            </a:pPr>
            <a:endParaRPr kumimoji="0" lang="en-US" sz="1077" b="0" i="0" u="none" strike="noStrike" kern="0" cap="none" spc="0" normalizeH="0" baseline="0" noProof="0" dirty="0">
              <a:ln>
                <a:noFill/>
              </a:ln>
              <a:solidFill>
                <a:srgbClr val="505050"/>
              </a:solidFill>
              <a:effectLst/>
              <a:uLnTx/>
              <a:uFillTx/>
              <a:latin typeface="Segoe UI"/>
              <a:ea typeface="+mn-ea"/>
              <a:cs typeface="+mn-cs"/>
            </a:endParaRPr>
          </a:p>
        </p:txBody>
      </p:sp>
      <p:sp>
        <p:nvSpPr>
          <p:cNvPr id="188" name="TextBox 187">
            <a:extLst>
              <a:ext uri="{FF2B5EF4-FFF2-40B4-BE49-F238E27FC236}">
                <a16:creationId xmlns:a16="http://schemas.microsoft.com/office/drawing/2014/main" id="{A6797694-6A0A-41E4-B52E-074019ADDC8C}"/>
              </a:ext>
            </a:extLst>
          </p:cNvPr>
          <p:cNvSpPr txBox="1"/>
          <p:nvPr/>
        </p:nvSpPr>
        <p:spPr>
          <a:xfrm>
            <a:off x="9885969" y="3759349"/>
            <a:ext cx="1975102" cy="589392"/>
          </a:xfrm>
          <a:prstGeom prst="rect">
            <a:avLst/>
          </a:prstGeom>
          <a:noFill/>
        </p:spPr>
        <p:txBody>
          <a:bodyPr wrap="square" lIns="91440" tIns="45720" rIns="91440" bIns="45720" rtlCol="0" anchor="b">
            <a:spAutoFit/>
          </a:bodyPr>
          <a:lstStyle/>
          <a:p>
            <a:pPr marL="0" marR="0" lvl="0" indent="0" algn="ctr" defTabSz="930968" rtl="0" eaLnBrk="1" fontAlgn="auto" latinLnBrk="0" hangingPunct="1">
              <a:lnSpc>
                <a:spcPct val="105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The best of Power BI and</a:t>
            </a:r>
            <a:b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b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SQL Server Reporting Services in Power BI Report Server</a:t>
            </a:r>
          </a:p>
        </p:txBody>
      </p:sp>
      <p:sp>
        <p:nvSpPr>
          <p:cNvPr id="189" name="AutoShape 14">
            <a:extLst>
              <a:ext uri="{FF2B5EF4-FFF2-40B4-BE49-F238E27FC236}">
                <a16:creationId xmlns:a16="http://schemas.microsoft.com/office/drawing/2014/main" id="{E298AFF3-F594-4DF7-A51B-2E4C7EBD79D3}"/>
              </a:ext>
            </a:extLst>
          </p:cNvPr>
          <p:cNvSpPr>
            <a:spLocks noChangeAspect="1" noChangeArrowheads="1" noTextEdit="1"/>
          </p:cNvSpPr>
          <p:nvPr/>
        </p:nvSpPr>
        <p:spPr bwMode="auto">
          <a:xfrm>
            <a:off x="10407459" y="3010609"/>
            <a:ext cx="771864" cy="1055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79" tIns="44789" rIns="89579" bIns="44789" numCol="1" anchor="t" anchorCtr="0" compatLnSpc="1">
            <a:prstTxWarp prst="textNoShape">
              <a:avLst/>
            </a:prstTxWarp>
          </a:bodyPr>
          <a:lstStyle/>
          <a:p>
            <a:pPr marL="0" marR="0" lvl="0" indent="0" algn="l" defTabSz="913489" rtl="0" eaLnBrk="1" fontAlgn="auto" latinLnBrk="0" hangingPunct="1">
              <a:lnSpc>
                <a:spcPct val="100000"/>
              </a:lnSpc>
              <a:spcBef>
                <a:spcPts val="0"/>
              </a:spcBef>
              <a:spcAft>
                <a:spcPts val="0"/>
              </a:spcAft>
              <a:buClrTx/>
              <a:buSzTx/>
              <a:buFontTx/>
              <a:buNone/>
              <a:tabLst/>
              <a:defRPr/>
            </a:pPr>
            <a:endParaRPr kumimoji="0" lang="en-US" sz="1077" b="0" i="0" u="none" strike="noStrike" kern="0" cap="none" spc="0" normalizeH="0" baseline="0" noProof="0" dirty="0">
              <a:ln>
                <a:noFill/>
              </a:ln>
              <a:solidFill>
                <a:srgbClr val="002050"/>
              </a:solidFill>
              <a:effectLst/>
              <a:uLnTx/>
              <a:uFillTx/>
              <a:latin typeface="Segoe UI"/>
              <a:ea typeface="+mn-ea"/>
              <a:cs typeface="+mn-cs"/>
            </a:endParaRPr>
          </a:p>
        </p:txBody>
      </p:sp>
      <p:sp>
        <p:nvSpPr>
          <p:cNvPr id="74" name="Rectangle 73">
            <a:extLst>
              <a:ext uri="{FF2B5EF4-FFF2-40B4-BE49-F238E27FC236}">
                <a16:creationId xmlns:a16="http://schemas.microsoft.com/office/drawing/2014/main" id="{022E80B3-2E03-4ECC-8067-0F4F386FB9CD}"/>
              </a:ext>
            </a:extLst>
          </p:cNvPr>
          <p:cNvSpPr/>
          <p:nvPr/>
        </p:nvSpPr>
        <p:spPr bwMode="auto">
          <a:xfrm>
            <a:off x="5045600" y="1551132"/>
            <a:ext cx="2103120" cy="461665"/>
          </a:xfrm>
          <a:prstGeom prst="rect">
            <a:avLst/>
          </a:prstGeom>
          <a:noFill/>
          <a:ln w="6350" cap="flat" cmpd="sng" algn="ctr">
            <a:noFill/>
            <a:prstDash val="solid"/>
            <a:headEnd type="none" w="med" len="med"/>
            <a:tailEnd type="none" w="med" len="med"/>
          </a:ln>
          <a:effectLst/>
        </p:spPr>
        <p:txBody>
          <a:bodyPr rot="0" spcFirstLastPara="0" vert="horz" wrap="square" lIns="91440" tIns="45720" rIns="91401" bIns="45720" numCol="1" spcCol="0" rtlCol="0" fromWordArt="0" anchor="t" anchorCtr="0" forceAA="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13874" rtl="0" eaLnBrk="1" fontAlgn="auto" latinLnBrk="0" hangingPunct="1">
              <a:lnSpc>
                <a:spcPct val="100000"/>
              </a:lnSpc>
              <a:spcBef>
                <a:spcPts val="0"/>
              </a:spcBef>
              <a:spcAft>
                <a:spcPts val="2400"/>
              </a:spcAft>
              <a:buClrTx/>
              <a:buSzTx/>
              <a:buFontTx/>
              <a:buNone/>
              <a:tabLst/>
              <a:defRPr/>
            </a:pP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Industry-leading performance </a:t>
            </a:r>
          </a:p>
        </p:txBody>
      </p:sp>
      <p:sp>
        <p:nvSpPr>
          <p:cNvPr id="84" name="Rectangle 83">
            <a:extLst>
              <a:ext uri="{FF2B5EF4-FFF2-40B4-BE49-F238E27FC236}">
                <a16:creationId xmlns:a16="http://schemas.microsoft.com/office/drawing/2014/main" id="{FBF5AC61-8053-4CF2-8322-5A5351032DA9}"/>
              </a:ext>
            </a:extLst>
          </p:cNvPr>
          <p:cNvSpPr/>
          <p:nvPr/>
        </p:nvSpPr>
        <p:spPr>
          <a:xfrm>
            <a:off x="5245709" y="3656757"/>
            <a:ext cx="1702902" cy="691984"/>
          </a:xfrm>
          <a:prstGeom prst="rect">
            <a:avLst/>
          </a:prstGeom>
        </p:spPr>
        <p:txBody>
          <a:bodyPr wrap="square" lIns="91440" tIns="45720" rIns="91440" bIns="45720" anchor="b">
            <a:spAutoFit/>
          </a:bodyPr>
          <a:lstStyle/>
          <a:p>
            <a:pPr marL="0" marR="0" lvl="0" indent="0" algn="ctr" defTabSz="930968" rtl="0" eaLnBrk="1" fontAlgn="auto" latinLnBrk="0" hangingPunct="1">
              <a:lnSpc>
                <a:spcPct val="105000"/>
              </a:lnSpc>
              <a:spcBef>
                <a:spcPts val="0"/>
              </a:spcBef>
              <a:spcAft>
                <a:spcPts val="8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1 OLTP performance</a:t>
            </a:r>
            <a:r>
              <a:rPr kumimoji="0" lang="en-US" sz="1050" b="0" i="0" u="none" strike="noStrike" kern="0" cap="none" spc="0" normalizeH="0" baseline="3000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1</a:t>
            </a:r>
          </a:p>
          <a:p>
            <a:pPr marL="0" marR="0" lvl="0" indent="0" algn="ctr" defTabSz="930968" rtl="0" eaLnBrk="1" fontAlgn="auto" latinLnBrk="0" hangingPunct="1">
              <a:lnSpc>
                <a:spcPct val="105000"/>
              </a:lnSpc>
              <a:spcBef>
                <a:spcPts val="0"/>
              </a:spcBef>
              <a:spcAft>
                <a:spcPts val="8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1 DW performance on 1TB</a:t>
            </a:r>
            <a:r>
              <a:rPr kumimoji="0" lang="en-US" sz="1050" b="0" i="0" u="none" strike="noStrike" kern="0" cap="none" spc="0" normalizeH="0" baseline="3000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2</a:t>
            </a: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 10TB</a:t>
            </a:r>
            <a:r>
              <a:rPr kumimoji="0" lang="en-US" sz="1050" b="0" i="0" u="none" strike="noStrike" kern="0" cap="none" spc="0" normalizeH="0" baseline="3000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3</a:t>
            </a: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 and 30TB</a:t>
            </a:r>
            <a:r>
              <a:rPr kumimoji="0" lang="en-US" sz="1050" b="0" i="0" u="none" strike="noStrike" kern="0" cap="none" spc="0" normalizeH="0" baseline="3000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4</a:t>
            </a:r>
          </a:p>
        </p:txBody>
      </p:sp>
      <p:cxnSp>
        <p:nvCxnSpPr>
          <p:cNvPr id="4" name="Straight Connector 3"/>
          <p:cNvCxnSpPr/>
          <p:nvPr/>
        </p:nvCxnSpPr>
        <p:spPr>
          <a:xfrm>
            <a:off x="4903070" y="1618112"/>
            <a:ext cx="0" cy="2785331"/>
          </a:xfrm>
          <a:prstGeom prst="line">
            <a:avLst/>
          </a:prstGeom>
          <a:ln w="1270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7291250" y="1618112"/>
            <a:ext cx="0" cy="2785331"/>
          </a:xfrm>
          <a:prstGeom prst="line">
            <a:avLst/>
          </a:prstGeom>
          <a:ln w="1270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9679430" y="1618112"/>
            <a:ext cx="0" cy="2785331"/>
          </a:xfrm>
          <a:prstGeom prst="line">
            <a:avLst/>
          </a:prstGeom>
          <a:ln w="1270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2514890" y="1618112"/>
            <a:ext cx="0" cy="2785331"/>
          </a:xfrm>
          <a:prstGeom prst="line">
            <a:avLst/>
          </a:prstGeom>
          <a:ln w="1270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flipH="1">
            <a:off x="1524649" y="5588424"/>
            <a:ext cx="9142703" cy="0"/>
          </a:xfrm>
          <a:prstGeom prst="line">
            <a:avLst/>
          </a:prstGeom>
          <a:ln w="12700">
            <a:solidFill>
              <a:schemeClr val="accent1"/>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98CB4FD4-97CF-47E7-A092-5454A7632C6F}"/>
              </a:ext>
            </a:extLst>
          </p:cNvPr>
          <p:cNvSpPr txBox="1"/>
          <p:nvPr/>
        </p:nvSpPr>
        <p:spPr>
          <a:xfrm>
            <a:off x="460844" y="5766082"/>
            <a:ext cx="1063806" cy="237757"/>
          </a:xfrm>
          <a:prstGeom prst="rect">
            <a:avLst/>
          </a:prstGeom>
          <a:noFill/>
        </p:spPr>
        <p:txBody>
          <a:bodyPr wrap="square" lIns="0" rIns="0" rtlCol="0">
            <a:spAutoFit/>
          </a:bodyPr>
          <a:lstStyle>
            <a:defPPr>
              <a:defRPr lang="en-US"/>
            </a:defPPr>
            <a:lvl1pPr marR="0" lvl="0" indent="0" algn="ctr" defTabSz="931147" fontAlgn="auto">
              <a:lnSpc>
                <a:spcPct val="90000"/>
              </a:lnSpc>
              <a:spcBef>
                <a:spcPts val="0"/>
              </a:spcBef>
              <a:spcAft>
                <a:spcPts val="600"/>
              </a:spcAft>
              <a:buClrTx/>
              <a:buSzTx/>
              <a:buFontTx/>
              <a:buNone/>
              <a:tabLst/>
              <a:defRPr kumimoji="0" sz="1000" u="none" strike="noStrike" kern="0" cap="none" normalizeH="0" baseline="0">
                <a:ln>
                  <a:noFill/>
                </a:ln>
                <a:solidFill>
                  <a:srgbClr val="000000"/>
                </a:solidFill>
                <a:effectLst/>
                <a:uLnTx/>
                <a:uFillTx/>
                <a:latin typeface="Segoe UI" panose="020B0502040204020203" pitchFamily="34" charset="0"/>
                <a:ea typeface="Segoe UI Semilight" charset="0"/>
                <a:cs typeface="Segoe UI" panose="020B0502040204020203" pitchFamily="34" charset="0"/>
              </a:defRPr>
            </a:lvl1pPr>
          </a:lstStyle>
          <a:p>
            <a:pPr marL="0" marR="0" lvl="0" indent="0" algn="ctr" defTabSz="930968" rtl="0" eaLnBrk="1" fontAlgn="auto" latinLnBrk="0" hangingPunct="1">
              <a:lnSpc>
                <a:spcPct val="90000"/>
              </a:lnSpc>
              <a:spcBef>
                <a:spcPts val="0"/>
              </a:spcBef>
              <a:spcAft>
                <a:spcPts val="60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Private cloud</a:t>
            </a:r>
          </a:p>
        </p:txBody>
      </p:sp>
      <p:sp>
        <p:nvSpPr>
          <p:cNvPr id="96" name="TextBox 95">
            <a:extLst>
              <a:ext uri="{FF2B5EF4-FFF2-40B4-BE49-F238E27FC236}">
                <a16:creationId xmlns:a16="http://schemas.microsoft.com/office/drawing/2014/main" id="{31C359FF-466E-49D2-A4CE-9B356BB2FAC5}"/>
              </a:ext>
            </a:extLst>
          </p:cNvPr>
          <p:cNvSpPr txBox="1"/>
          <p:nvPr/>
        </p:nvSpPr>
        <p:spPr>
          <a:xfrm>
            <a:off x="10661992" y="5766082"/>
            <a:ext cx="1121055" cy="237757"/>
          </a:xfrm>
          <a:prstGeom prst="rect">
            <a:avLst/>
          </a:prstGeom>
          <a:noFill/>
        </p:spPr>
        <p:txBody>
          <a:bodyPr wrap="square" lIns="0" rIns="0" rtlCol="0">
            <a:spAutoFit/>
          </a:bodyPr>
          <a:lstStyle/>
          <a:p>
            <a:pPr marL="0" marR="0" lvl="0" indent="0" algn="ctr" defTabSz="930968" rtl="0" eaLnBrk="1" fontAlgn="auto" latinLnBrk="0" hangingPunct="1">
              <a:lnSpc>
                <a:spcPct val="90000"/>
              </a:lnSpc>
              <a:spcBef>
                <a:spcPts val="0"/>
              </a:spcBef>
              <a:spcAft>
                <a:spcPts val="60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Segoe UI" panose="020B0502040204020203" pitchFamily="34" charset="0"/>
                <a:ea typeface="Segoe UI Semilight" charset="0"/>
                <a:cs typeface="Segoe UI" panose="020B0502040204020203" pitchFamily="34" charset="0"/>
              </a:rPr>
              <a:t>Public cloud</a:t>
            </a:r>
          </a:p>
        </p:txBody>
      </p:sp>
      <p:sp>
        <p:nvSpPr>
          <p:cNvPr id="94" name="TextBox 93">
            <a:extLst>
              <a:ext uri="{FF2B5EF4-FFF2-40B4-BE49-F238E27FC236}">
                <a16:creationId xmlns:a16="http://schemas.microsoft.com/office/drawing/2014/main" id="{CF798B69-B547-46E4-9422-C595E65FBEE8}"/>
              </a:ext>
            </a:extLst>
          </p:cNvPr>
          <p:cNvSpPr txBox="1"/>
          <p:nvPr/>
        </p:nvSpPr>
        <p:spPr>
          <a:xfrm>
            <a:off x="7650679" y="5117544"/>
            <a:ext cx="2413098" cy="276999"/>
          </a:xfrm>
          <a:prstGeom prst="rect">
            <a:avLst/>
          </a:prstGeom>
          <a:noFill/>
        </p:spPr>
        <p:txBody>
          <a:bodyPr wrap="square" lIns="91427" tIns="45720" rIns="89580" bIns="45720" rtlCol="0" anchor="t">
            <a:spAutoFit/>
          </a:bodyPr>
          <a:lstStyle/>
          <a:p>
            <a:pPr marL="0" marR="0" lvl="0" indent="0" algn="ctr" defTabSz="913874" rtl="0" eaLnBrk="1" fontAlgn="auto" latinLnBrk="0" hangingPunct="1">
              <a:lnSpc>
                <a:spcPct val="100000"/>
              </a:lnSpc>
              <a:spcBef>
                <a:spcPts val="0"/>
              </a:spcBef>
              <a:spcAft>
                <a:spcPts val="2400"/>
              </a:spcAft>
              <a:buClrTx/>
              <a:buSzTx/>
              <a:buFontTx/>
              <a:buNone/>
              <a:tabLst/>
              <a:defRPr/>
            </a:pP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Most consistent data platform</a:t>
            </a:r>
          </a:p>
        </p:txBody>
      </p:sp>
      <p:sp>
        <p:nvSpPr>
          <p:cNvPr id="71" name="TextBox 70">
            <a:extLst>
              <a:ext uri="{FF2B5EF4-FFF2-40B4-BE49-F238E27FC236}">
                <a16:creationId xmlns:a16="http://schemas.microsoft.com/office/drawing/2014/main" id="{9386994A-C608-4664-85BD-4CF8D5666690}"/>
              </a:ext>
            </a:extLst>
          </p:cNvPr>
          <p:cNvSpPr txBox="1"/>
          <p:nvPr/>
        </p:nvSpPr>
        <p:spPr>
          <a:xfrm>
            <a:off x="2122865" y="5117543"/>
            <a:ext cx="2413098" cy="276999"/>
          </a:xfrm>
          <a:prstGeom prst="rect">
            <a:avLst/>
          </a:prstGeom>
          <a:noFill/>
        </p:spPr>
        <p:txBody>
          <a:bodyPr wrap="square" lIns="91427" tIns="45720" rIns="89580" bIns="45720" rtlCol="0" anchor="t">
            <a:spAutoFit/>
          </a:bodyPr>
          <a:lstStyle/>
          <a:p>
            <a:pPr marL="0" marR="0" lvl="0" indent="0" algn="ctr" defTabSz="913874" rtl="0" eaLnBrk="1" fontAlgn="auto" latinLnBrk="0" hangingPunct="1">
              <a:lnSpc>
                <a:spcPct val="100000"/>
              </a:lnSpc>
              <a:spcBef>
                <a:spcPts val="0"/>
              </a:spcBef>
              <a:spcAft>
                <a:spcPts val="2400"/>
              </a:spcAft>
              <a:buClrTx/>
              <a:buSzTx/>
              <a:buFontTx/>
              <a:buNone/>
              <a:tabLst/>
              <a:defRPr/>
            </a:pP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In-memory across all workloads</a:t>
            </a:r>
          </a:p>
        </p:txBody>
      </p:sp>
      <p:sp>
        <p:nvSpPr>
          <p:cNvPr id="73" name="TextBox 72">
            <a:extLst>
              <a:ext uri="{FF2B5EF4-FFF2-40B4-BE49-F238E27FC236}">
                <a16:creationId xmlns:a16="http://schemas.microsoft.com/office/drawing/2014/main" id="{DFA27AFE-6D76-8942-85DB-68D5ADD1085E}"/>
              </a:ext>
            </a:extLst>
          </p:cNvPr>
          <p:cNvSpPr txBox="1"/>
          <p:nvPr/>
        </p:nvSpPr>
        <p:spPr>
          <a:xfrm>
            <a:off x="5134177" y="5722286"/>
            <a:ext cx="1918288" cy="276999"/>
          </a:xfrm>
          <a:prstGeom prst="rect">
            <a:avLst/>
          </a:prstGeom>
          <a:noFill/>
        </p:spPr>
        <p:txBody>
          <a:bodyPr wrap="square" lIns="91427" tIns="45720" rIns="89580" bIns="45720" rtlCol="0" anchor="t">
            <a:spAutoFit/>
          </a:bodyPr>
          <a:lstStyle/>
          <a:p>
            <a:pPr marL="0" marR="0" lvl="0" indent="0" algn="ctr" defTabSz="913874" rtl="0" eaLnBrk="1" fontAlgn="auto" latinLnBrk="0" hangingPunct="1">
              <a:lnSpc>
                <a:spcPct val="100000"/>
              </a:lnSpc>
              <a:spcBef>
                <a:spcPts val="0"/>
              </a:spcBef>
              <a:spcAft>
                <a:spcPts val="2400"/>
              </a:spcAft>
              <a:buClrTx/>
              <a:buSzTx/>
              <a:buFontTx/>
              <a:buNone/>
              <a:tabLst/>
              <a:defRPr/>
            </a:pP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1/10th the cost of Oracle </a:t>
            </a:r>
          </a:p>
        </p:txBody>
      </p:sp>
      <p:cxnSp>
        <p:nvCxnSpPr>
          <p:cNvPr id="14" name="Straight Connector 13">
            <a:extLst>
              <a:ext uri="{FF2B5EF4-FFF2-40B4-BE49-F238E27FC236}">
                <a16:creationId xmlns:a16="http://schemas.microsoft.com/office/drawing/2014/main" id="{DDF4C9EF-4D25-BB46-A996-4BE7C437FD40}"/>
              </a:ext>
            </a:extLst>
          </p:cNvPr>
          <p:cNvCxnSpPr/>
          <p:nvPr/>
        </p:nvCxnSpPr>
        <p:spPr>
          <a:xfrm>
            <a:off x="458000" y="4760947"/>
            <a:ext cx="11276001" cy="0"/>
          </a:xfrm>
          <a:prstGeom prst="line">
            <a:avLst/>
          </a:prstGeom>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1E93E66-A25D-5246-A907-E68C67C2DB7C}"/>
              </a:ext>
            </a:extLst>
          </p:cNvPr>
          <p:cNvGrpSpPr/>
          <p:nvPr/>
        </p:nvGrpSpPr>
        <p:grpSpPr>
          <a:xfrm>
            <a:off x="2669398" y="3715665"/>
            <a:ext cx="2219096" cy="633082"/>
            <a:chOff x="426355" y="3363322"/>
            <a:chExt cx="2112468" cy="633171"/>
          </a:xfrm>
        </p:grpSpPr>
        <p:sp>
          <p:nvSpPr>
            <p:cNvPr id="120" name="Rectangle 119">
              <a:extLst>
                <a:ext uri="{FF2B5EF4-FFF2-40B4-BE49-F238E27FC236}">
                  <a16:creationId xmlns:a16="http://schemas.microsoft.com/office/drawing/2014/main" id="{B3AB2A48-C320-4C78-AFD0-49834DFB3951}"/>
                </a:ext>
              </a:extLst>
            </p:cNvPr>
            <p:cNvSpPr/>
            <p:nvPr/>
          </p:nvSpPr>
          <p:spPr>
            <a:xfrm>
              <a:off x="426355" y="3368028"/>
              <a:ext cx="558814" cy="628465"/>
            </a:xfrm>
            <a:prstGeom prst="rect">
              <a:avLst/>
            </a:prstGeom>
            <a:ln>
              <a:noFill/>
            </a:ln>
          </p:spPr>
          <p:txBody>
            <a:bodyPr wrap="none" lIns="91440" tIns="45720" rIns="91440" bIns="45720" anchor="b">
              <a:spAutoFit/>
            </a:bodyPr>
            <a:lstStyle/>
            <a:p>
              <a:pPr marL="0" marR="0" lvl="0" indent="0" algn="l" defTabSz="932418" rtl="0" eaLnBrk="1" fontAlgn="auto" latinLnBrk="0" hangingPunct="1">
                <a:lnSpc>
                  <a:spcPct val="100000"/>
                </a:lnSpc>
                <a:spcBef>
                  <a:spcPts val="0"/>
                </a:spcBef>
                <a:spcAft>
                  <a:spcPts val="2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bold" charset="0"/>
                  <a:cs typeface="Segoe UI" panose="020B0502040204020203" pitchFamily="34" charset="0"/>
                </a:rPr>
                <a:t>T-SQL</a:t>
              </a:r>
            </a:p>
            <a:p>
              <a:pPr marL="0" marR="0" lvl="0" indent="0" algn="l" defTabSz="932418" rtl="0" eaLnBrk="1" fontAlgn="auto" latinLnBrk="0" hangingPunct="1">
                <a:lnSpc>
                  <a:spcPct val="100000"/>
                </a:lnSpc>
                <a:spcBef>
                  <a:spcPts val="0"/>
                </a:spcBef>
                <a:spcAft>
                  <a:spcPts val="2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bold" charset="0"/>
                  <a:cs typeface="Segoe UI" panose="020B0502040204020203" pitchFamily="34" charset="0"/>
                </a:rPr>
                <a:t>Java</a:t>
              </a:r>
            </a:p>
            <a:p>
              <a:pPr marL="0" marR="0" lvl="0" indent="0" algn="l" defTabSz="932418" rtl="0" eaLnBrk="1" fontAlgn="auto" latinLnBrk="0" hangingPunct="1">
                <a:lnSpc>
                  <a:spcPct val="100000"/>
                </a:lnSpc>
                <a:spcBef>
                  <a:spcPts val="0"/>
                </a:spcBef>
                <a:spcAft>
                  <a:spcPts val="2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bold" charset="0"/>
                  <a:cs typeface="Segoe UI" panose="020B0502040204020203" pitchFamily="34" charset="0"/>
                </a:rPr>
                <a:t>C/C++</a:t>
              </a:r>
            </a:p>
          </p:txBody>
        </p:sp>
        <p:sp>
          <p:nvSpPr>
            <p:cNvPr id="121" name="Rectangle 120">
              <a:extLst>
                <a:ext uri="{FF2B5EF4-FFF2-40B4-BE49-F238E27FC236}">
                  <a16:creationId xmlns:a16="http://schemas.microsoft.com/office/drawing/2014/main" id="{A3A2A1D3-E641-40CD-B46F-2D004DE06085}"/>
                </a:ext>
              </a:extLst>
            </p:cNvPr>
            <p:cNvSpPr/>
            <p:nvPr/>
          </p:nvSpPr>
          <p:spPr>
            <a:xfrm>
              <a:off x="1064828" y="3368027"/>
              <a:ext cx="797014" cy="628466"/>
            </a:xfrm>
            <a:prstGeom prst="rect">
              <a:avLst/>
            </a:prstGeom>
            <a:ln>
              <a:noFill/>
            </a:ln>
          </p:spPr>
          <p:txBody>
            <a:bodyPr wrap="square" lIns="91440" tIns="45720" rIns="91440" bIns="45720" anchor="b">
              <a:spAutoFit/>
            </a:bodyPr>
            <a:lstStyle/>
            <a:p>
              <a:pPr marL="0" marR="0" lvl="0" indent="0" algn="l" defTabSz="932418" rtl="0" eaLnBrk="1" fontAlgn="auto" latinLnBrk="0" hangingPunct="1">
                <a:lnSpc>
                  <a:spcPct val="100000"/>
                </a:lnSpc>
                <a:spcBef>
                  <a:spcPts val="0"/>
                </a:spcBef>
                <a:spcAft>
                  <a:spcPts val="2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bold" charset="0"/>
                  <a:cs typeface="Segoe UI" panose="020B0502040204020203" pitchFamily="34" charset="0"/>
                </a:rPr>
                <a:t>SCALA</a:t>
              </a:r>
            </a:p>
            <a:p>
              <a:pPr marL="0" marR="0" lvl="0" indent="0" algn="l" defTabSz="932418" rtl="0" eaLnBrk="1" fontAlgn="auto" latinLnBrk="0" hangingPunct="1">
                <a:lnSpc>
                  <a:spcPct val="100000"/>
                </a:lnSpc>
                <a:spcBef>
                  <a:spcPts val="0"/>
                </a:spcBef>
                <a:spcAft>
                  <a:spcPts val="2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bold" charset="0"/>
                  <a:cs typeface="Segoe UI" panose="020B0502040204020203" pitchFamily="34" charset="0"/>
                </a:rPr>
                <a:t>Node.js</a:t>
              </a:r>
            </a:p>
            <a:p>
              <a:pPr marL="0" marR="0" lvl="0" indent="0" algn="l" defTabSz="932418" rtl="0" eaLnBrk="1" fontAlgn="auto" latinLnBrk="0" hangingPunct="1">
                <a:lnSpc>
                  <a:spcPct val="100000"/>
                </a:lnSpc>
                <a:spcBef>
                  <a:spcPts val="0"/>
                </a:spcBef>
                <a:spcAft>
                  <a:spcPts val="2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bold" charset="0"/>
                  <a:cs typeface="Segoe UI" panose="020B0502040204020203" pitchFamily="34" charset="0"/>
                </a:rPr>
                <a:t>C#/VB.NET</a:t>
              </a:r>
            </a:p>
          </p:txBody>
        </p:sp>
        <p:sp>
          <p:nvSpPr>
            <p:cNvPr id="131" name="Rectangle 130">
              <a:extLst>
                <a:ext uri="{FF2B5EF4-FFF2-40B4-BE49-F238E27FC236}">
                  <a16:creationId xmlns:a16="http://schemas.microsoft.com/office/drawing/2014/main" id="{40CB3735-6ACF-A240-835F-7C0EE74CE7A9}"/>
                </a:ext>
              </a:extLst>
            </p:cNvPr>
            <p:cNvSpPr/>
            <p:nvPr/>
          </p:nvSpPr>
          <p:spPr>
            <a:xfrm>
              <a:off x="1827412" y="3363322"/>
              <a:ext cx="711411" cy="628465"/>
            </a:xfrm>
            <a:prstGeom prst="rect">
              <a:avLst/>
            </a:prstGeom>
            <a:ln>
              <a:noFill/>
            </a:ln>
          </p:spPr>
          <p:txBody>
            <a:bodyPr wrap="none" lIns="91440" tIns="45720" rIns="91440" bIns="45720" anchor="b">
              <a:spAutoFit/>
            </a:bodyPr>
            <a:lstStyle/>
            <a:p>
              <a:pPr marL="0" marR="0" lvl="0" indent="0" algn="l" defTabSz="932418" rtl="0" eaLnBrk="1" fontAlgn="auto" latinLnBrk="0" hangingPunct="1">
                <a:lnSpc>
                  <a:spcPct val="100000"/>
                </a:lnSpc>
                <a:spcBef>
                  <a:spcPts val="0"/>
                </a:spcBef>
                <a:spcAft>
                  <a:spcPts val="2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bold" charset="0"/>
                  <a:cs typeface="Segoe UI" panose="020B0502040204020203" pitchFamily="34" charset="0"/>
                </a:rPr>
                <a:t>Python</a:t>
              </a:r>
            </a:p>
            <a:p>
              <a:pPr marL="0" marR="0" lvl="0" indent="0" algn="l" defTabSz="932418" rtl="0" eaLnBrk="1" fontAlgn="auto" latinLnBrk="0" hangingPunct="1">
                <a:lnSpc>
                  <a:spcPct val="100000"/>
                </a:lnSpc>
                <a:spcBef>
                  <a:spcPts val="0"/>
                </a:spcBef>
                <a:spcAft>
                  <a:spcPts val="2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bold" charset="0"/>
                  <a:cs typeface="Segoe UI" panose="020B0502040204020203" pitchFamily="34" charset="0"/>
                </a:rPr>
                <a:t>Ruby</a:t>
              </a:r>
            </a:p>
            <a:p>
              <a:pPr marL="0" marR="0" lvl="0" indent="0" algn="l" defTabSz="932418" rtl="0" eaLnBrk="1" fontAlgn="auto" latinLnBrk="0" hangingPunct="1">
                <a:lnSpc>
                  <a:spcPct val="100000"/>
                </a:lnSpc>
                <a:spcBef>
                  <a:spcPts val="0"/>
                </a:spcBef>
                <a:spcAft>
                  <a:spcPts val="2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bold" charset="0"/>
                  <a:cs typeface="Segoe UI" panose="020B0502040204020203" pitchFamily="34" charset="0"/>
                </a:rPr>
                <a:t>.NET core</a:t>
              </a:r>
            </a:p>
          </p:txBody>
        </p:sp>
      </p:grpSp>
      <p:sp>
        <p:nvSpPr>
          <p:cNvPr id="78" name="TextBox 77">
            <a:extLst>
              <a:ext uri="{FF2B5EF4-FFF2-40B4-BE49-F238E27FC236}">
                <a16:creationId xmlns:a16="http://schemas.microsoft.com/office/drawing/2014/main" id="{0C6ED57D-B16F-654D-84A3-3A6EE518B6B7}"/>
              </a:ext>
            </a:extLst>
          </p:cNvPr>
          <p:cNvSpPr txBox="1"/>
          <p:nvPr/>
        </p:nvSpPr>
        <p:spPr>
          <a:xfrm>
            <a:off x="269240" y="6365795"/>
            <a:ext cx="9045303" cy="390862"/>
          </a:xfrm>
          <a:prstGeom prst="rect">
            <a:avLst/>
          </a:prstGeom>
          <a:noFill/>
        </p:spPr>
        <p:txBody>
          <a:bodyPr wrap="square" lIns="91427" tIns="45713" rIns="91427" bIns="45713"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dirty="0">
                <a:ln>
                  <a:noFill/>
                </a:ln>
                <a:solidFill>
                  <a:srgbClr val="757575"/>
                </a:solidFill>
                <a:effectLst/>
                <a:uLnTx/>
                <a:uFillTx/>
                <a:latin typeface="Segoe UI"/>
                <a:ea typeface="+mn-ea"/>
                <a:cs typeface="+mn-cs"/>
              </a:rPr>
              <a:t>All TPC Claims as of 1/19/2018.</a:t>
            </a:r>
          </a:p>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30000" noProof="0" dirty="0">
                <a:ln>
                  <a:noFill/>
                </a:ln>
                <a:solidFill>
                  <a:srgbClr val="757575"/>
                </a:solidFill>
                <a:effectLst/>
                <a:uLnTx/>
                <a:uFillTx/>
                <a:latin typeface="Segoe UI"/>
                <a:ea typeface="+mn-ea"/>
                <a:cs typeface="+mn-cs"/>
              </a:rPr>
              <a:t>1 </a:t>
            </a:r>
            <a:r>
              <a:rPr kumimoji="0" lang="en-US" sz="800" b="0" i="0" u="none" strike="noStrike" kern="1200" cap="none" spc="0" normalizeH="0" baseline="0" noProof="0" dirty="0">
                <a:ln>
                  <a:noFill/>
                </a:ln>
                <a:solidFill>
                  <a:srgbClr val="757575"/>
                </a:solidFill>
                <a:effectLst/>
                <a:uLnTx/>
                <a:uFillTx/>
                <a:latin typeface="Segoe UI"/>
                <a:ea typeface="+mn-ea"/>
                <a:cs typeface="+mn-cs"/>
                <a:hlinkClick r:id="rId4"/>
              </a:rPr>
              <a:t>http://www.tpc.org/4081</a:t>
            </a:r>
            <a:r>
              <a:rPr kumimoji="0" lang="en-US" sz="800" b="0" i="0" u="none" strike="noStrike" kern="1200" cap="none" spc="0" normalizeH="0" baseline="0" noProof="0" dirty="0">
                <a:ln>
                  <a:noFill/>
                </a:ln>
                <a:solidFill>
                  <a:srgbClr val="757575"/>
                </a:solidFill>
                <a:effectLst/>
                <a:uLnTx/>
                <a:uFillTx/>
                <a:latin typeface="Segoe UI"/>
                <a:ea typeface="+mn-ea"/>
                <a:cs typeface="+mn-cs"/>
              </a:rPr>
              <a:t>; </a:t>
            </a:r>
            <a:r>
              <a:rPr kumimoji="0" lang="en-US" sz="800" b="0" i="0" u="none" strike="noStrike" kern="1200" cap="none" spc="0" normalizeH="0" baseline="30000" noProof="0" dirty="0">
                <a:ln>
                  <a:noFill/>
                </a:ln>
                <a:solidFill>
                  <a:srgbClr val="757575"/>
                </a:solidFill>
                <a:effectLst/>
                <a:uLnTx/>
                <a:uFillTx/>
                <a:latin typeface="Segoe UI"/>
                <a:ea typeface="+mn-ea"/>
                <a:cs typeface="+mn-cs"/>
              </a:rPr>
              <a:t>2 </a:t>
            </a:r>
            <a:r>
              <a:rPr kumimoji="0" lang="en-US" sz="800" b="0" i="0" u="none" strike="noStrike" kern="1200" cap="none" spc="0" normalizeH="0" baseline="0" noProof="0" dirty="0">
                <a:ln>
                  <a:noFill/>
                </a:ln>
                <a:solidFill>
                  <a:srgbClr val="757575"/>
                </a:solidFill>
                <a:effectLst/>
                <a:uLnTx/>
                <a:uFillTx/>
                <a:latin typeface="Segoe UI"/>
                <a:ea typeface="+mn-ea"/>
                <a:cs typeface="+mn-cs"/>
                <a:hlinkClick r:id="rId5"/>
              </a:rPr>
              <a:t>http://www.tpc.org/3331</a:t>
            </a:r>
            <a:r>
              <a:rPr kumimoji="0" lang="en-US" sz="800" b="0" i="0" u="none" strike="noStrike" kern="1200" cap="none" spc="0" normalizeH="0" baseline="0" noProof="0" dirty="0">
                <a:ln>
                  <a:noFill/>
                </a:ln>
                <a:solidFill>
                  <a:srgbClr val="757575"/>
                </a:solidFill>
                <a:effectLst/>
                <a:uLnTx/>
                <a:uFillTx/>
                <a:latin typeface="Segoe UI"/>
                <a:ea typeface="+mn-ea"/>
                <a:cs typeface="+mn-cs"/>
              </a:rPr>
              <a:t>; </a:t>
            </a:r>
            <a:r>
              <a:rPr kumimoji="0" lang="en-US" sz="800" b="0" i="0" u="none" strike="noStrike" kern="1200" cap="none" spc="0" normalizeH="0" baseline="30000" noProof="0" dirty="0">
                <a:ln>
                  <a:noFill/>
                </a:ln>
                <a:solidFill>
                  <a:srgbClr val="757575"/>
                </a:solidFill>
                <a:effectLst/>
                <a:uLnTx/>
                <a:uFillTx/>
                <a:latin typeface="Segoe UI"/>
                <a:ea typeface="+mn-ea"/>
                <a:cs typeface="+mn-cs"/>
              </a:rPr>
              <a:t>3 </a:t>
            </a:r>
            <a:r>
              <a:rPr kumimoji="0" lang="en-US" sz="800" b="0" i="0" u="none" strike="noStrike" kern="1200" cap="none" spc="0" normalizeH="0" baseline="0" noProof="0" dirty="0">
                <a:ln>
                  <a:noFill/>
                </a:ln>
                <a:solidFill>
                  <a:srgbClr val="757575"/>
                </a:solidFill>
                <a:effectLst/>
                <a:uLnTx/>
                <a:uFillTx/>
                <a:latin typeface="Segoe UI"/>
                <a:ea typeface="+mn-ea"/>
                <a:cs typeface="+mn-cs"/>
                <a:hlinkClick r:id="rId6"/>
              </a:rPr>
              <a:t>http://www.tpc.org/3326</a:t>
            </a:r>
            <a:r>
              <a:rPr kumimoji="0" lang="en-US" sz="800" b="0" i="0" u="none" strike="noStrike" kern="1200" cap="none" spc="0" normalizeH="0" baseline="0" noProof="0" dirty="0">
                <a:ln>
                  <a:noFill/>
                </a:ln>
                <a:solidFill>
                  <a:srgbClr val="757575"/>
                </a:solidFill>
                <a:effectLst/>
                <a:uLnTx/>
                <a:uFillTx/>
                <a:latin typeface="Segoe UI"/>
                <a:ea typeface="+mn-ea"/>
                <a:cs typeface="+mn-cs"/>
              </a:rPr>
              <a:t>; </a:t>
            </a:r>
            <a:r>
              <a:rPr kumimoji="0" lang="en-US" sz="800" b="0" i="0" u="none" strike="noStrike" kern="1200" cap="none" spc="0" normalizeH="0" baseline="30000" noProof="0" dirty="0">
                <a:ln>
                  <a:noFill/>
                </a:ln>
                <a:solidFill>
                  <a:srgbClr val="757575"/>
                </a:solidFill>
                <a:effectLst/>
                <a:uLnTx/>
                <a:uFillTx/>
                <a:latin typeface="Segoe UI"/>
                <a:ea typeface="+mn-ea"/>
                <a:cs typeface="+mn-cs"/>
              </a:rPr>
              <a:t>4 </a:t>
            </a:r>
            <a:r>
              <a:rPr kumimoji="0" lang="en-US" sz="800" b="0" i="0" u="none" strike="noStrike" kern="1200" cap="none" spc="0" normalizeH="0" baseline="0" noProof="0" dirty="0">
                <a:ln>
                  <a:noFill/>
                </a:ln>
                <a:solidFill>
                  <a:srgbClr val="757575"/>
                </a:solidFill>
                <a:effectLst/>
                <a:uLnTx/>
                <a:uFillTx/>
                <a:latin typeface="Segoe UI"/>
                <a:ea typeface="+mn-ea"/>
                <a:cs typeface="+mn-cs"/>
                <a:hlinkClick r:id="rId7"/>
              </a:rPr>
              <a:t>http://www.tpc.org/3321</a:t>
            </a:r>
            <a:r>
              <a:rPr kumimoji="0" lang="en-US" sz="800" b="0" i="0" u="none" strike="noStrike" kern="1200" cap="none" spc="0" normalizeH="0" baseline="0" noProof="0" dirty="0">
                <a:ln>
                  <a:noFill/>
                </a:ln>
                <a:solidFill>
                  <a:srgbClr val="757575"/>
                </a:solidFill>
                <a:effectLst/>
                <a:uLnTx/>
                <a:uFillTx/>
                <a:latin typeface="Segoe UI"/>
                <a:ea typeface="+mn-ea"/>
                <a:cs typeface="+mn-cs"/>
              </a:rPr>
              <a:t>; </a:t>
            </a:r>
            <a:r>
              <a:rPr kumimoji="0" lang="en-US" sz="800" b="0" i="0" u="none" strike="noStrike" kern="1200" cap="none" spc="0" normalizeH="0" baseline="30000" noProof="0" dirty="0">
                <a:ln>
                  <a:noFill/>
                </a:ln>
                <a:solidFill>
                  <a:srgbClr val="757575"/>
                </a:solidFill>
                <a:effectLst/>
                <a:uLnTx/>
                <a:uFillTx/>
                <a:latin typeface="Segoe UI"/>
                <a:ea typeface="+mn-ea"/>
                <a:cs typeface="+mn-cs"/>
              </a:rPr>
              <a:t>5 </a:t>
            </a:r>
            <a:r>
              <a:rPr kumimoji="0" lang="en-US" sz="800" b="0" i="0" u="none" strike="noStrike" kern="1200" cap="none" spc="0" normalizeH="0" baseline="0" noProof="0" dirty="0">
                <a:ln>
                  <a:noFill/>
                </a:ln>
                <a:solidFill>
                  <a:srgbClr val="757575"/>
                </a:solidFill>
                <a:effectLst/>
                <a:uLnTx/>
                <a:uFillTx/>
                <a:latin typeface="Segoe UI"/>
                <a:ea typeface="+mn-ea"/>
                <a:cs typeface="+mn-cs"/>
              </a:rPr>
              <a:t>National Institute of Standards and Technology Comprehensive Vulnerability Database</a:t>
            </a:r>
          </a:p>
        </p:txBody>
      </p:sp>
      <p:sp>
        <p:nvSpPr>
          <p:cNvPr id="79" name="Rectangle 78">
            <a:extLst>
              <a:ext uri="{FF2B5EF4-FFF2-40B4-BE49-F238E27FC236}">
                <a16:creationId xmlns:a16="http://schemas.microsoft.com/office/drawing/2014/main" id="{CB743499-36D6-4E44-8087-32FB8636F525}"/>
              </a:ext>
            </a:extLst>
          </p:cNvPr>
          <p:cNvSpPr/>
          <p:nvPr/>
        </p:nvSpPr>
        <p:spPr bwMode="auto">
          <a:xfrm>
            <a:off x="292100" y="1551132"/>
            <a:ext cx="2103120" cy="461665"/>
          </a:xfrm>
          <a:prstGeom prst="rect">
            <a:avLst/>
          </a:prstGeom>
          <a:noFill/>
          <a:ln w="6350" cap="flat" cmpd="sng" algn="ctr">
            <a:noFill/>
            <a:prstDash val="solid"/>
            <a:headEnd type="none" w="med" len="med"/>
            <a:tailEnd type="none" w="med" len="med"/>
          </a:ln>
          <a:effectLst/>
        </p:spPr>
        <p:txBody>
          <a:bodyPr rot="0" spcFirstLastPara="0" vert="horz" wrap="square" lIns="91440" tIns="45720" rIns="91401" bIns="45720" numCol="1" spcCol="0" rtlCol="0" fromWordArt="0" anchor="t" anchorCtr="0" forceAA="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13874" rtl="0" eaLnBrk="1" fontAlgn="auto" latinLnBrk="0" hangingPunct="1">
              <a:lnSpc>
                <a:spcPct val="100000"/>
              </a:lnSpc>
              <a:spcBef>
                <a:spcPts val="0"/>
              </a:spcBef>
              <a:spcAft>
                <a:spcPts val="2400"/>
              </a:spcAft>
              <a:buClrTx/>
              <a:buSzTx/>
              <a:buFontTx/>
              <a:buNone/>
              <a:tabLst/>
              <a:defRPr/>
            </a:pP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Intelligence over </a:t>
            </a:r>
            <a:b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b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any data</a:t>
            </a:r>
          </a:p>
        </p:txBody>
      </p:sp>
      <p:sp>
        <p:nvSpPr>
          <p:cNvPr id="80" name="TextBox 79">
            <a:extLst>
              <a:ext uri="{FF2B5EF4-FFF2-40B4-BE49-F238E27FC236}">
                <a16:creationId xmlns:a16="http://schemas.microsoft.com/office/drawing/2014/main" id="{8901B3AF-5365-41DB-88FC-AFF41EFC63AF}"/>
              </a:ext>
            </a:extLst>
          </p:cNvPr>
          <p:cNvSpPr txBox="1"/>
          <p:nvPr/>
        </p:nvSpPr>
        <p:spPr>
          <a:xfrm>
            <a:off x="397137" y="3589687"/>
            <a:ext cx="1893046" cy="759054"/>
          </a:xfrm>
          <a:prstGeom prst="rect">
            <a:avLst/>
          </a:prstGeom>
          <a:noFill/>
        </p:spPr>
        <p:txBody>
          <a:bodyPr wrap="square" lIns="91440" tIns="45720" rIns="91440" bIns="45720" rtlCol="0" anchor="b">
            <a:spAutoFit/>
          </a:bodyPr>
          <a:lstStyle/>
          <a:p>
            <a:pPr marL="0" marR="0" lvl="0" indent="0" algn="ctr" defTabSz="930968" rtl="0" eaLnBrk="1" fontAlgn="auto" latinLnBrk="0" hangingPunct="1">
              <a:lnSpc>
                <a:spcPct val="105000"/>
              </a:lnSpc>
              <a:spcBef>
                <a:spcPts val="0"/>
              </a:spcBef>
              <a:spcAft>
                <a:spcPts val="8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Analytics over structured and unstructured data with the power of SQL and Apache Spark</a:t>
            </a:r>
          </a:p>
        </p:txBody>
      </p:sp>
      <p:grpSp>
        <p:nvGrpSpPr>
          <p:cNvPr id="87" name="Group 86">
            <a:extLst>
              <a:ext uri="{FF2B5EF4-FFF2-40B4-BE49-F238E27FC236}">
                <a16:creationId xmlns:a16="http://schemas.microsoft.com/office/drawing/2014/main" id="{2210F0E3-F2E0-48B1-83DC-3D88C6093AC1}"/>
              </a:ext>
            </a:extLst>
          </p:cNvPr>
          <p:cNvGrpSpPr/>
          <p:nvPr/>
        </p:nvGrpSpPr>
        <p:grpSpPr>
          <a:xfrm>
            <a:off x="5848604" y="2419996"/>
            <a:ext cx="443532" cy="721412"/>
            <a:chOff x="3495760" y="2740747"/>
            <a:chExt cx="501706" cy="816037"/>
          </a:xfrm>
        </p:grpSpPr>
        <p:grpSp>
          <p:nvGrpSpPr>
            <p:cNvPr id="88" name="Group 87">
              <a:extLst>
                <a:ext uri="{FF2B5EF4-FFF2-40B4-BE49-F238E27FC236}">
                  <a16:creationId xmlns:a16="http://schemas.microsoft.com/office/drawing/2014/main" id="{163C1433-8829-427F-9AE5-622E16361347}"/>
                </a:ext>
              </a:extLst>
            </p:cNvPr>
            <p:cNvGrpSpPr/>
            <p:nvPr/>
          </p:nvGrpSpPr>
          <p:grpSpPr>
            <a:xfrm>
              <a:off x="3495760" y="2740747"/>
              <a:ext cx="501706" cy="816037"/>
              <a:chOff x="3511944" y="2617100"/>
              <a:chExt cx="425505" cy="692094"/>
            </a:xfrm>
          </p:grpSpPr>
          <p:sp>
            <p:nvSpPr>
              <p:cNvPr id="90" name="Freeform 100">
                <a:extLst>
                  <a:ext uri="{FF2B5EF4-FFF2-40B4-BE49-F238E27FC236}">
                    <a16:creationId xmlns:a16="http://schemas.microsoft.com/office/drawing/2014/main" id="{BFDC7C1B-EC06-492A-AB86-F64F507DF5AC}"/>
                  </a:ext>
                </a:extLst>
              </p:cNvPr>
              <p:cNvSpPr/>
              <p:nvPr/>
            </p:nvSpPr>
            <p:spPr bwMode="auto">
              <a:xfrm>
                <a:off x="3560496" y="2929318"/>
                <a:ext cx="331773" cy="379876"/>
              </a:xfrm>
              <a:custGeom>
                <a:avLst/>
                <a:gdLst>
                  <a:gd name="connsiteX0" fmla="*/ 0 w 331773"/>
                  <a:gd name="connsiteY0" fmla="*/ 0 h 379876"/>
                  <a:gd name="connsiteX1" fmla="*/ 331773 w 331773"/>
                  <a:gd name="connsiteY1" fmla="*/ 0 h 379876"/>
                  <a:gd name="connsiteX2" fmla="*/ 331773 w 331773"/>
                  <a:gd name="connsiteY2" fmla="*/ 376430 h 379876"/>
                  <a:gd name="connsiteX3" fmla="*/ 169932 w 331773"/>
                  <a:gd name="connsiteY3" fmla="*/ 307498 h 379876"/>
                  <a:gd name="connsiteX4" fmla="*/ 0 w 331773"/>
                  <a:gd name="connsiteY4" fmla="*/ 379876 h 379876"/>
                  <a:gd name="connsiteX5" fmla="*/ 0 w 331773"/>
                  <a:gd name="connsiteY5" fmla="*/ 0 h 379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1773" h="379876">
                    <a:moveTo>
                      <a:pt x="0" y="0"/>
                    </a:moveTo>
                    <a:lnTo>
                      <a:pt x="331773" y="0"/>
                    </a:lnTo>
                    <a:lnTo>
                      <a:pt x="331773" y="376430"/>
                    </a:lnTo>
                    <a:lnTo>
                      <a:pt x="169932" y="307498"/>
                    </a:lnTo>
                    <a:lnTo>
                      <a:pt x="0" y="379876"/>
                    </a:lnTo>
                    <a:lnTo>
                      <a:pt x="0" y="0"/>
                    </a:ln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Oval 94">
                <a:extLst>
                  <a:ext uri="{FF2B5EF4-FFF2-40B4-BE49-F238E27FC236}">
                    <a16:creationId xmlns:a16="http://schemas.microsoft.com/office/drawing/2014/main" id="{BED146B2-B061-42DC-A88F-D941B7B0CA28}"/>
                  </a:ext>
                </a:extLst>
              </p:cNvPr>
              <p:cNvSpPr/>
              <p:nvPr/>
            </p:nvSpPr>
            <p:spPr bwMode="auto">
              <a:xfrm>
                <a:off x="3511944" y="2617100"/>
                <a:ext cx="425505" cy="425505"/>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9" name="check">
              <a:extLst>
                <a:ext uri="{FF2B5EF4-FFF2-40B4-BE49-F238E27FC236}">
                  <a16:creationId xmlns:a16="http://schemas.microsoft.com/office/drawing/2014/main" id="{A6E9677E-0963-4F06-8AE6-AC546A6C3A44}"/>
                </a:ext>
              </a:extLst>
            </p:cNvPr>
            <p:cNvSpPr>
              <a:spLocks noChangeAspect="1"/>
            </p:cNvSpPr>
            <p:nvPr/>
          </p:nvSpPr>
          <p:spPr bwMode="auto">
            <a:xfrm>
              <a:off x="3625157" y="2897140"/>
              <a:ext cx="257798" cy="182034"/>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grpSp>
      <p:grpSp>
        <p:nvGrpSpPr>
          <p:cNvPr id="97" name="Group 96">
            <a:extLst>
              <a:ext uri="{FF2B5EF4-FFF2-40B4-BE49-F238E27FC236}">
                <a16:creationId xmlns:a16="http://schemas.microsoft.com/office/drawing/2014/main" id="{3496FD69-5FB6-4E36-8C4C-E1435620D1D2}"/>
              </a:ext>
            </a:extLst>
          </p:cNvPr>
          <p:cNvGrpSpPr/>
          <p:nvPr/>
        </p:nvGrpSpPr>
        <p:grpSpPr>
          <a:xfrm>
            <a:off x="688345" y="5231389"/>
            <a:ext cx="616201" cy="474669"/>
            <a:chOff x="688345" y="5312797"/>
            <a:chExt cx="616201" cy="474669"/>
          </a:xfrm>
        </p:grpSpPr>
        <p:sp>
          <p:nvSpPr>
            <p:cNvPr id="98" name="Rectangle 97">
              <a:extLst>
                <a:ext uri="{FF2B5EF4-FFF2-40B4-BE49-F238E27FC236}">
                  <a16:creationId xmlns:a16="http://schemas.microsoft.com/office/drawing/2014/main" id="{C1BD928E-5327-4D3A-AC26-ADA1F8EC1DED}"/>
                </a:ext>
              </a:extLst>
            </p:cNvPr>
            <p:cNvSpPr/>
            <p:nvPr/>
          </p:nvSpPr>
          <p:spPr bwMode="auto">
            <a:xfrm>
              <a:off x="688345" y="5312797"/>
              <a:ext cx="227991" cy="474669"/>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 name="Rectangle 98">
              <a:extLst>
                <a:ext uri="{FF2B5EF4-FFF2-40B4-BE49-F238E27FC236}">
                  <a16:creationId xmlns:a16="http://schemas.microsoft.com/office/drawing/2014/main" id="{3977BB6D-9BEE-4404-A764-B527F91F2858}"/>
                </a:ext>
              </a:extLst>
            </p:cNvPr>
            <p:cNvSpPr/>
            <p:nvPr/>
          </p:nvSpPr>
          <p:spPr bwMode="auto">
            <a:xfrm>
              <a:off x="942003" y="5432398"/>
              <a:ext cx="227991" cy="355068"/>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Rectangle 100">
              <a:extLst>
                <a:ext uri="{FF2B5EF4-FFF2-40B4-BE49-F238E27FC236}">
                  <a16:creationId xmlns:a16="http://schemas.microsoft.com/office/drawing/2014/main" id="{5D44C461-3634-4C37-8DE5-A6E571903A1D}"/>
                </a:ext>
              </a:extLst>
            </p:cNvPr>
            <p:cNvSpPr/>
            <p:nvPr/>
          </p:nvSpPr>
          <p:spPr bwMode="auto">
            <a:xfrm>
              <a:off x="1194911" y="5552000"/>
              <a:ext cx="109635" cy="23546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 name="Rectangle 103">
              <a:extLst>
                <a:ext uri="{FF2B5EF4-FFF2-40B4-BE49-F238E27FC236}">
                  <a16:creationId xmlns:a16="http://schemas.microsoft.com/office/drawing/2014/main" id="{02F2632D-4E3B-4135-A8DD-F2B1228D56AA}"/>
                </a:ext>
              </a:extLst>
            </p:cNvPr>
            <p:cNvSpPr/>
            <p:nvPr/>
          </p:nvSpPr>
          <p:spPr bwMode="auto">
            <a:xfrm>
              <a:off x="776177" y="5686987"/>
              <a:ext cx="52326" cy="100479"/>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Rectangle 104">
              <a:extLst>
                <a:ext uri="{FF2B5EF4-FFF2-40B4-BE49-F238E27FC236}">
                  <a16:creationId xmlns:a16="http://schemas.microsoft.com/office/drawing/2014/main" id="{4723C80F-047D-4D79-96BD-1A2889AB9B51}"/>
                </a:ext>
              </a:extLst>
            </p:cNvPr>
            <p:cNvSpPr/>
            <p:nvPr/>
          </p:nvSpPr>
          <p:spPr bwMode="auto">
            <a:xfrm>
              <a:off x="1029835" y="5686987"/>
              <a:ext cx="52326" cy="100479"/>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 name="Rectangle 105">
              <a:extLst>
                <a:ext uri="{FF2B5EF4-FFF2-40B4-BE49-F238E27FC236}">
                  <a16:creationId xmlns:a16="http://schemas.microsoft.com/office/drawing/2014/main" id="{96E54AAE-59D3-40AB-9393-CF8012E09978}"/>
                </a:ext>
              </a:extLst>
            </p:cNvPr>
            <p:cNvSpPr/>
            <p:nvPr/>
          </p:nvSpPr>
          <p:spPr bwMode="auto">
            <a:xfrm>
              <a:off x="1223565" y="5736371"/>
              <a:ext cx="52326" cy="51095"/>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08" name="Group 107">
            <a:extLst>
              <a:ext uri="{FF2B5EF4-FFF2-40B4-BE49-F238E27FC236}">
                <a16:creationId xmlns:a16="http://schemas.microsoft.com/office/drawing/2014/main" id="{6869FA71-8DD5-444C-82DD-73C4457B900F}"/>
              </a:ext>
            </a:extLst>
          </p:cNvPr>
          <p:cNvGrpSpPr/>
          <p:nvPr/>
        </p:nvGrpSpPr>
        <p:grpSpPr>
          <a:xfrm>
            <a:off x="10855770" y="5335073"/>
            <a:ext cx="734317" cy="350864"/>
            <a:chOff x="10855770" y="5416481"/>
            <a:chExt cx="734317" cy="350864"/>
          </a:xfrm>
        </p:grpSpPr>
        <p:sp>
          <p:nvSpPr>
            <p:cNvPr id="109" name="Freeform: Shape 27">
              <a:extLst>
                <a:ext uri="{FF2B5EF4-FFF2-40B4-BE49-F238E27FC236}">
                  <a16:creationId xmlns:a16="http://schemas.microsoft.com/office/drawing/2014/main" id="{F86C73EC-668F-451D-B70F-B7CAC7270E61}"/>
                </a:ext>
              </a:extLst>
            </p:cNvPr>
            <p:cNvSpPr/>
            <p:nvPr/>
          </p:nvSpPr>
          <p:spPr bwMode="auto">
            <a:xfrm flipV="1">
              <a:off x="10855770" y="5485030"/>
              <a:ext cx="306865" cy="169160"/>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rgbClr val="50E6FF"/>
            </a:solidFill>
            <a:ln w="12700" cap="flat">
              <a:no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0" name="Freeform: Shape 27">
              <a:extLst>
                <a:ext uri="{FF2B5EF4-FFF2-40B4-BE49-F238E27FC236}">
                  <a16:creationId xmlns:a16="http://schemas.microsoft.com/office/drawing/2014/main" id="{A946B019-9393-4191-A5C7-215B1A71BA1A}"/>
                </a:ext>
              </a:extLst>
            </p:cNvPr>
            <p:cNvSpPr/>
            <p:nvPr/>
          </p:nvSpPr>
          <p:spPr bwMode="auto">
            <a:xfrm flipV="1">
              <a:off x="10953601" y="5416481"/>
              <a:ext cx="636486" cy="350864"/>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rgbClr val="0078D7"/>
            </a:solidFill>
            <a:ln w="12700" cap="flat">
              <a:no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11" name="Group 10">
            <a:extLst>
              <a:ext uri="{FF2B5EF4-FFF2-40B4-BE49-F238E27FC236}">
                <a16:creationId xmlns:a16="http://schemas.microsoft.com/office/drawing/2014/main" id="{EF9DEAAC-0EC6-4125-BE76-A3BE168342C5}"/>
              </a:ext>
            </a:extLst>
          </p:cNvPr>
          <p:cNvGrpSpPr/>
          <p:nvPr/>
        </p:nvGrpSpPr>
        <p:grpSpPr>
          <a:xfrm>
            <a:off x="10344000" y="2344753"/>
            <a:ext cx="1060593" cy="796655"/>
            <a:chOff x="10344000" y="2383698"/>
            <a:chExt cx="1060593" cy="796655"/>
          </a:xfrm>
        </p:grpSpPr>
        <p:grpSp>
          <p:nvGrpSpPr>
            <p:cNvPr id="10" name="Group 9">
              <a:extLst>
                <a:ext uri="{FF2B5EF4-FFF2-40B4-BE49-F238E27FC236}">
                  <a16:creationId xmlns:a16="http://schemas.microsoft.com/office/drawing/2014/main" id="{D1A9E7E2-01EB-4F92-A6D1-D23BED695501}"/>
                </a:ext>
              </a:extLst>
            </p:cNvPr>
            <p:cNvGrpSpPr/>
            <p:nvPr/>
          </p:nvGrpSpPr>
          <p:grpSpPr>
            <a:xfrm>
              <a:off x="10344000" y="2383698"/>
              <a:ext cx="1060593" cy="796655"/>
              <a:chOff x="10344000" y="2383698"/>
              <a:chExt cx="1060593" cy="796655"/>
            </a:xfrm>
          </p:grpSpPr>
          <p:grpSp>
            <p:nvGrpSpPr>
              <p:cNvPr id="100" name="Group 99">
                <a:extLst>
                  <a:ext uri="{FF2B5EF4-FFF2-40B4-BE49-F238E27FC236}">
                    <a16:creationId xmlns:a16="http://schemas.microsoft.com/office/drawing/2014/main" id="{C17D9E05-FDD8-43C3-B272-7B54EAE6EFDE}"/>
                  </a:ext>
                </a:extLst>
              </p:cNvPr>
              <p:cNvGrpSpPr/>
              <p:nvPr/>
            </p:nvGrpSpPr>
            <p:grpSpPr>
              <a:xfrm flipH="1">
                <a:off x="10344000" y="2383698"/>
                <a:ext cx="1060593" cy="796655"/>
                <a:chOff x="2107244" y="1575257"/>
                <a:chExt cx="310993" cy="528825"/>
              </a:xfrm>
              <a:noFill/>
            </p:grpSpPr>
            <p:sp>
              <p:nvSpPr>
                <p:cNvPr id="103" name="Rectangle 9">
                  <a:extLst>
                    <a:ext uri="{FF2B5EF4-FFF2-40B4-BE49-F238E27FC236}">
                      <a16:creationId xmlns:a16="http://schemas.microsoft.com/office/drawing/2014/main" id="{3DB95FB9-8DBB-40F3-A621-04ECAE0E45FF}"/>
                    </a:ext>
                  </a:extLst>
                </p:cNvPr>
                <p:cNvSpPr>
                  <a:spLocks noChangeArrowheads="1"/>
                </p:cNvSpPr>
                <p:nvPr/>
              </p:nvSpPr>
              <p:spPr bwMode="auto">
                <a:xfrm>
                  <a:off x="2107244" y="1575257"/>
                  <a:ext cx="310993" cy="528825"/>
                </a:xfrm>
                <a:prstGeom prst="rect">
                  <a:avLst/>
                </a:prstGeom>
                <a:solidFill>
                  <a:srgbClr val="0078D7"/>
                </a:solid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07" name="Line 10">
                  <a:extLst>
                    <a:ext uri="{FF2B5EF4-FFF2-40B4-BE49-F238E27FC236}">
                      <a16:creationId xmlns:a16="http://schemas.microsoft.com/office/drawing/2014/main" id="{F4B52871-FD44-4AAE-B460-ACEFDE109521}"/>
                    </a:ext>
                  </a:extLst>
                </p:cNvPr>
                <p:cNvSpPr>
                  <a:spLocks noChangeShapeType="1"/>
                </p:cNvSpPr>
                <p:nvPr/>
              </p:nvSpPr>
              <p:spPr bwMode="auto">
                <a:xfrm flipH="1">
                  <a:off x="2107244" y="1651824"/>
                  <a:ext cx="310993" cy="0"/>
                </a:xfrm>
                <a:prstGeom prst="line">
                  <a:avLst/>
                </a:prstGeom>
                <a:grpFill/>
                <a:ln w="1905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02" name="Oval 101">
                <a:extLst>
                  <a:ext uri="{FF2B5EF4-FFF2-40B4-BE49-F238E27FC236}">
                    <a16:creationId xmlns:a16="http://schemas.microsoft.com/office/drawing/2014/main" id="{9DEB608F-1FC9-4E11-BEBF-53D214FFDF32}"/>
                  </a:ext>
                </a:extLst>
              </p:cNvPr>
              <p:cNvSpPr/>
              <p:nvPr/>
            </p:nvSpPr>
            <p:spPr bwMode="auto">
              <a:xfrm flipH="1">
                <a:off x="11334873" y="2419087"/>
                <a:ext cx="36975" cy="36975"/>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46" name="Freeform 271">
              <a:extLst>
                <a:ext uri="{FF2B5EF4-FFF2-40B4-BE49-F238E27FC236}">
                  <a16:creationId xmlns:a16="http://schemas.microsoft.com/office/drawing/2014/main" id="{A0BE0549-6929-4E08-BE8C-44AEF987F9AE}"/>
                </a:ext>
              </a:extLst>
            </p:cNvPr>
            <p:cNvSpPr/>
            <p:nvPr/>
          </p:nvSpPr>
          <p:spPr>
            <a:xfrm>
              <a:off x="11018423" y="2867972"/>
              <a:ext cx="307537" cy="232189"/>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rgbClr val="50E6FF"/>
            </a:solidFill>
            <a:ln w="342900" cap="sq" cmpd="sng" algn="ctr">
              <a:noFill/>
              <a:prstDash val="solid"/>
            </a:ln>
            <a:effectLst/>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8" name="Group 7">
              <a:extLst>
                <a:ext uri="{FF2B5EF4-FFF2-40B4-BE49-F238E27FC236}">
                  <a16:creationId xmlns:a16="http://schemas.microsoft.com/office/drawing/2014/main" id="{5573165C-DA5C-43CE-9309-1F9382B79247}"/>
                </a:ext>
              </a:extLst>
            </p:cNvPr>
            <p:cNvGrpSpPr/>
            <p:nvPr/>
          </p:nvGrpSpPr>
          <p:grpSpPr>
            <a:xfrm>
              <a:off x="10422125" y="2604849"/>
              <a:ext cx="518882" cy="484094"/>
              <a:chOff x="10422125" y="2604849"/>
              <a:chExt cx="518882" cy="484094"/>
            </a:xfrm>
          </p:grpSpPr>
          <p:sp>
            <p:nvSpPr>
              <p:cNvPr id="118" name="Freeform 57">
                <a:extLst>
                  <a:ext uri="{FF2B5EF4-FFF2-40B4-BE49-F238E27FC236}">
                    <a16:creationId xmlns:a16="http://schemas.microsoft.com/office/drawing/2014/main" id="{77B1B72C-E657-4122-94FE-D6575F762329}"/>
                  </a:ext>
                </a:extLst>
              </p:cNvPr>
              <p:cNvSpPr>
                <a:spLocks noChangeArrowheads="1"/>
              </p:cNvSpPr>
              <p:nvPr/>
            </p:nvSpPr>
            <p:spPr bwMode="auto">
              <a:xfrm>
                <a:off x="10650863" y="2836586"/>
                <a:ext cx="61404" cy="60217"/>
              </a:xfrm>
              <a:prstGeom prst="ellipse">
                <a:avLst/>
              </a:prstGeom>
              <a:solidFill>
                <a:srgbClr val="50E6FF"/>
              </a:solidFill>
              <a:ln w="12700" cap="sq">
                <a:solidFill>
                  <a:srgbClr val="50E6FF"/>
                </a:solidFill>
                <a:miter lim="800000"/>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p:nvSpPr>
              <p:cNvPr id="126" name="Freeform 59">
                <a:extLst>
                  <a:ext uri="{FF2B5EF4-FFF2-40B4-BE49-F238E27FC236}">
                    <a16:creationId xmlns:a16="http://schemas.microsoft.com/office/drawing/2014/main" id="{6DB8A2E9-B99F-492F-8A0D-3204BF911211}"/>
                  </a:ext>
                </a:extLst>
              </p:cNvPr>
              <p:cNvSpPr>
                <a:spLocks noChangeArrowheads="1"/>
              </p:cNvSpPr>
              <p:nvPr/>
            </p:nvSpPr>
            <p:spPr bwMode="auto">
              <a:xfrm>
                <a:off x="10422125" y="3028729"/>
                <a:ext cx="61404" cy="60214"/>
              </a:xfrm>
              <a:prstGeom prst="ellipse">
                <a:avLst/>
              </a:prstGeom>
              <a:solidFill>
                <a:srgbClr val="50E6FF"/>
              </a:solidFill>
              <a:ln w="12700" cap="sq">
                <a:solidFill>
                  <a:srgbClr val="50E6FF"/>
                </a:solidFill>
                <a:miter lim="800000"/>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p:nvSpPr>
              <p:cNvPr id="127" name="Freeform 60">
                <a:extLst>
                  <a:ext uri="{FF2B5EF4-FFF2-40B4-BE49-F238E27FC236}">
                    <a16:creationId xmlns:a16="http://schemas.microsoft.com/office/drawing/2014/main" id="{2135526B-2B56-413A-8844-102E6B462CAD}"/>
                  </a:ext>
                </a:extLst>
              </p:cNvPr>
              <p:cNvSpPr>
                <a:spLocks noChangeArrowheads="1"/>
              </p:cNvSpPr>
              <p:nvPr/>
            </p:nvSpPr>
            <p:spPr bwMode="auto">
              <a:xfrm>
                <a:off x="10536494" y="2732190"/>
                <a:ext cx="61404" cy="60214"/>
              </a:xfrm>
              <a:prstGeom prst="ellipse">
                <a:avLst/>
              </a:prstGeom>
              <a:solidFill>
                <a:srgbClr val="50E6FF"/>
              </a:solidFill>
              <a:ln w="12700" cap="sq">
                <a:solidFill>
                  <a:srgbClr val="50E6FF"/>
                </a:solidFill>
                <a:miter lim="800000"/>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p:nvSpPr>
              <p:cNvPr id="128" name="Freeform 61">
                <a:extLst>
                  <a:ext uri="{FF2B5EF4-FFF2-40B4-BE49-F238E27FC236}">
                    <a16:creationId xmlns:a16="http://schemas.microsoft.com/office/drawing/2014/main" id="{87BE79D2-FE92-4AF4-83ED-16589E637F18}"/>
                  </a:ext>
                </a:extLst>
              </p:cNvPr>
              <p:cNvSpPr>
                <a:spLocks noChangeArrowheads="1"/>
              </p:cNvSpPr>
              <p:nvPr/>
            </p:nvSpPr>
            <p:spPr bwMode="auto">
              <a:xfrm>
                <a:off x="10765232" y="2604849"/>
                <a:ext cx="61404" cy="60214"/>
              </a:xfrm>
              <a:prstGeom prst="ellipse">
                <a:avLst/>
              </a:prstGeom>
              <a:solidFill>
                <a:srgbClr val="50E6FF"/>
              </a:solidFill>
              <a:ln w="12700" cap="sq">
                <a:solidFill>
                  <a:srgbClr val="50E6FF"/>
                </a:solidFill>
                <a:miter lim="800000"/>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p:nvSpPr>
              <p:cNvPr id="148" name="Freeform 61">
                <a:extLst>
                  <a:ext uri="{FF2B5EF4-FFF2-40B4-BE49-F238E27FC236}">
                    <a16:creationId xmlns:a16="http://schemas.microsoft.com/office/drawing/2014/main" id="{FB726280-6726-4690-9EFA-8DD738982B2C}"/>
                  </a:ext>
                </a:extLst>
              </p:cNvPr>
              <p:cNvSpPr>
                <a:spLocks noChangeArrowheads="1"/>
              </p:cNvSpPr>
              <p:nvPr/>
            </p:nvSpPr>
            <p:spPr bwMode="auto">
              <a:xfrm>
                <a:off x="10879603" y="2736125"/>
                <a:ext cx="61404" cy="60214"/>
              </a:xfrm>
              <a:prstGeom prst="ellipse">
                <a:avLst/>
              </a:prstGeom>
              <a:solidFill>
                <a:srgbClr val="50E6FF"/>
              </a:solidFill>
              <a:ln w="12700" cap="sq">
                <a:solidFill>
                  <a:srgbClr val="50E6FF"/>
                </a:solidFill>
                <a:miter lim="800000"/>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p:nvSpPr>
              <p:cNvPr id="5" name="Freeform: Shape 4">
                <a:extLst>
                  <a:ext uri="{FF2B5EF4-FFF2-40B4-BE49-F238E27FC236}">
                    <a16:creationId xmlns:a16="http://schemas.microsoft.com/office/drawing/2014/main" id="{3704FFD0-1AEB-4218-992E-2E252A47E125}"/>
                  </a:ext>
                </a:extLst>
              </p:cNvPr>
              <p:cNvSpPr/>
              <p:nvPr/>
            </p:nvSpPr>
            <p:spPr bwMode="auto">
              <a:xfrm>
                <a:off x="10451646" y="2629812"/>
                <a:ext cx="461283" cy="432707"/>
              </a:xfrm>
              <a:custGeom>
                <a:avLst/>
                <a:gdLst>
                  <a:gd name="connsiteX0" fmla="*/ 0 w 461283"/>
                  <a:gd name="connsiteY0" fmla="*/ 432707 h 432707"/>
                  <a:gd name="connsiteX1" fmla="*/ 112940 w 461283"/>
                  <a:gd name="connsiteY1" fmla="*/ 130629 h 432707"/>
                  <a:gd name="connsiteX2" fmla="*/ 229961 w 461283"/>
                  <a:gd name="connsiteY2" fmla="*/ 238125 h 432707"/>
                  <a:gd name="connsiteX3" fmla="*/ 345622 w 461283"/>
                  <a:gd name="connsiteY3" fmla="*/ 0 h 432707"/>
                  <a:gd name="connsiteX4" fmla="*/ 461283 w 461283"/>
                  <a:gd name="connsiteY4" fmla="*/ 140154 h 4327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283" h="432707">
                    <a:moveTo>
                      <a:pt x="0" y="432707"/>
                    </a:moveTo>
                    <a:lnTo>
                      <a:pt x="112940" y="130629"/>
                    </a:lnTo>
                    <a:lnTo>
                      <a:pt x="229961" y="238125"/>
                    </a:lnTo>
                    <a:lnTo>
                      <a:pt x="345622" y="0"/>
                    </a:lnTo>
                    <a:lnTo>
                      <a:pt x="461283" y="140154"/>
                    </a:lnTo>
                  </a:path>
                </a:pathLst>
              </a:custGeom>
              <a:noFill/>
              <a:ln w="19050" cap="sq">
                <a:solidFill>
                  <a:srgbClr val="50E6FF"/>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mn-ea"/>
                  <a:cs typeface="Arial" charset="0"/>
                </a:endParaRPr>
              </a:p>
            </p:txBody>
          </p:sp>
        </p:grpSp>
        <p:grpSp>
          <p:nvGrpSpPr>
            <p:cNvPr id="15" name="Group 14">
              <a:extLst>
                <a:ext uri="{FF2B5EF4-FFF2-40B4-BE49-F238E27FC236}">
                  <a16:creationId xmlns:a16="http://schemas.microsoft.com/office/drawing/2014/main" id="{BB977719-F1B2-4A9D-8F17-7D106DE6D1F1}"/>
                </a:ext>
              </a:extLst>
            </p:cNvPr>
            <p:cNvGrpSpPr/>
            <p:nvPr/>
          </p:nvGrpSpPr>
          <p:grpSpPr>
            <a:xfrm>
              <a:off x="11047639" y="2626773"/>
              <a:ext cx="255815" cy="141476"/>
              <a:chOff x="11047639" y="2519725"/>
              <a:chExt cx="255815" cy="141476"/>
            </a:xfrm>
          </p:grpSpPr>
          <p:cxnSp>
            <p:nvCxnSpPr>
              <p:cNvPr id="7" name="Straight Connector 6">
                <a:extLst>
                  <a:ext uri="{FF2B5EF4-FFF2-40B4-BE49-F238E27FC236}">
                    <a16:creationId xmlns:a16="http://schemas.microsoft.com/office/drawing/2014/main" id="{E375684E-9667-4CC8-B757-EC726C2D5EAD}"/>
                  </a:ext>
                </a:extLst>
              </p:cNvPr>
              <p:cNvCxnSpPr/>
              <p:nvPr/>
            </p:nvCxnSpPr>
            <p:spPr>
              <a:xfrm>
                <a:off x="11047639" y="2519725"/>
                <a:ext cx="255815" cy="0"/>
              </a:xfrm>
              <a:prstGeom prst="line">
                <a:avLst/>
              </a:prstGeom>
              <a:noFill/>
              <a:ln w="19050" cap="sq">
                <a:solidFill>
                  <a:srgbClr val="50E6FF"/>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cxnSp>
          <p:cxnSp>
            <p:nvCxnSpPr>
              <p:cNvPr id="149" name="Straight Connector 148">
                <a:extLst>
                  <a:ext uri="{FF2B5EF4-FFF2-40B4-BE49-F238E27FC236}">
                    <a16:creationId xmlns:a16="http://schemas.microsoft.com/office/drawing/2014/main" id="{90B3C32E-F045-484D-8309-4FEBFFB75DBA}"/>
                  </a:ext>
                </a:extLst>
              </p:cNvPr>
              <p:cNvCxnSpPr>
                <a:cxnSpLocks/>
              </p:cNvCxnSpPr>
              <p:nvPr/>
            </p:nvCxnSpPr>
            <p:spPr>
              <a:xfrm>
                <a:off x="11047639" y="2590463"/>
                <a:ext cx="177052" cy="0"/>
              </a:xfrm>
              <a:prstGeom prst="line">
                <a:avLst/>
              </a:prstGeom>
              <a:noFill/>
              <a:ln w="19050" cap="sq">
                <a:solidFill>
                  <a:srgbClr val="50E6FF"/>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cxnSp>
          <p:cxnSp>
            <p:nvCxnSpPr>
              <p:cNvPr id="150" name="Straight Connector 149">
                <a:extLst>
                  <a:ext uri="{FF2B5EF4-FFF2-40B4-BE49-F238E27FC236}">
                    <a16:creationId xmlns:a16="http://schemas.microsoft.com/office/drawing/2014/main" id="{07068D9A-6DB5-4FFE-AA5D-834AE74A8E2E}"/>
                  </a:ext>
                </a:extLst>
              </p:cNvPr>
              <p:cNvCxnSpPr>
                <a:cxnSpLocks/>
              </p:cNvCxnSpPr>
              <p:nvPr/>
            </p:nvCxnSpPr>
            <p:spPr>
              <a:xfrm>
                <a:off x="11047639" y="2661201"/>
                <a:ext cx="227240" cy="0"/>
              </a:xfrm>
              <a:prstGeom prst="line">
                <a:avLst/>
              </a:prstGeom>
              <a:noFill/>
              <a:ln w="19050" cap="sq">
                <a:solidFill>
                  <a:srgbClr val="50E6FF"/>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cxnSp>
        </p:grpSp>
      </p:grpSp>
      <p:sp>
        <p:nvSpPr>
          <p:cNvPr id="6" name="TextBox 5">
            <a:extLst>
              <a:ext uri="{FF2B5EF4-FFF2-40B4-BE49-F238E27FC236}">
                <a16:creationId xmlns:a16="http://schemas.microsoft.com/office/drawing/2014/main" id="{27D2C3AE-BA37-45FD-9310-2CE10D9CA79A}"/>
              </a:ext>
            </a:extLst>
          </p:cNvPr>
          <p:cNvSpPr txBox="1"/>
          <p:nvPr/>
        </p:nvSpPr>
        <p:spPr>
          <a:xfrm>
            <a:off x="7780882" y="2227990"/>
            <a:ext cx="245580" cy="189283"/>
          </a:xfrm>
          <a:prstGeom prst="rect">
            <a:avLst/>
          </a:prstGeom>
          <a:noFill/>
        </p:spPr>
        <p:txBody>
          <a:bodyPr wrap="none" lIns="91440" tIns="45720" rIns="91440" bIns="4572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a:t>
            </a:r>
          </a:p>
        </p:txBody>
      </p:sp>
      <p:grpSp>
        <p:nvGrpSpPr>
          <p:cNvPr id="12" name="Group 11">
            <a:extLst>
              <a:ext uri="{FF2B5EF4-FFF2-40B4-BE49-F238E27FC236}">
                <a16:creationId xmlns:a16="http://schemas.microsoft.com/office/drawing/2014/main" id="{C5AFFDEC-F0ED-354C-9DCB-B03697DFAE74}"/>
              </a:ext>
            </a:extLst>
          </p:cNvPr>
          <p:cNvGrpSpPr/>
          <p:nvPr/>
        </p:nvGrpSpPr>
        <p:grpSpPr>
          <a:xfrm>
            <a:off x="3017979" y="2306163"/>
            <a:ext cx="1394639" cy="1068220"/>
            <a:chOff x="2744830" y="2470775"/>
            <a:chExt cx="1394639" cy="1068220"/>
          </a:xfrm>
        </p:grpSpPr>
        <p:sp>
          <p:nvSpPr>
            <p:cNvPr id="123" name="Freeform 130">
              <a:extLst>
                <a:ext uri="{FF2B5EF4-FFF2-40B4-BE49-F238E27FC236}">
                  <a16:creationId xmlns:a16="http://schemas.microsoft.com/office/drawing/2014/main" id="{FDE3F894-00DD-4719-AB59-8B21CFA219FA}"/>
                </a:ext>
              </a:extLst>
            </p:cNvPr>
            <p:cNvSpPr>
              <a:spLocks noChangeAspect="1" noEditPoints="1"/>
            </p:cNvSpPr>
            <p:nvPr/>
          </p:nvSpPr>
          <p:spPr bwMode="black">
            <a:xfrm>
              <a:off x="3680783" y="2481531"/>
              <a:ext cx="380894" cy="385748"/>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178D7"/>
            </a:solidFill>
            <a:ln>
              <a:noFill/>
            </a:ln>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124" name="Freeform: Shape 390">
              <a:extLst>
                <a:ext uri="{FF2B5EF4-FFF2-40B4-BE49-F238E27FC236}">
                  <a16:creationId xmlns:a16="http://schemas.microsoft.com/office/drawing/2014/main" id="{F4712FE1-0788-4907-ACB2-A63684D95836}"/>
                </a:ext>
              </a:extLst>
            </p:cNvPr>
            <p:cNvSpPr/>
            <p:nvPr/>
          </p:nvSpPr>
          <p:spPr>
            <a:xfrm>
              <a:off x="3602992" y="3191175"/>
              <a:ext cx="536477" cy="345196"/>
            </a:xfrm>
            <a:custGeom>
              <a:avLst/>
              <a:gdLst>
                <a:gd name="connsiteX0" fmla="*/ 1849531 w 7529578"/>
                <a:gd name="connsiteY0" fmla="*/ 3903502 h 4764516"/>
                <a:gd name="connsiteX1" fmla="*/ 1273554 w 7529578"/>
                <a:gd name="connsiteY1" fmla="*/ 3987984 h 4764516"/>
                <a:gd name="connsiteX2" fmla="*/ 1013662 w 7529578"/>
                <a:gd name="connsiteY2" fmla="*/ 3995024 h 4764516"/>
                <a:gd name="connsiteX3" fmla="*/ 676505 w 7529578"/>
                <a:gd name="connsiteY3" fmla="*/ 3987984 h 4764516"/>
                <a:gd name="connsiteX4" fmla="*/ 2439556 w 7529578"/>
                <a:gd name="connsiteY4" fmla="*/ 4677914 h 4764516"/>
                <a:gd name="connsiteX5" fmla="*/ 2636231 w 7529578"/>
                <a:gd name="connsiteY5" fmla="*/ 4677914 h 4764516"/>
                <a:gd name="connsiteX6" fmla="*/ 1849531 w 7529578"/>
                <a:gd name="connsiteY6" fmla="*/ 3903502 h 4764516"/>
                <a:gd name="connsiteX7" fmla="*/ 2161836 w 7529578"/>
                <a:gd name="connsiteY7" fmla="*/ 3452194 h 4764516"/>
                <a:gd name="connsiteX8" fmla="*/ 2209829 w 7529578"/>
                <a:gd name="connsiteY8" fmla="*/ 3459914 h 4764516"/>
                <a:gd name="connsiteX9" fmla="*/ 2185833 w 7529578"/>
                <a:gd name="connsiteY9" fmla="*/ 3506232 h 4764516"/>
                <a:gd name="connsiteX10" fmla="*/ 2241825 w 7529578"/>
                <a:gd name="connsiteY10" fmla="*/ 3560270 h 4764516"/>
                <a:gd name="connsiteX11" fmla="*/ 2289818 w 7529578"/>
                <a:gd name="connsiteY11" fmla="*/ 3529391 h 4764516"/>
                <a:gd name="connsiteX12" fmla="*/ 2297817 w 7529578"/>
                <a:gd name="connsiteY12" fmla="*/ 3583429 h 4764516"/>
                <a:gd name="connsiteX13" fmla="*/ 2161836 w 7529578"/>
                <a:gd name="connsiteY13" fmla="*/ 3714663 h 4764516"/>
                <a:gd name="connsiteX14" fmla="*/ 2017856 w 7529578"/>
                <a:gd name="connsiteY14" fmla="*/ 3583429 h 4764516"/>
                <a:gd name="connsiteX15" fmla="*/ 2161836 w 7529578"/>
                <a:gd name="connsiteY15" fmla="*/ 3452194 h 4764516"/>
                <a:gd name="connsiteX16" fmla="*/ 2157831 w 7529578"/>
                <a:gd name="connsiteY16" fmla="*/ 3399707 h 4764516"/>
                <a:gd name="connsiteX17" fmla="*/ 1965358 w 7529578"/>
                <a:gd name="connsiteY17" fmla="*/ 3583434 h 4764516"/>
                <a:gd name="connsiteX18" fmla="*/ 2157831 w 7529578"/>
                <a:gd name="connsiteY18" fmla="*/ 3767161 h 4764516"/>
                <a:gd name="connsiteX19" fmla="*/ 2350304 w 7529578"/>
                <a:gd name="connsiteY19" fmla="*/ 3583434 h 4764516"/>
                <a:gd name="connsiteX20" fmla="*/ 2157831 w 7529578"/>
                <a:gd name="connsiteY20" fmla="*/ 3399707 h 4764516"/>
                <a:gd name="connsiteX21" fmla="*/ 3907591 w 7529578"/>
                <a:gd name="connsiteY21" fmla="*/ 1579947 h 4764516"/>
                <a:gd name="connsiteX22" fmla="*/ 4607493 w 7529578"/>
                <a:gd name="connsiteY22" fmla="*/ 1579947 h 4764516"/>
                <a:gd name="connsiteX23" fmla="*/ 4607493 w 7529578"/>
                <a:gd name="connsiteY23" fmla="*/ 2279850 h 4764516"/>
                <a:gd name="connsiteX24" fmla="*/ 3907591 w 7529578"/>
                <a:gd name="connsiteY24" fmla="*/ 2279850 h 4764516"/>
                <a:gd name="connsiteX25" fmla="*/ 3102704 w 7529578"/>
                <a:gd name="connsiteY25" fmla="*/ 1579947 h 4764516"/>
                <a:gd name="connsiteX26" fmla="*/ 3802606 w 7529578"/>
                <a:gd name="connsiteY26" fmla="*/ 1579947 h 4764516"/>
                <a:gd name="connsiteX27" fmla="*/ 3802606 w 7529578"/>
                <a:gd name="connsiteY27" fmla="*/ 2279850 h 4764516"/>
                <a:gd name="connsiteX28" fmla="*/ 3102704 w 7529578"/>
                <a:gd name="connsiteY28" fmla="*/ 2279850 h 4764516"/>
                <a:gd name="connsiteX29" fmla="*/ 2315309 w 7529578"/>
                <a:gd name="connsiteY29" fmla="*/ 1579947 h 4764516"/>
                <a:gd name="connsiteX30" fmla="*/ 3015211 w 7529578"/>
                <a:gd name="connsiteY30" fmla="*/ 1579947 h 4764516"/>
                <a:gd name="connsiteX31" fmla="*/ 3015211 w 7529578"/>
                <a:gd name="connsiteY31" fmla="*/ 2279850 h 4764516"/>
                <a:gd name="connsiteX32" fmla="*/ 2315309 w 7529578"/>
                <a:gd name="connsiteY32" fmla="*/ 2279850 h 4764516"/>
                <a:gd name="connsiteX33" fmla="*/ 1510422 w 7529578"/>
                <a:gd name="connsiteY33" fmla="*/ 1579947 h 4764516"/>
                <a:gd name="connsiteX34" fmla="*/ 2210324 w 7529578"/>
                <a:gd name="connsiteY34" fmla="*/ 1579947 h 4764516"/>
                <a:gd name="connsiteX35" fmla="*/ 2210324 w 7529578"/>
                <a:gd name="connsiteY35" fmla="*/ 2279850 h 4764516"/>
                <a:gd name="connsiteX36" fmla="*/ 1510422 w 7529578"/>
                <a:gd name="connsiteY36" fmla="*/ 2279850 h 4764516"/>
                <a:gd name="connsiteX37" fmla="*/ 705534 w 7529578"/>
                <a:gd name="connsiteY37" fmla="*/ 1579947 h 4764516"/>
                <a:gd name="connsiteX38" fmla="*/ 1405436 w 7529578"/>
                <a:gd name="connsiteY38" fmla="*/ 1579947 h 4764516"/>
                <a:gd name="connsiteX39" fmla="*/ 1405436 w 7529578"/>
                <a:gd name="connsiteY39" fmla="*/ 2279850 h 4764516"/>
                <a:gd name="connsiteX40" fmla="*/ 705534 w 7529578"/>
                <a:gd name="connsiteY40" fmla="*/ 2279850 h 4764516"/>
                <a:gd name="connsiteX41" fmla="*/ 6082271 w 7529578"/>
                <a:gd name="connsiteY41" fmla="*/ 862558 h 4764516"/>
                <a:gd name="connsiteX42" fmla="*/ 6535589 w 7529578"/>
                <a:gd name="connsiteY42" fmla="*/ 1754155 h 4764516"/>
                <a:gd name="connsiteX43" fmla="*/ 7529578 w 7529578"/>
                <a:gd name="connsiteY43" fmla="*/ 1761959 h 4764516"/>
                <a:gd name="connsiteX44" fmla="*/ 6394775 w 7529578"/>
                <a:gd name="connsiteY44" fmla="*/ 2238778 h 4764516"/>
                <a:gd name="connsiteX45" fmla="*/ 2451200 w 7529578"/>
                <a:gd name="connsiteY45" fmla="*/ 4764516 h 4764516"/>
                <a:gd name="connsiteX46" fmla="*/ 518946 w 7529578"/>
                <a:gd name="connsiteY46" fmla="*/ 4005975 h 4764516"/>
                <a:gd name="connsiteX47" fmla="*/ 518946 w 7529578"/>
                <a:gd name="connsiteY47" fmla="*/ 3998172 h 4764516"/>
                <a:gd name="connsiteX48" fmla="*/ 400721 w 7529578"/>
                <a:gd name="connsiteY48" fmla="*/ 3872918 h 4764516"/>
                <a:gd name="connsiteX49" fmla="*/ 283250 w 7529578"/>
                <a:gd name="connsiteY49" fmla="*/ 3693428 h 4764516"/>
                <a:gd name="connsiteX50" fmla="*/ 220749 w 7529578"/>
                <a:gd name="connsiteY50" fmla="*/ 3583783 h 4764516"/>
                <a:gd name="connsiteX51" fmla="*/ 9903 w 7529578"/>
                <a:gd name="connsiteY51" fmla="*/ 2403051 h 4764516"/>
                <a:gd name="connsiteX52" fmla="*/ 5143252 w 7529578"/>
                <a:gd name="connsiteY52" fmla="*/ 2403051 h 4764516"/>
                <a:gd name="connsiteX53" fmla="*/ 6175645 w 7529578"/>
                <a:gd name="connsiteY53" fmla="*/ 2074506 h 4764516"/>
                <a:gd name="connsiteX54" fmla="*/ 6082271 w 7529578"/>
                <a:gd name="connsiteY54" fmla="*/ 862558 h 4764516"/>
                <a:gd name="connsiteX55" fmla="*/ 3102704 w 7529578"/>
                <a:gd name="connsiteY55" fmla="*/ 792564 h 4764516"/>
                <a:gd name="connsiteX56" fmla="*/ 3802606 w 7529578"/>
                <a:gd name="connsiteY56" fmla="*/ 792564 h 4764516"/>
                <a:gd name="connsiteX57" fmla="*/ 3802606 w 7529578"/>
                <a:gd name="connsiteY57" fmla="*/ 1492467 h 4764516"/>
                <a:gd name="connsiteX58" fmla="*/ 3102704 w 7529578"/>
                <a:gd name="connsiteY58" fmla="*/ 1492467 h 4764516"/>
                <a:gd name="connsiteX59" fmla="*/ 2315309 w 7529578"/>
                <a:gd name="connsiteY59" fmla="*/ 792564 h 4764516"/>
                <a:gd name="connsiteX60" fmla="*/ 3015211 w 7529578"/>
                <a:gd name="connsiteY60" fmla="*/ 792564 h 4764516"/>
                <a:gd name="connsiteX61" fmla="*/ 3015211 w 7529578"/>
                <a:gd name="connsiteY61" fmla="*/ 1492467 h 4764516"/>
                <a:gd name="connsiteX62" fmla="*/ 2315309 w 7529578"/>
                <a:gd name="connsiteY62" fmla="*/ 1492467 h 4764516"/>
                <a:gd name="connsiteX63" fmla="*/ 1510422 w 7529578"/>
                <a:gd name="connsiteY63" fmla="*/ 792564 h 4764516"/>
                <a:gd name="connsiteX64" fmla="*/ 2210324 w 7529578"/>
                <a:gd name="connsiteY64" fmla="*/ 792564 h 4764516"/>
                <a:gd name="connsiteX65" fmla="*/ 2210324 w 7529578"/>
                <a:gd name="connsiteY65" fmla="*/ 1492467 h 4764516"/>
                <a:gd name="connsiteX66" fmla="*/ 1510422 w 7529578"/>
                <a:gd name="connsiteY66" fmla="*/ 1492467 h 4764516"/>
                <a:gd name="connsiteX67" fmla="*/ 3102704 w 7529578"/>
                <a:gd name="connsiteY67" fmla="*/ 0 h 4764516"/>
                <a:gd name="connsiteX68" fmla="*/ 3802606 w 7529578"/>
                <a:gd name="connsiteY68" fmla="*/ 0 h 4764516"/>
                <a:gd name="connsiteX69" fmla="*/ 3802606 w 7529578"/>
                <a:gd name="connsiteY69" fmla="*/ 699903 h 4764516"/>
                <a:gd name="connsiteX70" fmla="*/ 3102704 w 7529578"/>
                <a:gd name="connsiteY70" fmla="*/ 699903 h 4764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7529578" h="4764516">
                  <a:moveTo>
                    <a:pt x="1849531" y="3903502"/>
                  </a:moveTo>
                  <a:cubicBezTo>
                    <a:pt x="1687977" y="3945743"/>
                    <a:pt x="1498326" y="3973903"/>
                    <a:pt x="1273554" y="3987984"/>
                  </a:cubicBezTo>
                  <a:cubicBezTo>
                    <a:pt x="1196289" y="3995024"/>
                    <a:pt x="1104976" y="3995024"/>
                    <a:pt x="1013662" y="3995024"/>
                  </a:cubicBezTo>
                  <a:cubicBezTo>
                    <a:pt x="908301" y="3995024"/>
                    <a:pt x="795915" y="3995024"/>
                    <a:pt x="676505" y="3987984"/>
                  </a:cubicBezTo>
                  <a:cubicBezTo>
                    <a:pt x="1069855" y="4375190"/>
                    <a:pt x="1547495" y="4670874"/>
                    <a:pt x="2439556" y="4677914"/>
                  </a:cubicBezTo>
                  <a:cubicBezTo>
                    <a:pt x="2502773" y="4677914"/>
                    <a:pt x="2573014" y="4677914"/>
                    <a:pt x="2636231" y="4677914"/>
                  </a:cubicBezTo>
                  <a:cubicBezTo>
                    <a:pt x="2207761" y="4473751"/>
                    <a:pt x="1975965" y="4199187"/>
                    <a:pt x="1849531" y="3903502"/>
                  </a:cubicBezTo>
                  <a:close/>
                  <a:moveTo>
                    <a:pt x="2161836" y="3452194"/>
                  </a:moveTo>
                  <a:cubicBezTo>
                    <a:pt x="2177834" y="3452194"/>
                    <a:pt x="2193832" y="3452194"/>
                    <a:pt x="2209829" y="3459914"/>
                  </a:cubicBezTo>
                  <a:cubicBezTo>
                    <a:pt x="2193832" y="3467633"/>
                    <a:pt x="2185833" y="3483073"/>
                    <a:pt x="2185833" y="3506232"/>
                  </a:cubicBezTo>
                  <a:cubicBezTo>
                    <a:pt x="2185833" y="3537111"/>
                    <a:pt x="2209829" y="3560270"/>
                    <a:pt x="2241825" y="3560270"/>
                  </a:cubicBezTo>
                  <a:cubicBezTo>
                    <a:pt x="2257823" y="3560270"/>
                    <a:pt x="2281819" y="3552550"/>
                    <a:pt x="2289818" y="3529391"/>
                  </a:cubicBezTo>
                  <a:cubicBezTo>
                    <a:pt x="2297817" y="3544830"/>
                    <a:pt x="2297817" y="3567989"/>
                    <a:pt x="2297817" y="3583429"/>
                  </a:cubicBezTo>
                  <a:cubicBezTo>
                    <a:pt x="2297817" y="3660626"/>
                    <a:pt x="2241825" y="3714663"/>
                    <a:pt x="2161836" y="3714663"/>
                  </a:cubicBezTo>
                  <a:cubicBezTo>
                    <a:pt x="2081847" y="3714663"/>
                    <a:pt x="2017856" y="3660626"/>
                    <a:pt x="2017856" y="3583429"/>
                  </a:cubicBezTo>
                  <a:cubicBezTo>
                    <a:pt x="2017856" y="3506232"/>
                    <a:pt x="2081847" y="3452194"/>
                    <a:pt x="2161836" y="3452194"/>
                  </a:cubicBezTo>
                  <a:close/>
                  <a:moveTo>
                    <a:pt x="2157831" y="3399707"/>
                  </a:moveTo>
                  <a:cubicBezTo>
                    <a:pt x="2051531" y="3399707"/>
                    <a:pt x="1965358" y="3481964"/>
                    <a:pt x="1965358" y="3583434"/>
                  </a:cubicBezTo>
                  <a:cubicBezTo>
                    <a:pt x="1965358" y="3684904"/>
                    <a:pt x="2051531" y="3767161"/>
                    <a:pt x="2157831" y="3767161"/>
                  </a:cubicBezTo>
                  <a:cubicBezTo>
                    <a:pt x="2264131" y="3767161"/>
                    <a:pt x="2350304" y="3684904"/>
                    <a:pt x="2350304" y="3583434"/>
                  </a:cubicBezTo>
                  <a:cubicBezTo>
                    <a:pt x="2350304" y="3481964"/>
                    <a:pt x="2264131" y="3399707"/>
                    <a:pt x="2157831" y="3399707"/>
                  </a:cubicBezTo>
                  <a:close/>
                  <a:moveTo>
                    <a:pt x="3907591" y="1579947"/>
                  </a:moveTo>
                  <a:lnTo>
                    <a:pt x="4607493" y="1579947"/>
                  </a:lnTo>
                  <a:lnTo>
                    <a:pt x="4607493" y="2279850"/>
                  </a:lnTo>
                  <a:lnTo>
                    <a:pt x="3907591" y="2279850"/>
                  </a:lnTo>
                  <a:close/>
                  <a:moveTo>
                    <a:pt x="3102704" y="1579947"/>
                  </a:moveTo>
                  <a:lnTo>
                    <a:pt x="3802606" y="1579947"/>
                  </a:lnTo>
                  <a:lnTo>
                    <a:pt x="3802606" y="2279850"/>
                  </a:lnTo>
                  <a:lnTo>
                    <a:pt x="3102704" y="2279850"/>
                  </a:lnTo>
                  <a:close/>
                  <a:moveTo>
                    <a:pt x="2315309" y="1579947"/>
                  </a:moveTo>
                  <a:lnTo>
                    <a:pt x="3015211" y="1579947"/>
                  </a:lnTo>
                  <a:lnTo>
                    <a:pt x="3015211" y="2279850"/>
                  </a:lnTo>
                  <a:lnTo>
                    <a:pt x="2315309" y="2279850"/>
                  </a:lnTo>
                  <a:close/>
                  <a:moveTo>
                    <a:pt x="1510422" y="1579947"/>
                  </a:moveTo>
                  <a:lnTo>
                    <a:pt x="2210324" y="1579947"/>
                  </a:lnTo>
                  <a:lnTo>
                    <a:pt x="2210324" y="2279850"/>
                  </a:lnTo>
                  <a:lnTo>
                    <a:pt x="1510422" y="2279850"/>
                  </a:lnTo>
                  <a:close/>
                  <a:moveTo>
                    <a:pt x="705534" y="1579947"/>
                  </a:moveTo>
                  <a:lnTo>
                    <a:pt x="1405436" y="1579947"/>
                  </a:lnTo>
                  <a:lnTo>
                    <a:pt x="1405436" y="2279850"/>
                  </a:lnTo>
                  <a:lnTo>
                    <a:pt x="705534" y="2279850"/>
                  </a:lnTo>
                  <a:close/>
                  <a:moveTo>
                    <a:pt x="6082271" y="862558"/>
                  </a:moveTo>
                  <a:cubicBezTo>
                    <a:pt x="6278056" y="1019026"/>
                    <a:pt x="6590560" y="1347181"/>
                    <a:pt x="6535589" y="1754155"/>
                  </a:cubicBezTo>
                  <a:cubicBezTo>
                    <a:pt x="6778063" y="1636706"/>
                    <a:pt x="7200507" y="1574275"/>
                    <a:pt x="7529578" y="1761959"/>
                  </a:cubicBezTo>
                  <a:cubicBezTo>
                    <a:pt x="7326262" y="2168543"/>
                    <a:pt x="6872190" y="2285602"/>
                    <a:pt x="6394775" y="2238778"/>
                  </a:cubicBezTo>
                  <a:cubicBezTo>
                    <a:pt x="5729856" y="3982564"/>
                    <a:pt x="4226825" y="4764516"/>
                    <a:pt x="2451200" y="4764516"/>
                  </a:cubicBezTo>
                  <a:cubicBezTo>
                    <a:pt x="1613840" y="4764516"/>
                    <a:pt x="941391" y="4483185"/>
                    <a:pt x="518946" y="4005975"/>
                  </a:cubicBezTo>
                  <a:lnTo>
                    <a:pt x="518946" y="3998172"/>
                  </a:lnTo>
                  <a:cubicBezTo>
                    <a:pt x="499367" y="3975930"/>
                    <a:pt x="420300" y="3893989"/>
                    <a:pt x="400721" y="3872918"/>
                  </a:cubicBezTo>
                  <a:cubicBezTo>
                    <a:pt x="362318" y="3810487"/>
                    <a:pt x="323160" y="3748056"/>
                    <a:pt x="283250" y="3693428"/>
                  </a:cubicBezTo>
                  <a:cubicBezTo>
                    <a:pt x="262165" y="3656750"/>
                    <a:pt x="241834" y="3620462"/>
                    <a:pt x="220749" y="3583783"/>
                  </a:cubicBezTo>
                  <a:cubicBezTo>
                    <a:pt x="49061" y="3239631"/>
                    <a:pt x="-29254" y="2840851"/>
                    <a:pt x="9903" y="2403051"/>
                  </a:cubicBezTo>
                  <a:lnTo>
                    <a:pt x="5143252" y="2403051"/>
                  </a:lnTo>
                  <a:cubicBezTo>
                    <a:pt x="5565697" y="2403051"/>
                    <a:pt x="5979859" y="2246582"/>
                    <a:pt x="6175645" y="2074506"/>
                  </a:cubicBezTo>
                  <a:cubicBezTo>
                    <a:pt x="5823231" y="1793175"/>
                    <a:pt x="5863141" y="1120477"/>
                    <a:pt x="6082271" y="862558"/>
                  </a:cubicBezTo>
                  <a:close/>
                  <a:moveTo>
                    <a:pt x="3102704" y="792564"/>
                  </a:moveTo>
                  <a:lnTo>
                    <a:pt x="3802606" y="792564"/>
                  </a:lnTo>
                  <a:lnTo>
                    <a:pt x="3802606" y="1492467"/>
                  </a:lnTo>
                  <a:lnTo>
                    <a:pt x="3102704" y="1492467"/>
                  </a:lnTo>
                  <a:close/>
                  <a:moveTo>
                    <a:pt x="2315309" y="792564"/>
                  </a:moveTo>
                  <a:lnTo>
                    <a:pt x="3015211" y="792564"/>
                  </a:lnTo>
                  <a:lnTo>
                    <a:pt x="3015211" y="1492467"/>
                  </a:lnTo>
                  <a:lnTo>
                    <a:pt x="2315309" y="1492467"/>
                  </a:lnTo>
                  <a:close/>
                  <a:moveTo>
                    <a:pt x="1510422" y="792564"/>
                  </a:moveTo>
                  <a:lnTo>
                    <a:pt x="2210324" y="792564"/>
                  </a:lnTo>
                  <a:lnTo>
                    <a:pt x="2210324" y="1492467"/>
                  </a:lnTo>
                  <a:lnTo>
                    <a:pt x="1510422" y="1492467"/>
                  </a:lnTo>
                  <a:close/>
                  <a:moveTo>
                    <a:pt x="3102704" y="0"/>
                  </a:moveTo>
                  <a:lnTo>
                    <a:pt x="3802606" y="0"/>
                  </a:lnTo>
                  <a:lnTo>
                    <a:pt x="3802606" y="699903"/>
                  </a:lnTo>
                  <a:lnTo>
                    <a:pt x="3102704" y="699903"/>
                  </a:lnTo>
                  <a:close/>
                </a:path>
              </a:pathLst>
            </a:custGeom>
            <a:solidFill>
              <a:srgbClr val="0178D7"/>
            </a:solidFill>
            <a:ln w="10795" cap="flat" cmpd="sng" algn="ctr">
              <a:noFill/>
              <a:prstDash val="solid"/>
            </a:ln>
            <a:effectLst/>
          </p:spPr>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prstClr val="white"/>
                </a:solidFill>
                <a:effectLst/>
                <a:uLnTx/>
                <a:uFillTx/>
                <a:latin typeface="Segoe UI"/>
                <a:ea typeface="+mn-ea"/>
                <a:cs typeface="+mn-cs"/>
              </a:endParaRPr>
            </a:p>
          </p:txBody>
        </p:sp>
        <p:pic>
          <p:nvPicPr>
            <p:cNvPr id="125" name="Picture 124"/>
            <p:cNvPicPr>
              <a:picLocks noChangeAspect="1"/>
            </p:cNvPicPr>
            <p:nvPr/>
          </p:nvPicPr>
          <p:blipFill>
            <a:blip r:embed="rId8" cstate="print">
              <a:duotone>
                <a:srgbClr val="0078D7">
                  <a:shade val="45000"/>
                  <a:satMod val="135000"/>
                </a:srgbClr>
                <a:prstClr val="white"/>
              </a:duotone>
              <a:lum bright="14000" contrast="20000"/>
              <a:extLst>
                <a:ext uri="{28A0092B-C50C-407E-A947-70E740481C1C}">
                  <a14:useLocalDpi xmlns:a14="http://schemas.microsoft.com/office/drawing/2010/main" val="0"/>
                </a:ext>
              </a:extLst>
            </a:blip>
            <a:stretch>
              <a:fillRect/>
            </a:stretch>
          </p:blipFill>
          <p:spPr>
            <a:xfrm>
              <a:off x="2859718" y="2470775"/>
              <a:ext cx="342098" cy="407260"/>
            </a:xfrm>
            <a:prstGeom prst="rect">
              <a:avLst/>
            </a:prstGeom>
          </p:spPr>
        </p:pic>
        <p:pic>
          <p:nvPicPr>
            <p:cNvPr id="91" name="Picture 90">
              <a:extLst>
                <a:ext uri="{FF2B5EF4-FFF2-40B4-BE49-F238E27FC236}">
                  <a16:creationId xmlns:a16="http://schemas.microsoft.com/office/drawing/2014/main" id="{B2F0E3C1-B2AF-D34F-B31B-4ADCFAACA99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744830" y="3114460"/>
              <a:ext cx="571875" cy="424535"/>
            </a:xfrm>
            <a:prstGeom prst="rect">
              <a:avLst/>
            </a:prstGeom>
          </p:spPr>
        </p:pic>
      </p:grpSp>
      <p:grpSp>
        <p:nvGrpSpPr>
          <p:cNvPr id="23" name="Group 22">
            <a:extLst>
              <a:ext uri="{FF2B5EF4-FFF2-40B4-BE49-F238E27FC236}">
                <a16:creationId xmlns:a16="http://schemas.microsoft.com/office/drawing/2014/main" id="{C3DDBB9D-A850-B843-8406-55B9C3C5F4A8}"/>
              </a:ext>
            </a:extLst>
          </p:cNvPr>
          <p:cNvGrpSpPr/>
          <p:nvPr/>
        </p:nvGrpSpPr>
        <p:grpSpPr>
          <a:xfrm>
            <a:off x="864482" y="2442332"/>
            <a:ext cx="958356" cy="847805"/>
            <a:chOff x="828502" y="2442332"/>
            <a:chExt cx="958356" cy="847805"/>
          </a:xfrm>
        </p:grpSpPr>
        <p:sp>
          <p:nvSpPr>
            <p:cNvPr id="129" name="Rectangle 9">
              <a:extLst>
                <a:ext uri="{FF2B5EF4-FFF2-40B4-BE49-F238E27FC236}">
                  <a16:creationId xmlns:a16="http://schemas.microsoft.com/office/drawing/2014/main" id="{28B5FBD7-C487-E044-8E92-0169C0776E07}"/>
                </a:ext>
              </a:extLst>
            </p:cNvPr>
            <p:cNvSpPr>
              <a:spLocks noChangeArrowheads="1"/>
            </p:cNvSpPr>
            <p:nvPr/>
          </p:nvSpPr>
          <p:spPr bwMode="auto">
            <a:xfrm flipH="1">
              <a:off x="828502" y="2442332"/>
              <a:ext cx="958356" cy="725537"/>
            </a:xfrm>
            <a:prstGeom prst="rect">
              <a:avLst/>
            </a:prstGeom>
            <a:noFill/>
            <a:ln w="1270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nvGrpSpPr>
            <p:cNvPr id="22" name="Group 21">
              <a:extLst>
                <a:ext uri="{FF2B5EF4-FFF2-40B4-BE49-F238E27FC236}">
                  <a16:creationId xmlns:a16="http://schemas.microsoft.com/office/drawing/2014/main" id="{E1FC0475-ED95-3D40-BF7F-0A241F9DAFE0}"/>
                </a:ext>
              </a:extLst>
            </p:cNvPr>
            <p:cNvGrpSpPr/>
            <p:nvPr/>
          </p:nvGrpSpPr>
          <p:grpSpPr>
            <a:xfrm>
              <a:off x="987946" y="2622583"/>
              <a:ext cx="639468" cy="329711"/>
              <a:chOff x="945805" y="2588594"/>
              <a:chExt cx="721336" cy="371920"/>
            </a:xfrm>
          </p:grpSpPr>
          <p:sp>
            <p:nvSpPr>
              <p:cNvPr id="113" name="Freeform: Shape 175">
                <a:extLst>
                  <a:ext uri="{FF2B5EF4-FFF2-40B4-BE49-F238E27FC236}">
                    <a16:creationId xmlns:a16="http://schemas.microsoft.com/office/drawing/2014/main" id="{9787513D-1027-2144-959A-F95802C99D89}"/>
                  </a:ext>
                </a:extLst>
              </p:cNvPr>
              <p:cNvSpPr/>
              <p:nvPr/>
            </p:nvSpPr>
            <p:spPr bwMode="auto">
              <a:xfrm rot="10800000" flipV="1">
                <a:off x="1214129" y="2588594"/>
                <a:ext cx="187935" cy="146655"/>
              </a:xfrm>
              <a:custGeom>
                <a:avLst/>
                <a:gdLst>
                  <a:gd name="connsiteX0" fmla="*/ 62448 w 640198"/>
                  <a:gd name="connsiteY0" fmla="*/ 117955 h 499576"/>
                  <a:gd name="connsiteX1" fmla="*/ 62448 w 640198"/>
                  <a:gd name="connsiteY1" fmla="*/ 437130 h 499576"/>
                  <a:gd name="connsiteX2" fmla="*/ 304996 w 640198"/>
                  <a:gd name="connsiteY2" fmla="*/ 437130 h 499576"/>
                  <a:gd name="connsiteX3" fmla="*/ 306418 w 640198"/>
                  <a:gd name="connsiteY3" fmla="*/ 446720 h 499576"/>
                  <a:gd name="connsiteX4" fmla="*/ 386035 w 640198"/>
                  <a:gd name="connsiteY4" fmla="*/ 446720 h 499576"/>
                  <a:gd name="connsiteX5" fmla="*/ 384612 w 640198"/>
                  <a:gd name="connsiteY5" fmla="*/ 437130 h 499576"/>
                  <a:gd name="connsiteX6" fmla="*/ 577752 w 640198"/>
                  <a:gd name="connsiteY6" fmla="*/ 437130 h 499576"/>
                  <a:gd name="connsiteX7" fmla="*/ 577752 w 640198"/>
                  <a:gd name="connsiteY7" fmla="*/ 394344 h 499576"/>
                  <a:gd name="connsiteX8" fmla="*/ 584224 w 640198"/>
                  <a:gd name="connsiteY8" fmla="*/ 396513 h 499576"/>
                  <a:gd name="connsiteX9" fmla="*/ 584224 w 640198"/>
                  <a:gd name="connsiteY9" fmla="*/ 313452 h 499576"/>
                  <a:gd name="connsiteX10" fmla="*/ 577752 w 640198"/>
                  <a:gd name="connsiteY10" fmla="*/ 311282 h 499576"/>
                  <a:gd name="connsiteX11" fmla="*/ 577752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384612 w 640198"/>
                  <a:gd name="connsiteY4" fmla="*/ 437130 h 499576"/>
                  <a:gd name="connsiteX5" fmla="*/ 577752 w 640198"/>
                  <a:gd name="connsiteY5" fmla="*/ 437130 h 499576"/>
                  <a:gd name="connsiteX6" fmla="*/ 577752 w 640198"/>
                  <a:gd name="connsiteY6" fmla="*/ 394344 h 499576"/>
                  <a:gd name="connsiteX7" fmla="*/ 584224 w 640198"/>
                  <a:gd name="connsiteY7" fmla="*/ 396513 h 499576"/>
                  <a:gd name="connsiteX8" fmla="*/ 584224 w 640198"/>
                  <a:gd name="connsiteY8" fmla="*/ 313452 h 499576"/>
                  <a:gd name="connsiteX9" fmla="*/ 577752 w 640198"/>
                  <a:gd name="connsiteY9" fmla="*/ 311282 h 499576"/>
                  <a:gd name="connsiteX10" fmla="*/ 577752 w 640198"/>
                  <a:gd name="connsiteY10" fmla="*/ 117955 h 499576"/>
                  <a:gd name="connsiteX11" fmla="*/ 62448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24" fmla="*/ 0 w 640198"/>
                  <a:gd name="connsiteY24" fmla="*/ 0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577752 w 640198"/>
                  <a:gd name="connsiteY4" fmla="*/ 437130 h 499576"/>
                  <a:gd name="connsiteX5" fmla="*/ 577752 w 640198"/>
                  <a:gd name="connsiteY5" fmla="*/ 394344 h 499576"/>
                  <a:gd name="connsiteX6" fmla="*/ 584224 w 640198"/>
                  <a:gd name="connsiteY6" fmla="*/ 396513 h 499576"/>
                  <a:gd name="connsiteX7" fmla="*/ 584224 w 640198"/>
                  <a:gd name="connsiteY7" fmla="*/ 313452 h 499576"/>
                  <a:gd name="connsiteX8" fmla="*/ 577752 w 640198"/>
                  <a:gd name="connsiteY8" fmla="*/ 311282 h 499576"/>
                  <a:gd name="connsiteX9" fmla="*/ 577752 w 640198"/>
                  <a:gd name="connsiteY9" fmla="*/ 117955 h 499576"/>
                  <a:gd name="connsiteX10" fmla="*/ 62448 w 640198"/>
                  <a:gd name="connsiteY10" fmla="*/ 117955 h 499576"/>
                  <a:gd name="connsiteX11" fmla="*/ 0 w 640198"/>
                  <a:gd name="connsiteY11" fmla="*/ 0 h 499576"/>
                  <a:gd name="connsiteX12" fmla="*/ 640198 w 640198"/>
                  <a:gd name="connsiteY12" fmla="*/ 0 h 499576"/>
                  <a:gd name="connsiteX13" fmla="*/ 640198 w 640198"/>
                  <a:gd name="connsiteY13" fmla="*/ 332213 h 499576"/>
                  <a:gd name="connsiteX14" fmla="*/ 629943 w 640198"/>
                  <a:gd name="connsiteY14" fmla="*/ 328776 h 499576"/>
                  <a:gd name="connsiteX15" fmla="*/ 629943 w 640198"/>
                  <a:gd name="connsiteY15" fmla="*/ 411837 h 499576"/>
                  <a:gd name="connsiteX16" fmla="*/ 640198 w 640198"/>
                  <a:gd name="connsiteY16" fmla="*/ 415274 h 499576"/>
                  <a:gd name="connsiteX17" fmla="*/ 640198 w 640198"/>
                  <a:gd name="connsiteY17" fmla="*/ 499576 h 499576"/>
                  <a:gd name="connsiteX18" fmla="*/ 393877 w 640198"/>
                  <a:gd name="connsiteY18" fmla="*/ 499576 h 499576"/>
                  <a:gd name="connsiteX19" fmla="*/ 392818 w 640198"/>
                  <a:gd name="connsiteY19" fmla="*/ 492439 h 499576"/>
                  <a:gd name="connsiteX20" fmla="*/ 313201 w 640198"/>
                  <a:gd name="connsiteY20" fmla="*/ 492439 h 499576"/>
                  <a:gd name="connsiteX21" fmla="*/ 314260 w 640198"/>
                  <a:gd name="connsiteY21" fmla="*/ 499576 h 499576"/>
                  <a:gd name="connsiteX22" fmla="*/ 0 w 640198"/>
                  <a:gd name="connsiteY22" fmla="*/ 499576 h 499576"/>
                  <a:gd name="connsiteX23" fmla="*/ 0 w 640198"/>
                  <a:gd name="connsiteY23" fmla="*/ 0 h 499576"/>
                  <a:gd name="connsiteX0" fmla="*/ 62448 w 640198"/>
                  <a:gd name="connsiteY0" fmla="*/ 117955 h 499576"/>
                  <a:gd name="connsiteX1" fmla="*/ 62448 w 640198"/>
                  <a:gd name="connsiteY1" fmla="*/ 437130 h 499576"/>
                  <a:gd name="connsiteX2" fmla="*/ 304996 w 640198"/>
                  <a:gd name="connsiteY2" fmla="*/ 437130 h 499576"/>
                  <a:gd name="connsiteX3" fmla="*/ 577752 w 640198"/>
                  <a:gd name="connsiteY3" fmla="*/ 437130 h 499576"/>
                  <a:gd name="connsiteX4" fmla="*/ 577752 w 640198"/>
                  <a:gd name="connsiteY4" fmla="*/ 394344 h 499576"/>
                  <a:gd name="connsiteX5" fmla="*/ 584224 w 640198"/>
                  <a:gd name="connsiteY5" fmla="*/ 396513 h 499576"/>
                  <a:gd name="connsiteX6" fmla="*/ 584224 w 640198"/>
                  <a:gd name="connsiteY6" fmla="*/ 313452 h 499576"/>
                  <a:gd name="connsiteX7" fmla="*/ 577752 w 640198"/>
                  <a:gd name="connsiteY7" fmla="*/ 311282 h 499576"/>
                  <a:gd name="connsiteX8" fmla="*/ 577752 w 640198"/>
                  <a:gd name="connsiteY8" fmla="*/ 117955 h 499576"/>
                  <a:gd name="connsiteX9" fmla="*/ 62448 w 640198"/>
                  <a:gd name="connsiteY9" fmla="*/ 117955 h 499576"/>
                  <a:gd name="connsiteX10" fmla="*/ 0 w 640198"/>
                  <a:gd name="connsiteY10" fmla="*/ 0 h 499576"/>
                  <a:gd name="connsiteX11" fmla="*/ 640198 w 640198"/>
                  <a:gd name="connsiteY11" fmla="*/ 0 h 499576"/>
                  <a:gd name="connsiteX12" fmla="*/ 640198 w 640198"/>
                  <a:gd name="connsiteY12" fmla="*/ 332213 h 499576"/>
                  <a:gd name="connsiteX13" fmla="*/ 629943 w 640198"/>
                  <a:gd name="connsiteY13" fmla="*/ 328776 h 499576"/>
                  <a:gd name="connsiteX14" fmla="*/ 629943 w 640198"/>
                  <a:gd name="connsiteY14" fmla="*/ 411837 h 499576"/>
                  <a:gd name="connsiteX15" fmla="*/ 640198 w 640198"/>
                  <a:gd name="connsiteY15" fmla="*/ 415274 h 499576"/>
                  <a:gd name="connsiteX16" fmla="*/ 640198 w 640198"/>
                  <a:gd name="connsiteY16" fmla="*/ 499576 h 499576"/>
                  <a:gd name="connsiteX17" fmla="*/ 393877 w 640198"/>
                  <a:gd name="connsiteY17" fmla="*/ 499576 h 499576"/>
                  <a:gd name="connsiteX18" fmla="*/ 392818 w 640198"/>
                  <a:gd name="connsiteY18" fmla="*/ 492439 h 499576"/>
                  <a:gd name="connsiteX19" fmla="*/ 313201 w 640198"/>
                  <a:gd name="connsiteY19" fmla="*/ 492439 h 499576"/>
                  <a:gd name="connsiteX20" fmla="*/ 314260 w 640198"/>
                  <a:gd name="connsiteY20" fmla="*/ 499576 h 499576"/>
                  <a:gd name="connsiteX21" fmla="*/ 0 w 640198"/>
                  <a:gd name="connsiteY21" fmla="*/ 499576 h 499576"/>
                  <a:gd name="connsiteX22" fmla="*/ 0 w 640198"/>
                  <a:gd name="connsiteY2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311282 h 499576"/>
                  <a:gd name="connsiteX7" fmla="*/ 577752 w 640198"/>
                  <a:gd name="connsiteY7" fmla="*/ 117955 h 499576"/>
                  <a:gd name="connsiteX8" fmla="*/ 62448 w 640198"/>
                  <a:gd name="connsiteY8" fmla="*/ 117955 h 499576"/>
                  <a:gd name="connsiteX9" fmla="*/ 0 w 640198"/>
                  <a:gd name="connsiteY9" fmla="*/ 0 h 499576"/>
                  <a:gd name="connsiteX10" fmla="*/ 640198 w 640198"/>
                  <a:gd name="connsiteY10" fmla="*/ 0 h 499576"/>
                  <a:gd name="connsiteX11" fmla="*/ 640198 w 640198"/>
                  <a:gd name="connsiteY11" fmla="*/ 332213 h 499576"/>
                  <a:gd name="connsiteX12" fmla="*/ 629943 w 640198"/>
                  <a:gd name="connsiteY12" fmla="*/ 328776 h 499576"/>
                  <a:gd name="connsiteX13" fmla="*/ 629943 w 640198"/>
                  <a:gd name="connsiteY13" fmla="*/ 411837 h 499576"/>
                  <a:gd name="connsiteX14" fmla="*/ 640198 w 640198"/>
                  <a:gd name="connsiteY14" fmla="*/ 415274 h 499576"/>
                  <a:gd name="connsiteX15" fmla="*/ 640198 w 640198"/>
                  <a:gd name="connsiteY15" fmla="*/ 499576 h 499576"/>
                  <a:gd name="connsiteX16" fmla="*/ 393877 w 640198"/>
                  <a:gd name="connsiteY16" fmla="*/ 499576 h 499576"/>
                  <a:gd name="connsiteX17" fmla="*/ 392818 w 640198"/>
                  <a:gd name="connsiteY17" fmla="*/ 492439 h 499576"/>
                  <a:gd name="connsiteX18" fmla="*/ 313201 w 640198"/>
                  <a:gd name="connsiteY18" fmla="*/ 492439 h 499576"/>
                  <a:gd name="connsiteX19" fmla="*/ 314260 w 640198"/>
                  <a:gd name="connsiteY19" fmla="*/ 499576 h 499576"/>
                  <a:gd name="connsiteX20" fmla="*/ 0 w 640198"/>
                  <a:gd name="connsiteY20" fmla="*/ 499576 h 499576"/>
                  <a:gd name="connsiteX21" fmla="*/ 0 w 640198"/>
                  <a:gd name="connsiteY2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117955 h 499576"/>
                  <a:gd name="connsiteX7" fmla="*/ 62448 w 640198"/>
                  <a:gd name="connsiteY7" fmla="*/ 117955 h 499576"/>
                  <a:gd name="connsiteX8" fmla="*/ 0 w 640198"/>
                  <a:gd name="connsiteY8" fmla="*/ 0 h 499576"/>
                  <a:gd name="connsiteX9" fmla="*/ 640198 w 640198"/>
                  <a:gd name="connsiteY9" fmla="*/ 0 h 499576"/>
                  <a:gd name="connsiteX10" fmla="*/ 640198 w 640198"/>
                  <a:gd name="connsiteY10" fmla="*/ 332213 h 499576"/>
                  <a:gd name="connsiteX11" fmla="*/ 629943 w 640198"/>
                  <a:gd name="connsiteY11" fmla="*/ 328776 h 499576"/>
                  <a:gd name="connsiteX12" fmla="*/ 629943 w 640198"/>
                  <a:gd name="connsiteY12" fmla="*/ 411837 h 499576"/>
                  <a:gd name="connsiteX13" fmla="*/ 640198 w 640198"/>
                  <a:gd name="connsiteY13" fmla="*/ 415274 h 499576"/>
                  <a:gd name="connsiteX14" fmla="*/ 640198 w 640198"/>
                  <a:gd name="connsiteY14" fmla="*/ 499576 h 499576"/>
                  <a:gd name="connsiteX15" fmla="*/ 393877 w 640198"/>
                  <a:gd name="connsiteY15" fmla="*/ 499576 h 499576"/>
                  <a:gd name="connsiteX16" fmla="*/ 392818 w 640198"/>
                  <a:gd name="connsiteY16" fmla="*/ 492439 h 499576"/>
                  <a:gd name="connsiteX17" fmla="*/ 313201 w 640198"/>
                  <a:gd name="connsiteY17" fmla="*/ 492439 h 499576"/>
                  <a:gd name="connsiteX18" fmla="*/ 314260 w 640198"/>
                  <a:gd name="connsiteY18" fmla="*/ 499576 h 499576"/>
                  <a:gd name="connsiteX19" fmla="*/ 0 w 640198"/>
                  <a:gd name="connsiteY19" fmla="*/ 499576 h 499576"/>
                  <a:gd name="connsiteX20" fmla="*/ 0 w 640198"/>
                  <a:gd name="connsiteY2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77752 w 640198"/>
                  <a:gd name="connsiteY5" fmla="*/ 117955 h 499576"/>
                  <a:gd name="connsiteX6" fmla="*/ 62448 w 640198"/>
                  <a:gd name="connsiteY6" fmla="*/ 117955 h 499576"/>
                  <a:gd name="connsiteX7" fmla="*/ 0 w 640198"/>
                  <a:gd name="connsiteY7" fmla="*/ 0 h 499576"/>
                  <a:gd name="connsiteX8" fmla="*/ 640198 w 640198"/>
                  <a:gd name="connsiteY8" fmla="*/ 0 h 499576"/>
                  <a:gd name="connsiteX9" fmla="*/ 640198 w 640198"/>
                  <a:gd name="connsiteY9" fmla="*/ 332213 h 499576"/>
                  <a:gd name="connsiteX10" fmla="*/ 629943 w 640198"/>
                  <a:gd name="connsiteY10" fmla="*/ 328776 h 499576"/>
                  <a:gd name="connsiteX11" fmla="*/ 629943 w 640198"/>
                  <a:gd name="connsiteY11" fmla="*/ 411837 h 499576"/>
                  <a:gd name="connsiteX12" fmla="*/ 640198 w 640198"/>
                  <a:gd name="connsiteY12" fmla="*/ 415274 h 499576"/>
                  <a:gd name="connsiteX13" fmla="*/ 640198 w 640198"/>
                  <a:gd name="connsiteY13" fmla="*/ 499576 h 499576"/>
                  <a:gd name="connsiteX14" fmla="*/ 393877 w 640198"/>
                  <a:gd name="connsiteY14" fmla="*/ 499576 h 499576"/>
                  <a:gd name="connsiteX15" fmla="*/ 392818 w 640198"/>
                  <a:gd name="connsiteY15" fmla="*/ 492439 h 499576"/>
                  <a:gd name="connsiteX16" fmla="*/ 313201 w 640198"/>
                  <a:gd name="connsiteY16" fmla="*/ 492439 h 499576"/>
                  <a:gd name="connsiteX17" fmla="*/ 314260 w 640198"/>
                  <a:gd name="connsiteY17" fmla="*/ 499576 h 499576"/>
                  <a:gd name="connsiteX18" fmla="*/ 0 w 640198"/>
                  <a:gd name="connsiteY18" fmla="*/ 499576 h 499576"/>
                  <a:gd name="connsiteX19" fmla="*/ 0 w 640198"/>
                  <a:gd name="connsiteY19"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77752 w 640198"/>
                  <a:gd name="connsiteY4" fmla="*/ 117955 h 499576"/>
                  <a:gd name="connsiteX5" fmla="*/ 62448 w 640198"/>
                  <a:gd name="connsiteY5" fmla="*/ 117955 h 499576"/>
                  <a:gd name="connsiteX6" fmla="*/ 0 w 640198"/>
                  <a:gd name="connsiteY6" fmla="*/ 0 h 499576"/>
                  <a:gd name="connsiteX7" fmla="*/ 640198 w 640198"/>
                  <a:gd name="connsiteY7" fmla="*/ 0 h 499576"/>
                  <a:gd name="connsiteX8" fmla="*/ 640198 w 640198"/>
                  <a:gd name="connsiteY8" fmla="*/ 332213 h 499576"/>
                  <a:gd name="connsiteX9" fmla="*/ 629943 w 640198"/>
                  <a:gd name="connsiteY9" fmla="*/ 328776 h 499576"/>
                  <a:gd name="connsiteX10" fmla="*/ 629943 w 640198"/>
                  <a:gd name="connsiteY10" fmla="*/ 411837 h 499576"/>
                  <a:gd name="connsiteX11" fmla="*/ 640198 w 640198"/>
                  <a:gd name="connsiteY11" fmla="*/ 415274 h 499576"/>
                  <a:gd name="connsiteX12" fmla="*/ 640198 w 640198"/>
                  <a:gd name="connsiteY12" fmla="*/ 499576 h 499576"/>
                  <a:gd name="connsiteX13" fmla="*/ 393877 w 640198"/>
                  <a:gd name="connsiteY13" fmla="*/ 499576 h 499576"/>
                  <a:gd name="connsiteX14" fmla="*/ 392818 w 640198"/>
                  <a:gd name="connsiteY14" fmla="*/ 492439 h 499576"/>
                  <a:gd name="connsiteX15" fmla="*/ 313201 w 640198"/>
                  <a:gd name="connsiteY15" fmla="*/ 492439 h 499576"/>
                  <a:gd name="connsiteX16" fmla="*/ 314260 w 640198"/>
                  <a:gd name="connsiteY16" fmla="*/ 499576 h 499576"/>
                  <a:gd name="connsiteX17" fmla="*/ 0 w 640198"/>
                  <a:gd name="connsiteY17" fmla="*/ 499576 h 499576"/>
                  <a:gd name="connsiteX18" fmla="*/ 0 w 640198"/>
                  <a:gd name="connsiteY18"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328776 h 499576"/>
                  <a:gd name="connsiteX9" fmla="*/ 629943 w 640198"/>
                  <a:gd name="connsiteY9" fmla="*/ 411837 h 499576"/>
                  <a:gd name="connsiteX10" fmla="*/ 640198 w 640198"/>
                  <a:gd name="connsiteY10" fmla="*/ 415274 h 499576"/>
                  <a:gd name="connsiteX11" fmla="*/ 640198 w 640198"/>
                  <a:gd name="connsiteY11" fmla="*/ 499576 h 499576"/>
                  <a:gd name="connsiteX12" fmla="*/ 393877 w 640198"/>
                  <a:gd name="connsiteY12" fmla="*/ 499576 h 499576"/>
                  <a:gd name="connsiteX13" fmla="*/ 392818 w 640198"/>
                  <a:gd name="connsiteY13" fmla="*/ 492439 h 499576"/>
                  <a:gd name="connsiteX14" fmla="*/ 313201 w 640198"/>
                  <a:gd name="connsiteY14" fmla="*/ 492439 h 499576"/>
                  <a:gd name="connsiteX15" fmla="*/ 314260 w 640198"/>
                  <a:gd name="connsiteY15" fmla="*/ 499576 h 499576"/>
                  <a:gd name="connsiteX16" fmla="*/ 0 w 640198"/>
                  <a:gd name="connsiteY16" fmla="*/ 499576 h 499576"/>
                  <a:gd name="connsiteX17" fmla="*/ 0 w 640198"/>
                  <a:gd name="connsiteY17"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411837 h 499576"/>
                  <a:gd name="connsiteX9" fmla="*/ 640198 w 640198"/>
                  <a:gd name="connsiteY9" fmla="*/ 415274 h 499576"/>
                  <a:gd name="connsiteX10" fmla="*/ 640198 w 640198"/>
                  <a:gd name="connsiteY10" fmla="*/ 499576 h 499576"/>
                  <a:gd name="connsiteX11" fmla="*/ 393877 w 640198"/>
                  <a:gd name="connsiteY11" fmla="*/ 499576 h 499576"/>
                  <a:gd name="connsiteX12" fmla="*/ 392818 w 640198"/>
                  <a:gd name="connsiteY12" fmla="*/ 492439 h 499576"/>
                  <a:gd name="connsiteX13" fmla="*/ 313201 w 640198"/>
                  <a:gd name="connsiteY13" fmla="*/ 492439 h 499576"/>
                  <a:gd name="connsiteX14" fmla="*/ 314260 w 640198"/>
                  <a:gd name="connsiteY14" fmla="*/ 499576 h 499576"/>
                  <a:gd name="connsiteX15" fmla="*/ 0 w 640198"/>
                  <a:gd name="connsiteY15" fmla="*/ 499576 h 499576"/>
                  <a:gd name="connsiteX16" fmla="*/ 0 w 640198"/>
                  <a:gd name="connsiteY16"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29943 w 640198"/>
                  <a:gd name="connsiteY7" fmla="*/ 411837 h 499576"/>
                  <a:gd name="connsiteX8" fmla="*/ 640198 w 640198"/>
                  <a:gd name="connsiteY8" fmla="*/ 415274 h 499576"/>
                  <a:gd name="connsiteX9" fmla="*/ 640198 w 640198"/>
                  <a:gd name="connsiteY9" fmla="*/ 499576 h 499576"/>
                  <a:gd name="connsiteX10" fmla="*/ 393877 w 640198"/>
                  <a:gd name="connsiteY10" fmla="*/ 499576 h 499576"/>
                  <a:gd name="connsiteX11" fmla="*/ 392818 w 640198"/>
                  <a:gd name="connsiteY11" fmla="*/ 492439 h 499576"/>
                  <a:gd name="connsiteX12" fmla="*/ 313201 w 640198"/>
                  <a:gd name="connsiteY12" fmla="*/ 492439 h 499576"/>
                  <a:gd name="connsiteX13" fmla="*/ 314260 w 640198"/>
                  <a:gd name="connsiteY13" fmla="*/ 499576 h 499576"/>
                  <a:gd name="connsiteX14" fmla="*/ 0 w 640198"/>
                  <a:gd name="connsiteY14" fmla="*/ 499576 h 499576"/>
                  <a:gd name="connsiteX15" fmla="*/ 0 w 640198"/>
                  <a:gd name="connsiteY15"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15274 h 499576"/>
                  <a:gd name="connsiteX8" fmla="*/ 640198 w 640198"/>
                  <a:gd name="connsiteY8" fmla="*/ 499576 h 499576"/>
                  <a:gd name="connsiteX9" fmla="*/ 393877 w 640198"/>
                  <a:gd name="connsiteY9" fmla="*/ 499576 h 499576"/>
                  <a:gd name="connsiteX10" fmla="*/ 392818 w 640198"/>
                  <a:gd name="connsiteY10" fmla="*/ 492439 h 499576"/>
                  <a:gd name="connsiteX11" fmla="*/ 313201 w 640198"/>
                  <a:gd name="connsiteY11" fmla="*/ 492439 h 499576"/>
                  <a:gd name="connsiteX12" fmla="*/ 314260 w 640198"/>
                  <a:gd name="connsiteY12" fmla="*/ 499576 h 499576"/>
                  <a:gd name="connsiteX13" fmla="*/ 0 w 640198"/>
                  <a:gd name="connsiteY13" fmla="*/ 499576 h 499576"/>
                  <a:gd name="connsiteX14" fmla="*/ 0 w 640198"/>
                  <a:gd name="connsiteY14"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314260 w 640198"/>
                  <a:gd name="connsiteY11" fmla="*/ 499576 h 499576"/>
                  <a:gd name="connsiteX12" fmla="*/ 0 w 640198"/>
                  <a:gd name="connsiteY12" fmla="*/ 499576 h 499576"/>
                  <a:gd name="connsiteX13" fmla="*/ 0 w 640198"/>
                  <a:gd name="connsiteY13"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0 w 640198"/>
                  <a:gd name="connsiteY11" fmla="*/ 499576 h 499576"/>
                  <a:gd name="connsiteX12" fmla="*/ 0 w 640198"/>
                  <a:gd name="connsiteY1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0 w 640198"/>
                  <a:gd name="connsiteY10" fmla="*/ 499576 h 499576"/>
                  <a:gd name="connsiteX11" fmla="*/ 0 w 640198"/>
                  <a:gd name="connsiteY1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0 w 640198"/>
                  <a:gd name="connsiteY9" fmla="*/ 499576 h 499576"/>
                  <a:gd name="connsiteX10" fmla="*/ 0 w 640198"/>
                  <a:gd name="connsiteY1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0 w 640198"/>
                  <a:gd name="connsiteY8" fmla="*/ 499576 h 499576"/>
                  <a:gd name="connsiteX9" fmla="*/ 0 w 640198"/>
                  <a:gd name="connsiteY9" fmla="*/ 0 h 499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198" h="499576">
                    <a:moveTo>
                      <a:pt x="62448" y="117955"/>
                    </a:moveTo>
                    <a:lnTo>
                      <a:pt x="62448" y="437130"/>
                    </a:lnTo>
                    <a:lnTo>
                      <a:pt x="577752" y="437130"/>
                    </a:lnTo>
                    <a:lnTo>
                      <a:pt x="577752" y="117955"/>
                    </a:lnTo>
                    <a:lnTo>
                      <a:pt x="62448" y="117955"/>
                    </a:lnTo>
                    <a:close/>
                    <a:moveTo>
                      <a:pt x="0" y="0"/>
                    </a:moveTo>
                    <a:lnTo>
                      <a:pt x="640198" y="0"/>
                    </a:lnTo>
                    <a:lnTo>
                      <a:pt x="640198" y="499576"/>
                    </a:lnTo>
                    <a:lnTo>
                      <a:pt x="0" y="499576"/>
                    </a:lnTo>
                    <a:lnTo>
                      <a:pt x="0" y="0"/>
                    </a:lnTo>
                    <a:close/>
                  </a:path>
                </a:pathLst>
              </a:custGeom>
              <a:solidFill>
                <a:schemeClr val="accent1"/>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nvGrpSpPr>
              <p:cNvPr id="21" name="Group 20">
                <a:extLst>
                  <a:ext uri="{FF2B5EF4-FFF2-40B4-BE49-F238E27FC236}">
                    <a16:creationId xmlns:a16="http://schemas.microsoft.com/office/drawing/2014/main" id="{C18EE13A-5153-4548-BE6D-96616EEB3F12}"/>
                  </a:ext>
                </a:extLst>
              </p:cNvPr>
              <p:cNvGrpSpPr/>
              <p:nvPr/>
            </p:nvGrpSpPr>
            <p:grpSpPr>
              <a:xfrm>
                <a:off x="945805" y="2810039"/>
                <a:ext cx="721336" cy="150475"/>
                <a:chOff x="945805" y="2810039"/>
                <a:chExt cx="721336" cy="150475"/>
              </a:xfrm>
            </p:grpSpPr>
            <p:sp>
              <p:nvSpPr>
                <p:cNvPr id="142" name="Freeform: Shape 171">
                  <a:extLst>
                    <a:ext uri="{FF2B5EF4-FFF2-40B4-BE49-F238E27FC236}">
                      <a16:creationId xmlns:a16="http://schemas.microsoft.com/office/drawing/2014/main" id="{979AD3DF-28AE-624D-80B2-EAB2DF896F1C}"/>
                    </a:ext>
                  </a:extLst>
                </p:cNvPr>
                <p:cNvSpPr/>
                <p:nvPr/>
              </p:nvSpPr>
              <p:spPr bwMode="auto">
                <a:xfrm rot="10800000" flipV="1">
                  <a:off x="1214129" y="2813860"/>
                  <a:ext cx="187936" cy="146654"/>
                </a:xfrm>
                <a:custGeom>
                  <a:avLst/>
                  <a:gdLst>
                    <a:gd name="connsiteX0" fmla="*/ 62448 w 640198"/>
                    <a:gd name="connsiteY0" fmla="*/ 117955 h 499576"/>
                    <a:gd name="connsiteX1" fmla="*/ 62448 w 640198"/>
                    <a:gd name="connsiteY1" fmla="*/ 437130 h 499576"/>
                    <a:gd name="connsiteX2" fmla="*/ 304996 w 640198"/>
                    <a:gd name="connsiteY2" fmla="*/ 437130 h 499576"/>
                    <a:gd name="connsiteX3" fmla="*/ 306418 w 640198"/>
                    <a:gd name="connsiteY3" fmla="*/ 446720 h 499576"/>
                    <a:gd name="connsiteX4" fmla="*/ 386035 w 640198"/>
                    <a:gd name="connsiteY4" fmla="*/ 446720 h 499576"/>
                    <a:gd name="connsiteX5" fmla="*/ 384612 w 640198"/>
                    <a:gd name="connsiteY5" fmla="*/ 437130 h 499576"/>
                    <a:gd name="connsiteX6" fmla="*/ 577752 w 640198"/>
                    <a:gd name="connsiteY6" fmla="*/ 437130 h 499576"/>
                    <a:gd name="connsiteX7" fmla="*/ 577752 w 640198"/>
                    <a:gd name="connsiteY7" fmla="*/ 394344 h 499576"/>
                    <a:gd name="connsiteX8" fmla="*/ 584224 w 640198"/>
                    <a:gd name="connsiteY8" fmla="*/ 396513 h 499576"/>
                    <a:gd name="connsiteX9" fmla="*/ 584224 w 640198"/>
                    <a:gd name="connsiteY9" fmla="*/ 313452 h 499576"/>
                    <a:gd name="connsiteX10" fmla="*/ 577752 w 640198"/>
                    <a:gd name="connsiteY10" fmla="*/ 311282 h 499576"/>
                    <a:gd name="connsiteX11" fmla="*/ 577752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384612 w 640198"/>
                    <a:gd name="connsiteY4" fmla="*/ 437130 h 499576"/>
                    <a:gd name="connsiteX5" fmla="*/ 577752 w 640198"/>
                    <a:gd name="connsiteY5" fmla="*/ 437130 h 499576"/>
                    <a:gd name="connsiteX6" fmla="*/ 577752 w 640198"/>
                    <a:gd name="connsiteY6" fmla="*/ 394344 h 499576"/>
                    <a:gd name="connsiteX7" fmla="*/ 584224 w 640198"/>
                    <a:gd name="connsiteY7" fmla="*/ 396513 h 499576"/>
                    <a:gd name="connsiteX8" fmla="*/ 584224 w 640198"/>
                    <a:gd name="connsiteY8" fmla="*/ 313452 h 499576"/>
                    <a:gd name="connsiteX9" fmla="*/ 577752 w 640198"/>
                    <a:gd name="connsiteY9" fmla="*/ 311282 h 499576"/>
                    <a:gd name="connsiteX10" fmla="*/ 577752 w 640198"/>
                    <a:gd name="connsiteY10" fmla="*/ 117955 h 499576"/>
                    <a:gd name="connsiteX11" fmla="*/ 62448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24" fmla="*/ 0 w 640198"/>
                    <a:gd name="connsiteY24" fmla="*/ 0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577752 w 640198"/>
                    <a:gd name="connsiteY4" fmla="*/ 437130 h 499576"/>
                    <a:gd name="connsiteX5" fmla="*/ 577752 w 640198"/>
                    <a:gd name="connsiteY5" fmla="*/ 394344 h 499576"/>
                    <a:gd name="connsiteX6" fmla="*/ 584224 w 640198"/>
                    <a:gd name="connsiteY6" fmla="*/ 396513 h 499576"/>
                    <a:gd name="connsiteX7" fmla="*/ 584224 w 640198"/>
                    <a:gd name="connsiteY7" fmla="*/ 313452 h 499576"/>
                    <a:gd name="connsiteX8" fmla="*/ 577752 w 640198"/>
                    <a:gd name="connsiteY8" fmla="*/ 311282 h 499576"/>
                    <a:gd name="connsiteX9" fmla="*/ 577752 w 640198"/>
                    <a:gd name="connsiteY9" fmla="*/ 117955 h 499576"/>
                    <a:gd name="connsiteX10" fmla="*/ 62448 w 640198"/>
                    <a:gd name="connsiteY10" fmla="*/ 117955 h 499576"/>
                    <a:gd name="connsiteX11" fmla="*/ 0 w 640198"/>
                    <a:gd name="connsiteY11" fmla="*/ 0 h 499576"/>
                    <a:gd name="connsiteX12" fmla="*/ 640198 w 640198"/>
                    <a:gd name="connsiteY12" fmla="*/ 0 h 499576"/>
                    <a:gd name="connsiteX13" fmla="*/ 640198 w 640198"/>
                    <a:gd name="connsiteY13" fmla="*/ 332213 h 499576"/>
                    <a:gd name="connsiteX14" fmla="*/ 629943 w 640198"/>
                    <a:gd name="connsiteY14" fmla="*/ 328776 h 499576"/>
                    <a:gd name="connsiteX15" fmla="*/ 629943 w 640198"/>
                    <a:gd name="connsiteY15" fmla="*/ 411837 h 499576"/>
                    <a:gd name="connsiteX16" fmla="*/ 640198 w 640198"/>
                    <a:gd name="connsiteY16" fmla="*/ 415274 h 499576"/>
                    <a:gd name="connsiteX17" fmla="*/ 640198 w 640198"/>
                    <a:gd name="connsiteY17" fmla="*/ 499576 h 499576"/>
                    <a:gd name="connsiteX18" fmla="*/ 393877 w 640198"/>
                    <a:gd name="connsiteY18" fmla="*/ 499576 h 499576"/>
                    <a:gd name="connsiteX19" fmla="*/ 392818 w 640198"/>
                    <a:gd name="connsiteY19" fmla="*/ 492439 h 499576"/>
                    <a:gd name="connsiteX20" fmla="*/ 313201 w 640198"/>
                    <a:gd name="connsiteY20" fmla="*/ 492439 h 499576"/>
                    <a:gd name="connsiteX21" fmla="*/ 314260 w 640198"/>
                    <a:gd name="connsiteY21" fmla="*/ 499576 h 499576"/>
                    <a:gd name="connsiteX22" fmla="*/ 0 w 640198"/>
                    <a:gd name="connsiteY22" fmla="*/ 499576 h 499576"/>
                    <a:gd name="connsiteX23" fmla="*/ 0 w 640198"/>
                    <a:gd name="connsiteY23" fmla="*/ 0 h 499576"/>
                    <a:gd name="connsiteX0" fmla="*/ 62448 w 640198"/>
                    <a:gd name="connsiteY0" fmla="*/ 117955 h 499576"/>
                    <a:gd name="connsiteX1" fmla="*/ 62448 w 640198"/>
                    <a:gd name="connsiteY1" fmla="*/ 437130 h 499576"/>
                    <a:gd name="connsiteX2" fmla="*/ 304996 w 640198"/>
                    <a:gd name="connsiteY2" fmla="*/ 437130 h 499576"/>
                    <a:gd name="connsiteX3" fmla="*/ 577752 w 640198"/>
                    <a:gd name="connsiteY3" fmla="*/ 437130 h 499576"/>
                    <a:gd name="connsiteX4" fmla="*/ 577752 w 640198"/>
                    <a:gd name="connsiteY4" fmla="*/ 394344 h 499576"/>
                    <a:gd name="connsiteX5" fmla="*/ 584224 w 640198"/>
                    <a:gd name="connsiteY5" fmla="*/ 396513 h 499576"/>
                    <a:gd name="connsiteX6" fmla="*/ 584224 w 640198"/>
                    <a:gd name="connsiteY6" fmla="*/ 313452 h 499576"/>
                    <a:gd name="connsiteX7" fmla="*/ 577752 w 640198"/>
                    <a:gd name="connsiteY7" fmla="*/ 311282 h 499576"/>
                    <a:gd name="connsiteX8" fmla="*/ 577752 w 640198"/>
                    <a:gd name="connsiteY8" fmla="*/ 117955 h 499576"/>
                    <a:gd name="connsiteX9" fmla="*/ 62448 w 640198"/>
                    <a:gd name="connsiteY9" fmla="*/ 117955 h 499576"/>
                    <a:gd name="connsiteX10" fmla="*/ 0 w 640198"/>
                    <a:gd name="connsiteY10" fmla="*/ 0 h 499576"/>
                    <a:gd name="connsiteX11" fmla="*/ 640198 w 640198"/>
                    <a:gd name="connsiteY11" fmla="*/ 0 h 499576"/>
                    <a:gd name="connsiteX12" fmla="*/ 640198 w 640198"/>
                    <a:gd name="connsiteY12" fmla="*/ 332213 h 499576"/>
                    <a:gd name="connsiteX13" fmla="*/ 629943 w 640198"/>
                    <a:gd name="connsiteY13" fmla="*/ 328776 h 499576"/>
                    <a:gd name="connsiteX14" fmla="*/ 629943 w 640198"/>
                    <a:gd name="connsiteY14" fmla="*/ 411837 h 499576"/>
                    <a:gd name="connsiteX15" fmla="*/ 640198 w 640198"/>
                    <a:gd name="connsiteY15" fmla="*/ 415274 h 499576"/>
                    <a:gd name="connsiteX16" fmla="*/ 640198 w 640198"/>
                    <a:gd name="connsiteY16" fmla="*/ 499576 h 499576"/>
                    <a:gd name="connsiteX17" fmla="*/ 393877 w 640198"/>
                    <a:gd name="connsiteY17" fmla="*/ 499576 h 499576"/>
                    <a:gd name="connsiteX18" fmla="*/ 392818 w 640198"/>
                    <a:gd name="connsiteY18" fmla="*/ 492439 h 499576"/>
                    <a:gd name="connsiteX19" fmla="*/ 313201 w 640198"/>
                    <a:gd name="connsiteY19" fmla="*/ 492439 h 499576"/>
                    <a:gd name="connsiteX20" fmla="*/ 314260 w 640198"/>
                    <a:gd name="connsiteY20" fmla="*/ 499576 h 499576"/>
                    <a:gd name="connsiteX21" fmla="*/ 0 w 640198"/>
                    <a:gd name="connsiteY21" fmla="*/ 499576 h 499576"/>
                    <a:gd name="connsiteX22" fmla="*/ 0 w 640198"/>
                    <a:gd name="connsiteY2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311282 h 499576"/>
                    <a:gd name="connsiteX7" fmla="*/ 577752 w 640198"/>
                    <a:gd name="connsiteY7" fmla="*/ 117955 h 499576"/>
                    <a:gd name="connsiteX8" fmla="*/ 62448 w 640198"/>
                    <a:gd name="connsiteY8" fmla="*/ 117955 h 499576"/>
                    <a:gd name="connsiteX9" fmla="*/ 0 w 640198"/>
                    <a:gd name="connsiteY9" fmla="*/ 0 h 499576"/>
                    <a:gd name="connsiteX10" fmla="*/ 640198 w 640198"/>
                    <a:gd name="connsiteY10" fmla="*/ 0 h 499576"/>
                    <a:gd name="connsiteX11" fmla="*/ 640198 w 640198"/>
                    <a:gd name="connsiteY11" fmla="*/ 332213 h 499576"/>
                    <a:gd name="connsiteX12" fmla="*/ 629943 w 640198"/>
                    <a:gd name="connsiteY12" fmla="*/ 328776 h 499576"/>
                    <a:gd name="connsiteX13" fmla="*/ 629943 w 640198"/>
                    <a:gd name="connsiteY13" fmla="*/ 411837 h 499576"/>
                    <a:gd name="connsiteX14" fmla="*/ 640198 w 640198"/>
                    <a:gd name="connsiteY14" fmla="*/ 415274 h 499576"/>
                    <a:gd name="connsiteX15" fmla="*/ 640198 w 640198"/>
                    <a:gd name="connsiteY15" fmla="*/ 499576 h 499576"/>
                    <a:gd name="connsiteX16" fmla="*/ 393877 w 640198"/>
                    <a:gd name="connsiteY16" fmla="*/ 499576 h 499576"/>
                    <a:gd name="connsiteX17" fmla="*/ 392818 w 640198"/>
                    <a:gd name="connsiteY17" fmla="*/ 492439 h 499576"/>
                    <a:gd name="connsiteX18" fmla="*/ 313201 w 640198"/>
                    <a:gd name="connsiteY18" fmla="*/ 492439 h 499576"/>
                    <a:gd name="connsiteX19" fmla="*/ 314260 w 640198"/>
                    <a:gd name="connsiteY19" fmla="*/ 499576 h 499576"/>
                    <a:gd name="connsiteX20" fmla="*/ 0 w 640198"/>
                    <a:gd name="connsiteY20" fmla="*/ 499576 h 499576"/>
                    <a:gd name="connsiteX21" fmla="*/ 0 w 640198"/>
                    <a:gd name="connsiteY2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117955 h 499576"/>
                    <a:gd name="connsiteX7" fmla="*/ 62448 w 640198"/>
                    <a:gd name="connsiteY7" fmla="*/ 117955 h 499576"/>
                    <a:gd name="connsiteX8" fmla="*/ 0 w 640198"/>
                    <a:gd name="connsiteY8" fmla="*/ 0 h 499576"/>
                    <a:gd name="connsiteX9" fmla="*/ 640198 w 640198"/>
                    <a:gd name="connsiteY9" fmla="*/ 0 h 499576"/>
                    <a:gd name="connsiteX10" fmla="*/ 640198 w 640198"/>
                    <a:gd name="connsiteY10" fmla="*/ 332213 h 499576"/>
                    <a:gd name="connsiteX11" fmla="*/ 629943 w 640198"/>
                    <a:gd name="connsiteY11" fmla="*/ 328776 h 499576"/>
                    <a:gd name="connsiteX12" fmla="*/ 629943 w 640198"/>
                    <a:gd name="connsiteY12" fmla="*/ 411837 h 499576"/>
                    <a:gd name="connsiteX13" fmla="*/ 640198 w 640198"/>
                    <a:gd name="connsiteY13" fmla="*/ 415274 h 499576"/>
                    <a:gd name="connsiteX14" fmla="*/ 640198 w 640198"/>
                    <a:gd name="connsiteY14" fmla="*/ 499576 h 499576"/>
                    <a:gd name="connsiteX15" fmla="*/ 393877 w 640198"/>
                    <a:gd name="connsiteY15" fmla="*/ 499576 h 499576"/>
                    <a:gd name="connsiteX16" fmla="*/ 392818 w 640198"/>
                    <a:gd name="connsiteY16" fmla="*/ 492439 h 499576"/>
                    <a:gd name="connsiteX17" fmla="*/ 313201 w 640198"/>
                    <a:gd name="connsiteY17" fmla="*/ 492439 h 499576"/>
                    <a:gd name="connsiteX18" fmla="*/ 314260 w 640198"/>
                    <a:gd name="connsiteY18" fmla="*/ 499576 h 499576"/>
                    <a:gd name="connsiteX19" fmla="*/ 0 w 640198"/>
                    <a:gd name="connsiteY19" fmla="*/ 499576 h 499576"/>
                    <a:gd name="connsiteX20" fmla="*/ 0 w 640198"/>
                    <a:gd name="connsiteY2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77752 w 640198"/>
                    <a:gd name="connsiteY5" fmla="*/ 117955 h 499576"/>
                    <a:gd name="connsiteX6" fmla="*/ 62448 w 640198"/>
                    <a:gd name="connsiteY6" fmla="*/ 117955 h 499576"/>
                    <a:gd name="connsiteX7" fmla="*/ 0 w 640198"/>
                    <a:gd name="connsiteY7" fmla="*/ 0 h 499576"/>
                    <a:gd name="connsiteX8" fmla="*/ 640198 w 640198"/>
                    <a:gd name="connsiteY8" fmla="*/ 0 h 499576"/>
                    <a:gd name="connsiteX9" fmla="*/ 640198 w 640198"/>
                    <a:gd name="connsiteY9" fmla="*/ 332213 h 499576"/>
                    <a:gd name="connsiteX10" fmla="*/ 629943 w 640198"/>
                    <a:gd name="connsiteY10" fmla="*/ 328776 h 499576"/>
                    <a:gd name="connsiteX11" fmla="*/ 629943 w 640198"/>
                    <a:gd name="connsiteY11" fmla="*/ 411837 h 499576"/>
                    <a:gd name="connsiteX12" fmla="*/ 640198 w 640198"/>
                    <a:gd name="connsiteY12" fmla="*/ 415274 h 499576"/>
                    <a:gd name="connsiteX13" fmla="*/ 640198 w 640198"/>
                    <a:gd name="connsiteY13" fmla="*/ 499576 h 499576"/>
                    <a:gd name="connsiteX14" fmla="*/ 393877 w 640198"/>
                    <a:gd name="connsiteY14" fmla="*/ 499576 h 499576"/>
                    <a:gd name="connsiteX15" fmla="*/ 392818 w 640198"/>
                    <a:gd name="connsiteY15" fmla="*/ 492439 h 499576"/>
                    <a:gd name="connsiteX16" fmla="*/ 313201 w 640198"/>
                    <a:gd name="connsiteY16" fmla="*/ 492439 h 499576"/>
                    <a:gd name="connsiteX17" fmla="*/ 314260 w 640198"/>
                    <a:gd name="connsiteY17" fmla="*/ 499576 h 499576"/>
                    <a:gd name="connsiteX18" fmla="*/ 0 w 640198"/>
                    <a:gd name="connsiteY18" fmla="*/ 499576 h 499576"/>
                    <a:gd name="connsiteX19" fmla="*/ 0 w 640198"/>
                    <a:gd name="connsiteY19"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77752 w 640198"/>
                    <a:gd name="connsiteY4" fmla="*/ 117955 h 499576"/>
                    <a:gd name="connsiteX5" fmla="*/ 62448 w 640198"/>
                    <a:gd name="connsiteY5" fmla="*/ 117955 h 499576"/>
                    <a:gd name="connsiteX6" fmla="*/ 0 w 640198"/>
                    <a:gd name="connsiteY6" fmla="*/ 0 h 499576"/>
                    <a:gd name="connsiteX7" fmla="*/ 640198 w 640198"/>
                    <a:gd name="connsiteY7" fmla="*/ 0 h 499576"/>
                    <a:gd name="connsiteX8" fmla="*/ 640198 w 640198"/>
                    <a:gd name="connsiteY8" fmla="*/ 332213 h 499576"/>
                    <a:gd name="connsiteX9" fmla="*/ 629943 w 640198"/>
                    <a:gd name="connsiteY9" fmla="*/ 328776 h 499576"/>
                    <a:gd name="connsiteX10" fmla="*/ 629943 w 640198"/>
                    <a:gd name="connsiteY10" fmla="*/ 411837 h 499576"/>
                    <a:gd name="connsiteX11" fmla="*/ 640198 w 640198"/>
                    <a:gd name="connsiteY11" fmla="*/ 415274 h 499576"/>
                    <a:gd name="connsiteX12" fmla="*/ 640198 w 640198"/>
                    <a:gd name="connsiteY12" fmla="*/ 499576 h 499576"/>
                    <a:gd name="connsiteX13" fmla="*/ 393877 w 640198"/>
                    <a:gd name="connsiteY13" fmla="*/ 499576 h 499576"/>
                    <a:gd name="connsiteX14" fmla="*/ 392818 w 640198"/>
                    <a:gd name="connsiteY14" fmla="*/ 492439 h 499576"/>
                    <a:gd name="connsiteX15" fmla="*/ 313201 w 640198"/>
                    <a:gd name="connsiteY15" fmla="*/ 492439 h 499576"/>
                    <a:gd name="connsiteX16" fmla="*/ 314260 w 640198"/>
                    <a:gd name="connsiteY16" fmla="*/ 499576 h 499576"/>
                    <a:gd name="connsiteX17" fmla="*/ 0 w 640198"/>
                    <a:gd name="connsiteY17" fmla="*/ 499576 h 499576"/>
                    <a:gd name="connsiteX18" fmla="*/ 0 w 640198"/>
                    <a:gd name="connsiteY18"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328776 h 499576"/>
                    <a:gd name="connsiteX9" fmla="*/ 629943 w 640198"/>
                    <a:gd name="connsiteY9" fmla="*/ 411837 h 499576"/>
                    <a:gd name="connsiteX10" fmla="*/ 640198 w 640198"/>
                    <a:gd name="connsiteY10" fmla="*/ 415274 h 499576"/>
                    <a:gd name="connsiteX11" fmla="*/ 640198 w 640198"/>
                    <a:gd name="connsiteY11" fmla="*/ 499576 h 499576"/>
                    <a:gd name="connsiteX12" fmla="*/ 393877 w 640198"/>
                    <a:gd name="connsiteY12" fmla="*/ 499576 h 499576"/>
                    <a:gd name="connsiteX13" fmla="*/ 392818 w 640198"/>
                    <a:gd name="connsiteY13" fmla="*/ 492439 h 499576"/>
                    <a:gd name="connsiteX14" fmla="*/ 313201 w 640198"/>
                    <a:gd name="connsiteY14" fmla="*/ 492439 h 499576"/>
                    <a:gd name="connsiteX15" fmla="*/ 314260 w 640198"/>
                    <a:gd name="connsiteY15" fmla="*/ 499576 h 499576"/>
                    <a:gd name="connsiteX16" fmla="*/ 0 w 640198"/>
                    <a:gd name="connsiteY16" fmla="*/ 499576 h 499576"/>
                    <a:gd name="connsiteX17" fmla="*/ 0 w 640198"/>
                    <a:gd name="connsiteY17"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411837 h 499576"/>
                    <a:gd name="connsiteX9" fmla="*/ 640198 w 640198"/>
                    <a:gd name="connsiteY9" fmla="*/ 415274 h 499576"/>
                    <a:gd name="connsiteX10" fmla="*/ 640198 w 640198"/>
                    <a:gd name="connsiteY10" fmla="*/ 499576 h 499576"/>
                    <a:gd name="connsiteX11" fmla="*/ 393877 w 640198"/>
                    <a:gd name="connsiteY11" fmla="*/ 499576 h 499576"/>
                    <a:gd name="connsiteX12" fmla="*/ 392818 w 640198"/>
                    <a:gd name="connsiteY12" fmla="*/ 492439 h 499576"/>
                    <a:gd name="connsiteX13" fmla="*/ 313201 w 640198"/>
                    <a:gd name="connsiteY13" fmla="*/ 492439 h 499576"/>
                    <a:gd name="connsiteX14" fmla="*/ 314260 w 640198"/>
                    <a:gd name="connsiteY14" fmla="*/ 499576 h 499576"/>
                    <a:gd name="connsiteX15" fmla="*/ 0 w 640198"/>
                    <a:gd name="connsiteY15" fmla="*/ 499576 h 499576"/>
                    <a:gd name="connsiteX16" fmla="*/ 0 w 640198"/>
                    <a:gd name="connsiteY16"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29943 w 640198"/>
                    <a:gd name="connsiteY7" fmla="*/ 411837 h 499576"/>
                    <a:gd name="connsiteX8" fmla="*/ 640198 w 640198"/>
                    <a:gd name="connsiteY8" fmla="*/ 415274 h 499576"/>
                    <a:gd name="connsiteX9" fmla="*/ 640198 w 640198"/>
                    <a:gd name="connsiteY9" fmla="*/ 499576 h 499576"/>
                    <a:gd name="connsiteX10" fmla="*/ 393877 w 640198"/>
                    <a:gd name="connsiteY10" fmla="*/ 499576 h 499576"/>
                    <a:gd name="connsiteX11" fmla="*/ 392818 w 640198"/>
                    <a:gd name="connsiteY11" fmla="*/ 492439 h 499576"/>
                    <a:gd name="connsiteX12" fmla="*/ 313201 w 640198"/>
                    <a:gd name="connsiteY12" fmla="*/ 492439 h 499576"/>
                    <a:gd name="connsiteX13" fmla="*/ 314260 w 640198"/>
                    <a:gd name="connsiteY13" fmla="*/ 499576 h 499576"/>
                    <a:gd name="connsiteX14" fmla="*/ 0 w 640198"/>
                    <a:gd name="connsiteY14" fmla="*/ 499576 h 499576"/>
                    <a:gd name="connsiteX15" fmla="*/ 0 w 640198"/>
                    <a:gd name="connsiteY15"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15274 h 499576"/>
                    <a:gd name="connsiteX8" fmla="*/ 640198 w 640198"/>
                    <a:gd name="connsiteY8" fmla="*/ 499576 h 499576"/>
                    <a:gd name="connsiteX9" fmla="*/ 393877 w 640198"/>
                    <a:gd name="connsiteY9" fmla="*/ 499576 h 499576"/>
                    <a:gd name="connsiteX10" fmla="*/ 392818 w 640198"/>
                    <a:gd name="connsiteY10" fmla="*/ 492439 h 499576"/>
                    <a:gd name="connsiteX11" fmla="*/ 313201 w 640198"/>
                    <a:gd name="connsiteY11" fmla="*/ 492439 h 499576"/>
                    <a:gd name="connsiteX12" fmla="*/ 314260 w 640198"/>
                    <a:gd name="connsiteY12" fmla="*/ 499576 h 499576"/>
                    <a:gd name="connsiteX13" fmla="*/ 0 w 640198"/>
                    <a:gd name="connsiteY13" fmla="*/ 499576 h 499576"/>
                    <a:gd name="connsiteX14" fmla="*/ 0 w 640198"/>
                    <a:gd name="connsiteY14"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314260 w 640198"/>
                    <a:gd name="connsiteY11" fmla="*/ 499576 h 499576"/>
                    <a:gd name="connsiteX12" fmla="*/ 0 w 640198"/>
                    <a:gd name="connsiteY12" fmla="*/ 499576 h 499576"/>
                    <a:gd name="connsiteX13" fmla="*/ 0 w 640198"/>
                    <a:gd name="connsiteY13"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0 w 640198"/>
                    <a:gd name="connsiteY11" fmla="*/ 499576 h 499576"/>
                    <a:gd name="connsiteX12" fmla="*/ 0 w 640198"/>
                    <a:gd name="connsiteY1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0 w 640198"/>
                    <a:gd name="connsiteY10" fmla="*/ 499576 h 499576"/>
                    <a:gd name="connsiteX11" fmla="*/ 0 w 640198"/>
                    <a:gd name="connsiteY1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0 w 640198"/>
                    <a:gd name="connsiteY9" fmla="*/ 499576 h 499576"/>
                    <a:gd name="connsiteX10" fmla="*/ 0 w 640198"/>
                    <a:gd name="connsiteY1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0 w 640198"/>
                    <a:gd name="connsiteY8" fmla="*/ 499576 h 499576"/>
                    <a:gd name="connsiteX9" fmla="*/ 0 w 640198"/>
                    <a:gd name="connsiteY9" fmla="*/ 0 h 499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198" h="499576">
                      <a:moveTo>
                        <a:pt x="62448" y="117955"/>
                      </a:moveTo>
                      <a:lnTo>
                        <a:pt x="62448" y="437130"/>
                      </a:lnTo>
                      <a:lnTo>
                        <a:pt x="577752" y="437130"/>
                      </a:lnTo>
                      <a:lnTo>
                        <a:pt x="577752" y="117955"/>
                      </a:lnTo>
                      <a:lnTo>
                        <a:pt x="62448" y="117955"/>
                      </a:lnTo>
                      <a:close/>
                      <a:moveTo>
                        <a:pt x="0" y="0"/>
                      </a:moveTo>
                      <a:lnTo>
                        <a:pt x="640198" y="0"/>
                      </a:lnTo>
                      <a:lnTo>
                        <a:pt x="640198" y="499576"/>
                      </a:lnTo>
                      <a:lnTo>
                        <a:pt x="0" y="499576"/>
                      </a:lnTo>
                      <a:lnTo>
                        <a:pt x="0" y="0"/>
                      </a:lnTo>
                      <a:close/>
                    </a:path>
                  </a:pathLst>
                </a:custGeom>
                <a:solidFill>
                  <a:schemeClr val="accent1"/>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43" name="Freeform: Shape 173">
                  <a:extLst>
                    <a:ext uri="{FF2B5EF4-FFF2-40B4-BE49-F238E27FC236}">
                      <a16:creationId xmlns:a16="http://schemas.microsoft.com/office/drawing/2014/main" id="{F1516E1A-3747-7045-BA79-9BD30B198710}"/>
                    </a:ext>
                  </a:extLst>
                </p:cNvPr>
                <p:cNvSpPr/>
                <p:nvPr/>
              </p:nvSpPr>
              <p:spPr bwMode="auto">
                <a:xfrm rot="10800000" flipV="1">
                  <a:off x="945805" y="2813853"/>
                  <a:ext cx="187936" cy="146654"/>
                </a:xfrm>
                <a:custGeom>
                  <a:avLst/>
                  <a:gdLst>
                    <a:gd name="connsiteX0" fmla="*/ 62448 w 640198"/>
                    <a:gd name="connsiteY0" fmla="*/ 117955 h 499576"/>
                    <a:gd name="connsiteX1" fmla="*/ 62448 w 640198"/>
                    <a:gd name="connsiteY1" fmla="*/ 437130 h 499576"/>
                    <a:gd name="connsiteX2" fmla="*/ 304996 w 640198"/>
                    <a:gd name="connsiteY2" fmla="*/ 437130 h 499576"/>
                    <a:gd name="connsiteX3" fmla="*/ 306418 w 640198"/>
                    <a:gd name="connsiteY3" fmla="*/ 446720 h 499576"/>
                    <a:gd name="connsiteX4" fmla="*/ 386035 w 640198"/>
                    <a:gd name="connsiteY4" fmla="*/ 446720 h 499576"/>
                    <a:gd name="connsiteX5" fmla="*/ 384612 w 640198"/>
                    <a:gd name="connsiteY5" fmla="*/ 437130 h 499576"/>
                    <a:gd name="connsiteX6" fmla="*/ 577752 w 640198"/>
                    <a:gd name="connsiteY6" fmla="*/ 437130 h 499576"/>
                    <a:gd name="connsiteX7" fmla="*/ 577752 w 640198"/>
                    <a:gd name="connsiteY7" fmla="*/ 394344 h 499576"/>
                    <a:gd name="connsiteX8" fmla="*/ 584224 w 640198"/>
                    <a:gd name="connsiteY8" fmla="*/ 396513 h 499576"/>
                    <a:gd name="connsiteX9" fmla="*/ 584224 w 640198"/>
                    <a:gd name="connsiteY9" fmla="*/ 313452 h 499576"/>
                    <a:gd name="connsiteX10" fmla="*/ 577752 w 640198"/>
                    <a:gd name="connsiteY10" fmla="*/ 311282 h 499576"/>
                    <a:gd name="connsiteX11" fmla="*/ 577752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384612 w 640198"/>
                    <a:gd name="connsiteY4" fmla="*/ 437130 h 499576"/>
                    <a:gd name="connsiteX5" fmla="*/ 577752 w 640198"/>
                    <a:gd name="connsiteY5" fmla="*/ 437130 h 499576"/>
                    <a:gd name="connsiteX6" fmla="*/ 577752 w 640198"/>
                    <a:gd name="connsiteY6" fmla="*/ 394344 h 499576"/>
                    <a:gd name="connsiteX7" fmla="*/ 584224 w 640198"/>
                    <a:gd name="connsiteY7" fmla="*/ 396513 h 499576"/>
                    <a:gd name="connsiteX8" fmla="*/ 584224 w 640198"/>
                    <a:gd name="connsiteY8" fmla="*/ 313452 h 499576"/>
                    <a:gd name="connsiteX9" fmla="*/ 577752 w 640198"/>
                    <a:gd name="connsiteY9" fmla="*/ 311282 h 499576"/>
                    <a:gd name="connsiteX10" fmla="*/ 577752 w 640198"/>
                    <a:gd name="connsiteY10" fmla="*/ 117955 h 499576"/>
                    <a:gd name="connsiteX11" fmla="*/ 62448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24" fmla="*/ 0 w 640198"/>
                    <a:gd name="connsiteY24" fmla="*/ 0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577752 w 640198"/>
                    <a:gd name="connsiteY4" fmla="*/ 437130 h 499576"/>
                    <a:gd name="connsiteX5" fmla="*/ 577752 w 640198"/>
                    <a:gd name="connsiteY5" fmla="*/ 394344 h 499576"/>
                    <a:gd name="connsiteX6" fmla="*/ 584224 w 640198"/>
                    <a:gd name="connsiteY6" fmla="*/ 396513 h 499576"/>
                    <a:gd name="connsiteX7" fmla="*/ 584224 w 640198"/>
                    <a:gd name="connsiteY7" fmla="*/ 313452 h 499576"/>
                    <a:gd name="connsiteX8" fmla="*/ 577752 w 640198"/>
                    <a:gd name="connsiteY8" fmla="*/ 311282 h 499576"/>
                    <a:gd name="connsiteX9" fmla="*/ 577752 w 640198"/>
                    <a:gd name="connsiteY9" fmla="*/ 117955 h 499576"/>
                    <a:gd name="connsiteX10" fmla="*/ 62448 w 640198"/>
                    <a:gd name="connsiteY10" fmla="*/ 117955 h 499576"/>
                    <a:gd name="connsiteX11" fmla="*/ 0 w 640198"/>
                    <a:gd name="connsiteY11" fmla="*/ 0 h 499576"/>
                    <a:gd name="connsiteX12" fmla="*/ 640198 w 640198"/>
                    <a:gd name="connsiteY12" fmla="*/ 0 h 499576"/>
                    <a:gd name="connsiteX13" fmla="*/ 640198 w 640198"/>
                    <a:gd name="connsiteY13" fmla="*/ 332213 h 499576"/>
                    <a:gd name="connsiteX14" fmla="*/ 629943 w 640198"/>
                    <a:gd name="connsiteY14" fmla="*/ 328776 h 499576"/>
                    <a:gd name="connsiteX15" fmla="*/ 629943 w 640198"/>
                    <a:gd name="connsiteY15" fmla="*/ 411837 h 499576"/>
                    <a:gd name="connsiteX16" fmla="*/ 640198 w 640198"/>
                    <a:gd name="connsiteY16" fmla="*/ 415274 h 499576"/>
                    <a:gd name="connsiteX17" fmla="*/ 640198 w 640198"/>
                    <a:gd name="connsiteY17" fmla="*/ 499576 h 499576"/>
                    <a:gd name="connsiteX18" fmla="*/ 393877 w 640198"/>
                    <a:gd name="connsiteY18" fmla="*/ 499576 h 499576"/>
                    <a:gd name="connsiteX19" fmla="*/ 392818 w 640198"/>
                    <a:gd name="connsiteY19" fmla="*/ 492439 h 499576"/>
                    <a:gd name="connsiteX20" fmla="*/ 313201 w 640198"/>
                    <a:gd name="connsiteY20" fmla="*/ 492439 h 499576"/>
                    <a:gd name="connsiteX21" fmla="*/ 314260 w 640198"/>
                    <a:gd name="connsiteY21" fmla="*/ 499576 h 499576"/>
                    <a:gd name="connsiteX22" fmla="*/ 0 w 640198"/>
                    <a:gd name="connsiteY22" fmla="*/ 499576 h 499576"/>
                    <a:gd name="connsiteX23" fmla="*/ 0 w 640198"/>
                    <a:gd name="connsiteY23" fmla="*/ 0 h 499576"/>
                    <a:gd name="connsiteX0" fmla="*/ 62448 w 640198"/>
                    <a:gd name="connsiteY0" fmla="*/ 117955 h 499576"/>
                    <a:gd name="connsiteX1" fmla="*/ 62448 w 640198"/>
                    <a:gd name="connsiteY1" fmla="*/ 437130 h 499576"/>
                    <a:gd name="connsiteX2" fmla="*/ 304996 w 640198"/>
                    <a:gd name="connsiteY2" fmla="*/ 437130 h 499576"/>
                    <a:gd name="connsiteX3" fmla="*/ 577752 w 640198"/>
                    <a:gd name="connsiteY3" fmla="*/ 437130 h 499576"/>
                    <a:gd name="connsiteX4" fmla="*/ 577752 w 640198"/>
                    <a:gd name="connsiteY4" fmla="*/ 394344 h 499576"/>
                    <a:gd name="connsiteX5" fmla="*/ 584224 w 640198"/>
                    <a:gd name="connsiteY5" fmla="*/ 396513 h 499576"/>
                    <a:gd name="connsiteX6" fmla="*/ 584224 w 640198"/>
                    <a:gd name="connsiteY6" fmla="*/ 313452 h 499576"/>
                    <a:gd name="connsiteX7" fmla="*/ 577752 w 640198"/>
                    <a:gd name="connsiteY7" fmla="*/ 311282 h 499576"/>
                    <a:gd name="connsiteX8" fmla="*/ 577752 w 640198"/>
                    <a:gd name="connsiteY8" fmla="*/ 117955 h 499576"/>
                    <a:gd name="connsiteX9" fmla="*/ 62448 w 640198"/>
                    <a:gd name="connsiteY9" fmla="*/ 117955 h 499576"/>
                    <a:gd name="connsiteX10" fmla="*/ 0 w 640198"/>
                    <a:gd name="connsiteY10" fmla="*/ 0 h 499576"/>
                    <a:gd name="connsiteX11" fmla="*/ 640198 w 640198"/>
                    <a:gd name="connsiteY11" fmla="*/ 0 h 499576"/>
                    <a:gd name="connsiteX12" fmla="*/ 640198 w 640198"/>
                    <a:gd name="connsiteY12" fmla="*/ 332213 h 499576"/>
                    <a:gd name="connsiteX13" fmla="*/ 629943 w 640198"/>
                    <a:gd name="connsiteY13" fmla="*/ 328776 h 499576"/>
                    <a:gd name="connsiteX14" fmla="*/ 629943 w 640198"/>
                    <a:gd name="connsiteY14" fmla="*/ 411837 h 499576"/>
                    <a:gd name="connsiteX15" fmla="*/ 640198 w 640198"/>
                    <a:gd name="connsiteY15" fmla="*/ 415274 h 499576"/>
                    <a:gd name="connsiteX16" fmla="*/ 640198 w 640198"/>
                    <a:gd name="connsiteY16" fmla="*/ 499576 h 499576"/>
                    <a:gd name="connsiteX17" fmla="*/ 393877 w 640198"/>
                    <a:gd name="connsiteY17" fmla="*/ 499576 h 499576"/>
                    <a:gd name="connsiteX18" fmla="*/ 392818 w 640198"/>
                    <a:gd name="connsiteY18" fmla="*/ 492439 h 499576"/>
                    <a:gd name="connsiteX19" fmla="*/ 313201 w 640198"/>
                    <a:gd name="connsiteY19" fmla="*/ 492439 h 499576"/>
                    <a:gd name="connsiteX20" fmla="*/ 314260 w 640198"/>
                    <a:gd name="connsiteY20" fmla="*/ 499576 h 499576"/>
                    <a:gd name="connsiteX21" fmla="*/ 0 w 640198"/>
                    <a:gd name="connsiteY21" fmla="*/ 499576 h 499576"/>
                    <a:gd name="connsiteX22" fmla="*/ 0 w 640198"/>
                    <a:gd name="connsiteY2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311282 h 499576"/>
                    <a:gd name="connsiteX7" fmla="*/ 577752 w 640198"/>
                    <a:gd name="connsiteY7" fmla="*/ 117955 h 499576"/>
                    <a:gd name="connsiteX8" fmla="*/ 62448 w 640198"/>
                    <a:gd name="connsiteY8" fmla="*/ 117955 h 499576"/>
                    <a:gd name="connsiteX9" fmla="*/ 0 w 640198"/>
                    <a:gd name="connsiteY9" fmla="*/ 0 h 499576"/>
                    <a:gd name="connsiteX10" fmla="*/ 640198 w 640198"/>
                    <a:gd name="connsiteY10" fmla="*/ 0 h 499576"/>
                    <a:gd name="connsiteX11" fmla="*/ 640198 w 640198"/>
                    <a:gd name="connsiteY11" fmla="*/ 332213 h 499576"/>
                    <a:gd name="connsiteX12" fmla="*/ 629943 w 640198"/>
                    <a:gd name="connsiteY12" fmla="*/ 328776 h 499576"/>
                    <a:gd name="connsiteX13" fmla="*/ 629943 w 640198"/>
                    <a:gd name="connsiteY13" fmla="*/ 411837 h 499576"/>
                    <a:gd name="connsiteX14" fmla="*/ 640198 w 640198"/>
                    <a:gd name="connsiteY14" fmla="*/ 415274 h 499576"/>
                    <a:gd name="connsiteX15" fmla="*/ 640198 w 640198"/>
                    <a:gd name="connsiteY15" fmla="*/ 499576 h 499576"/>
                    <a:gd name="connsiteX16" fmla="*/ 393877 w 640198"/>
                    <a:gd name="connsiteY16" fmla="*/ 499576 h 499576"/>
                    <a:gd name="connsiteX17" fmla="*/ 392818 w 640198"/>
                    <a:gd name="connsiteY17" fmla="*/ 492439 h 499576"/>
                    <a:gd name="connsiteX18" fmla="*/ 313201 w 640198"/>
                    <a:gd name="connsiteY18" fmla="*/ 492439 h 499576"/>
                    <a:gd name="connsiteX19" fmla="*/ 314260 w 640198"/>
                    <a:gd name="connsiteY19" fmla="*/ 499576 h 499576"/>
                    <a:gd name="connsiteX20" fmla="*/ 0 w 640198"/>
                    <a:gd name="connsiteY20" fmla="*/ 499576 h 499576"/>
                    <a:gd name="connsiteX21" fmla="*/ 0 w 640198"/>
                    <a:gd name="connsiteY2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117955 h 499576"/>
                    <a:gd name="connsiteX7" fmla="*/ 62448 w 640198"/>
                    <a:gd name="connsiteY7" fmla="*/ 117955 h 499576"/>
                    <a:gd name="connsiteX8" fmla="*/ 0 w 640198"/>
                    <a:gd name="connsiteY8" fmla="*/ 0 h 499576"/>
                    <a:gd name="connsiteX9" fmla="*/ 640198 w 640198"/>
                    <a:gd name="connsiteY9" fmla="*/ 0 h 499576"/>
                    <a:gd name="connsiteX10" fmla="*/ 640198 w 640198"/>
                    <a:gd name="connsiteY10" fmla="*/ 332213 h 499576"/>
                    <a:gd name="connsiteX11" fmla="*/ 629943 w 640198"/>
                    <a:gd name="connsiteY11" fmla="*/ 328776 h 499576"/>
                    <a:gd name="connsiteX12" fmla="*/ 629943 w 640198"/>
                    <a:gd name="connsiteY12" fmla="*/ 411837 h 499576"/>
                    <a:gd name="connsiteX13" fmla="*/ 640198 w 640198"/>
                    <a:gd name="connsiteY13" fmla="*/ 415274 h 499576"/>
                    <a:gd name="connsiteX14" fmla="*/ 640198 w 640198"/>
                    <a:gd name="connsiteY14" fmla="*/ 499576 h 499576"/>
                    <a:gd name="connsiteX15" fmla="*/ 393877 w 640198"/>
                    <a:gd name="connsiteY15" fmla="*/ 499576 h 499576"/>
                    <a:gd name="connsiteX16" fmla="*/ 392818 w 640198"/>
                    <a:gd name="connsiteY16" fmla="*/ 492439 h 499576"/>
                    <a:gd name="connsiteX17" fmla="*/ 313201 w 640198"/>
                    <a:gd name="connsiteY17" fmla="*/ 492439 h 499576"/>
                    <a:gd name="connsiteX18" fmla="*/ 314260 w 640198"/>
                    <a:gd name="connsiteY18" fmla="*/ 499576 h 499576"/>
                    <a:gd name="connsiteX19" fmla="*/ 0 w 640198"/>
                    <a:gd name="connsiteY19" fmla="*/ 499576 h 499576"/>
                    <a:gd name="connsiteX20" fmla="*/ 0 w 640198"/>
                    <a:gd name="connsiteY2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77752 w 640198"/>
                    <a:gd name="connsiteY5" fmla="*/ 117955 h 499576"/>
                    <a:gd name="connsiteX6" fmla="*/ 62448 w 640198"/>
                    <a:gd name="connsiteY6" fmla="*/ 117955 h 499576"/>
                    <a:gd name="connsiteX7" fmla="*/ 0 w 640198"/>
                    <a:gd name="connsiteY7" fmla="*/ 0 h 499576"/>
                    <a:gd name="connsiteX8" fmla="*/ 640198 w 640198"/>
                    <a:gd name="connsiteY8" fmla="*/ 0 h 499576"/>
                    <a:gd name="connsiteX9" fmla="*/ 640198 w 640198"/>
                    <a:gd name="connsiteY9" fmla="*/ 332213 h 499576"/>
                    <a:gd name="connsiteX10" fmla="*/ 629943 w 640198"/>
                    <a:gd name="connsiteY10" fmla="*/ 328776 h 499576"/>
                    <a:gd name="connsiteX11" fmla="*/ 629943 w 640198"/>
                    <a:gd name="connsiteY11" fmla="*/ 411837 h 499576"/>
                    <a:gd name="connsiteX12" fmla="*/ 640198 w 640198"/>
                    <a:gd name="connsiteY12" fmla="*/ 415274 h 499576"/>
                    <a:gd name="connsiteX13" fmla="*/ 640198 w 640198"/>
                    <a:gd name="connsiteY13" fmla="*/ 499576 h 499576"/>
                    <a:gd name="connsiteX14" fmla="*/ 393877 w 640198"/>
                    <a:gd name="connsiteY14" fmla="*/ 499576 h 499576"/>
                    <a:gd name="connsiteX15" fmla="*/ 392818 w 640198"/>
                    <a:gd name="connsiteY15" fmla="*/ 492439 h 499576"/>
                    <a:gd name="connsiteX16" fmla="*/ 313201 w 640198"/>
                    <a:gd name="connsiteY16" fmla="*/ 492439 h 499576"/>
                    <a:gd name="connsiteX17" fmla="*/ 314260 w 640198"/>
                    <a:gd name="connsiteY17" fmla="*/ 499576 h 499576"/>
                    <a:gd name="connsiteX18" fmla="*/ 0 w 640198"/>
                    <a:gd name="connsiteY18" fmla="*/ 499576 h 499576"/>
                    <a:gd name="connsiteX19" fmla="*/ 0 w 640198"/>
                    <a:gd name="connsiteY19"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77752 w 640198"/>
                    <a:gd name="connsiteY4" fmla="*/ 117955 h 499576"/>
                    <a:gd name="connsiteX5" fmla="*/ 62448 w 640198"/>
                    <a:gd name="connsiteY5" fmla="*/ 117955 h 499576"/>
                    <a:gd name="connsiteX6" fmla="*/ 0 w 640198"/>
                    <a:gd name="connsiteY6" fmla="*/ 0 h 499576"/>
                    <a:gd name="connsiteX7" fmla="*/ 640198 w 640198"/>
                    <a:gd name="connsiteY7" fmla="*/ 0 h 499576"/>
                    <a:gd name="connsiteX8" fmla="*/ 640198 w 640198"/>
                    <a:gd name="connsiteY8" fmla="*/ 332213 h 499576"/>
                    <a:gd name="connsiteX9" fmla="*/ 629943 w 640198"/>
                    <a:gd name="connsiteY9" fmla="*/ 328776 h 499576"/>
                    <a:gd name="connsiteX10" fmla="*/ 629943 w 640198"/>
                    <a:gd name="connsiteY10" fmla="*/ 411837 h 499576"/>
                    <a:gd name="connsiteX11" fmla="*/ 640198 w 640198"/>
                    <a:gd name="connsiteY11" fmla="*/ 415274 h 499576"/>
                    <a:gd name="connsiteX12" fmla="*/ 640198 w 640198"/>
                    <a:gd name="connsiteY12" fmla="*/ 499576 h 499576"/>
                    <a:gd name="connsiteX13" fmla="*/ 393877 w 640198"/>
                    <a:gd name="connsiteY13" fmla="*/ 499576 h 499576"/>
                    <a:gd name="connsiteX14" fmla="*/ 392818 w 640198"/>
                    <a:gd name="connsiteY14" fmla="*/ 492439 h 499576"/>
                    <a:gd name="connsiteX15" fmla="*/ 313201 w 640198"/>
                    <a:gd name="connsiteY15" fmla="*/ 492439 h 499576"/>
                    <a:gd name="connsiteX16" fmla="*/ 314260 w 640198"/>
                    <a:gd name="connsiteY16" fmla="*/ 499576 h 499576"/>
                    <a:gd name="connsiteX17" fmla="*/ 0 w 640198"/>
                    <a:gd name="connsiteY17" fmla="*/ 499576 h 499576"/>
                    <a:gd name="connsiteX18" fmla="*/ 0 w 640198"/>
                    <a:gd name="connsiteY18"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328776 h 499576"/>
                    <a:gd name="connsiteX9" fmla="*/ 629943 w 640198"/>
                    <a:gd name="connsiteY9" fmla="*/ 411837 h 499576"/>
                    <a:gd name="connsiteX10" fmla="*/ 640198 w 640198"/>
                    <a:gd name="connsiteY10" fmla="*/ 415274 h 499576"/>
                    <a:gd name="connsiteX11" fmla="*/ 640198 w 640198"/>
                    <a:gd name="connsiteY11" fmla="*/ 499576 h 499576"/>
                    <a:gd name="connsiteX12" fmla="*/ 393877 w 640198"/>
                    <a:gd name="connsiteY12" fmla="*/ 499576 h 499576"/>
                    <a:gd name="connsiteX13" fmla="*/ 392818 w 640198"/>
                    <a:gd name="connsiteY13" fmla="*/ 492439 h 499576"/>
                    <a:gd name="connsiteX14" fmla="*/ 313201 w 640198"/>
                    <a:gd name="connsiteY14" fmla="*/ 492439 h 499576"/>
                    <a:gd name="connsiteX15" fmla="*/ 314260 w 640198"/>
                    <a:gd name="connsiteY15" fmla="*/ 499576 h 499576"/>
                    <a:gd name="connsiteX16" fmla="*/ 0 w 640198"/>
                    <a:gd name="connsiteY16" fmla="*/ 499576 h 499576"/>
                    <a:gd name="connsiteX17" fmla="*/ 0 w 640198"/>
                    <a:gd name="connsiteY17"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411837 h 499576"/>
                    <a:gd name="connsiteX9" fmla="*/ 640198 w 640198"/>
                    <a:gd name="connsiteY9" fmla="*/ 415274 h 499576"/>
                    <a:gd name="connsiteX10" fmla="*/ 640198 w 640198"/>
                    <a:gd name="connsiteY10" fmla="*/ 499576 h 499576"/>
                    <a:gd name="connsiteX11" fmla="*/ 393877 w 640198"/>
                    <a:gd name="connsiteY11" fmla="*/ 499576 h 499576"/>
                    <a:gd name="connsiteX12" fmla="*/ 392818 w 640198"/>
                    <a:gd name="connsiteY12" fmla="*/ 492439 h 499576"/>
                    <a:gd name="connsiteX13" fmla="*/ 313201 w 640198"/>
                    <a:gd name="connsiteY13" fmla="*/ 492439 h 499576"/>
                    <a:gd name="connsiteX14" fmla="*/ 314260 w 640198"/>
                    <a:gd name="connsiteY14" fmla="*/ 499576 h 499576"/>
                    <a:gd name="connsiteX15" fmla="*/ 0 w 640198"/>
                    <a:gd name="connsiteY15" fmla="*/ 499576 h 499576"/>
                    <a:gd name="connsiteX16" fmla="*/ 0 w 640198"/>
                    <a:gd name="connsiteY16"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29943 w 640198"/>
                    <a:gd name="connsiteY7" fmla="*/ 411837 h 499576"/>
                    <a:gd name="connsiteX8" fmla="*/ 640198 w 640198"/>
                    <a:gd name="connsiteY8" fmla="*/ 415274 h 499576"/>
                    <a:gd name="connsiteX9" fmla="*/ 640198 w 640198"/>
                    <a:gd name="connsiteY9" fmla="*/ 499576 h 499576"/>
                    <a:gd name="connsiteX10" fmla="*/ 393877 w 640198"/>
                    <a:gd name="connsiteY10" fmla="*/ 499576 h 499576"/>
                    <a:gd name="connsiteX11" fmla="*/ 392818 w 640198"/>
                    <a:gd name="connsiteY11" fmla="*/ 492439 h 499576"/>
                    <a:gd name="connsiteX12" fmla="*/ 313201 w 640198"/>
                    <a:gd name="connsiteY12" fmla="*/ 492439 h 499576"/>
                    <a:gd name="connsiteX13" fmla="*/ 314260 w 640198"/>
                    <a:gd name="connsiteY13" fmla="*/ 499576 h 499576"/>
                    <a:gd name="connsiteX14" fmla="*/ 0 w 640198"/>
                    <a:gd name="connsiteY14" fmla="*/ 499576 h 499576"/>
                    <a:gd name="connsiteX15" fmla="*/ 0 w 640198"/>
                    <a:gd name="connsiteY15"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15274 h 499576"/>
                    <a:gd name="connsiteX8" fmla="*/ 640198 w 640198"/>
                    <a:gd name="connsiteY8" fmla="*/ 499576 h 499576"/>
                    <a:gd name="connsiteX9" fmla="*/ 393877 w 640198"/>
                    <a:gd name="connsiteY9" fmla="*/ 499576 h 499576"/>
                    <a:gd name="connsiteX10" fmla="*/ 392818 w 640198"/>
                    <a:gd name="connsiteY10" fmla="*/ 492439 h 499576"/>
                    <a:gd name="connsiteX11" fmla="*/ 313201 w 640198"/>
                    <a:gd name="connsiteY11" fmla="*/ 492439 h 499576"/>
                    <a:gd name="connsiteX12" fmla="*/ 314260 w 640198"/>
                    <a:gd name="connsiteY12" fmla="*/ 499576 h 499576"/>
                    <a:gd name="connsiteX13" fmla="*/ 0 w 640198"/>
                    <a:gd name="connsiteY13" fmla="*/ 499576 h 499576"/>
                    <a:gd name="connsiteX14" fmla="*/ 0 w 640198"/>
                    <a:gd name="connsiteY14"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314260 w 640198"/>
                    <a:gd name="connsiteY11" fmla="*/ 499576 h 499576"/>
                    <a:gd name="connsiteX12" fmla="*/ 0 w 640198"/>
                    <a:gd name="connsiteY12" fmla="*/ 499576 h 499576"/>
                    <a:gd name="connsiteX13" fmla="*/ 0 w 640198"/>
                    <a:gd name="connsiteY13"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0 w 640198"/>
                    <a:gd name="connsiteY11" fmla="*/ 499576 h 499576"/>
                    <a:gd name="connsiteX12" fmla="*/ 0 w 640198"/>
                    <a:gd name="connsiteY1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0 w 640198"/>
                    <a:gd name="connsiteY10" fmla="*/ 499576 h 499576"/>
                    <a:gd name="connsiteX11" fmla="*/ 0 w 640198"/>
                    <a:gd name="connsiteY1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0 w 640198"/>
                    <a:gd name="connsiteY9" fmla="*/ 499576 h 499576"/>
                    <a:gd name="connsiteX10" fmla="*/ 0 w 640198"/>
                    <a:gd name="connsiteY1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0 w 640198"/>
                    <a:gd name="connsiteY8" fmla="*/ 499576 h 499576"/>
                    <a:gd name="connsiteX9" fmla="*/ 0 w 640198"/>
                    <a:gd name="connsiteY9" fmla="*/ 0 h 499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198" h="499576">
                      <a:moveTo>
                        <a:pt x="62448" y="117955"/>
                      </a:moveTo>
                      <a:lnTo>
                        <a:pt x="62448" y="437130"/>
                      </a:lnTo>
                      <a:lnTo>
                        <a:pt x="577752" y="437130"/>
                      </a:lnTo>
                      <a:lnTo>
                        <a:pt x="577752" y="117955"/>
                      </a:lnTo>
                      <a:lnTo>
                        <a:pt x="62448" y="117955"/>
                      </a:lnTo>
                      <a:close/>
                      <a:moveTo>
                        <a:pt x="0" y="0"/>
                      </a:moveTo>
                      <a:lnTo>
                        <a:pt x="640198" y="0"/>
                      </a:lnTo>
                      <a:lnTo>
                        <a:pt x="640198" y="499576"/>
                      </a:lnTo>
                      <a:lnTo>
                        <a:pt x="0" y="499576"/>
                      </a:lnTo>
                      <a:lnTo>
                        <a:pt x="0" y="0"/>
                      </a:lnTo>
                      <a:close/>
                    </a:path>
                  </a:pathLst>
                </a:custGeom>
                <a:solidFill>
                  <a:schemeClr val="accent1"/>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44" name="Freeform: Shape 173">
                  <a:extLst>
                    <a:ext uri="{FF2B5EF4-FFF2-40B4-BE49-F238E27FC236}">
                      <a16:creationId xmlns:a16="http://schemas.microsoft.com/office/drawing/2014/main" id="{5F02DADA-1CEF-A64D-9349-30D696D76001}"/>
                    </a:ext>
                  </a:extLst>
                </p:cNvPr>
                <p:cNvSpPr/>
                <p:nvPr/>
              </p:nvSpPr>
              <p:spPr bwMode="auto">
                <a:xfrm rot="10800000" flipV="1">
                  <a:off x="1479206" y="2810039"/>
                  <a:ext cx="187935" cy="146656"/>
                </a:xfrm>
                <a:custGeom>
                  <a:avLst/>
                  <a:gdLst>
                    <a:gd name="connsiteX0" fmla="*/ 62448 w 640198"/>
                    <a:gd name="connsiteY0" fmla="*/ 117955 h 499576"/>
                    <a:gd name="connsiteX1" fmla="*/ 62448 w 640198"/>
                    <a:gd name="connsiteY1" fmla="*/ 437130 h 499576"/>
                    <a:gd name="connsiteX2" fmla="*/ 304996 w 640198"/>
                    <a:gd name="connsiteY2" fmla="*/ 437130 h 499576"/>
                    <a:gd name="connsiteX3" fmla="*/ 306418 w 640198"/>
                    <a:gd name="connsiteY3" fmla="*/ 446720 h 499576"/>
                    <a:gd name="connsiteX4" fmla="*/ 386035 w 640198"/>
                    <a:gd name="connsiteY4" fmla="*/ 446720 h 499576"/>
                    <a:gd name="connsiteX5" fmla="*/ 384612 w 640198"/>
                    <a:gd name="connsiteY5" fmla="*/ 437130 h 499576"/>
                    <a:gd name="connsiteX6" fmla="*/ 577752 w 640198"/>
                    <a:gd name="connsiteY6" fmla="*/ 437130 h 499576"/>
                    <a:gd name="connsiteX7" fmla="*/ 577752 w 640198"/>
                    <a:gd name="connsiteY7" fmla="*/ 394344 h 499576"/>
                    <a:gd name="connsiteX8" fmla="*/ 584224 w 640198"/>
                    <a:gd name="connsiteY8" fmla="*/ 396513 h 499576"/>
                    <a:gd name="connsiteX9" fmla="*/ 584224 w 640198"/>
                    <a:gd name="connsiteY9" fmla="*/ 313452 h 499576"/>
                    <a:gd name="connsiteX10" fmla="*/ 577752 w 640198"/>
                    <a:gd name="connsiteY10" fmla="*/ 311282 h 499576"/>
                    <a:gd name="connsiteX11" fmla="*/ 577752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384612 w 640198"/>
                    <a:gd name="connsiteY4" fmla="*/ 437130 h 499576"/>
                    <a:gd name="connsiteX5" fmla="*/ 577752 w 640198"/>
                    <a:gd name="connsiteY5" fmla="*/ 437130 h 499576"/>
                    <a:gd name="connsiteX6" fmla="*/ 577752 w 640198"/>
                    <a:gd name="connsiteY6" fmla="*/ 394344 h 499576"/>
                    <a:gd name="connsiteX7" fmla="*/ 584224 w 640198"/>
                    <a:gd name="connsiteY7" fmla="*/ 396513 h 499576"/>
                    <a:gd name="connsiteX8" fmla="*/ 584224 w 640198"/>
                    <a:gd name="connsiteY8" fmla="*/ 313452 h 499576"/>
                    <a:gd name="connsiteX9" fmla="*/ 577752 w 640198"/>
                    <a:gd name="connsiteY9" fmla="*/ 311282 h 499576"/>
                    <a:gd name="connsiteX10" fmla="*/ 577752 w 640198"/>
                    <a:gd name="connsiteY10" fmla="*/ 117955 h 499576"/>
                    <a:gd name="connsiteX11" fmla="*/ 62448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24" fmla="*/ 0 w 640198"/>
                    <a:gd name="connsiteY24" fmla="*/ 0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577752 w 640198"/>
                    <a:gd name="connsiteY4" fmla="*/ 437130 h 499576"/>
                    <a:gd name="connsiteX5" fmla="*/ 577752 w 640198"/>
                    <a:gd name="connsiteY5" fmla="*/ 394344 h 499576"/>
                    <a:gd name="connsiteX6" fmla="*/ 584224 w 640198"/>
                    <a:gd name="connsiteY6" fmla="*/ 396513 h 499576"/>
                    <a:gd name="connsiteX7" fmla="*/ 584224 w 640198"/>
                    <a:gd name="connsiteY7" fmla="*/ 313452 h 499576"/>
                    <a:gd name="connsiteX8" fmla="*/ 577752 w 640198"/>
                    <a:gd name="connsiteY8" fmla="*/ 311282 h 499576"/>
                    <a:gd name="connsiteX9" fmla="*/ 577752 w 640198"/>
                    <a:gd name="connsiteY9" fmla="*/ 117955 h 499576"/>
                    <a:gd name="connsiteX10" fmla="*/ 62448 w 640198"/>
                    <a:gd name="connsiteY10" fmla="*/ 117955 h 499576"/>
                    <a:gd name="connsiteX11" fmla="*/ 0 w 640198"/>
                    <a:gd name="connsiteY11" fmla="*/ 0 h 499576"/>
                    <a:gd name="connsiteX12" fmla="*/ 640198 w 640198"/>
                    <a:gd name="connsiteY12" fmla="*/ 0 h 499576"/>
                    <a:gd name="connsiteX13" fmla="*/ 640198 w 640198"/>
                    <a:gd name="connsiteY13" fmla="*/ 332213 h 499576"/>
                    <a:gd name="connsiteX14" fmla="*/ 629943 w 640198"/>
                    <a:gd name="connsiteY14" fmla="*/ 328776 h 499576"/>
                    <a:gd name="connsiteX15" fmla="*/ 629943 w 640198"/>
                    <a:gd name="connsiteY15" fmla="*/ 411837 h 499576"/>
                    <a:gd name="connsiteX16" fmla="*/ 640198 w 640198"/>
                    <a:gd name="connsiteY16" fmla="*/ 415274 h 499576"/>
                    <a:gd name="connsiteX17" fmla="*/ 640198 w 640198"/>
                    <a:gd name="connsiteY17" fmla="*/ 499576 h 499576"/>
                    <a:gd name="connsiteX18" fmla="*/ 393877 w 640198"/>
                    <a:gd name="connsiteY18" fmla="*/ 499576 h 499576"/>
                    <a:gd name="connsiteX19" fmla="*/ 392818 w 640198"/>
                    <a:gd name="connsiteY19" fmla="*/ 492439 h 499576"/>
                    <a:gd name="connsiteX20" fmla="*/ 313201 w 640198"/>
                    <a:gd name="connsiteY20" fmla="*/ 492439 h 499576"/>
                    <a:gd name="connsiteX21" fmla="*/ 314260 w 640198"/>
                    <a:gd name="connsiteY21" fmla="*/ 499576 h 499576"/>
                    <a:gd name="connsiteX22" fmla="*/ 0 w 640198"/>
                    <a:gd name="connsiteY22" fmla="*/ 499576 h 499576"/>
                    <a:gd name="connsiteX23" fmla="*/ 0 w 640198"/>
                    <a:gd name="connsiteY23" fmla="*/ 0 h 499576"/>
                    <a:gd name="connsiteX0" fmla="*/ 62448 w 640198"/>
                    <a:gd name="connsiteY0" fmla="*/ 117955 h 499576"/>
                    <a:gd name="connsiteX1" fmla="*/ 62448 w 640198"/>
                    <a:gd name="connsiteY1" fmla="*/ 437130 h 499576"/>
                    <a:gd name="connsiteX2" fmla="*/ 304996 w 640198"/>
                    <a:gd name="connsiteY2" fmla="*/ 437130 h 499576"/>
                    <a:gd name="connsiteX3" fmla="*/ 577752 w 640198"/>
                    <a:gd name="connsiteY3" fmla="*/ 437130 h 499576"/>
                    <a:gd name="connsiteX4" fmla="*/ 577752 w 640198"/>
                    <a:gd name="connsiteY4" fmla="*/ 394344 h 499576"/>
                    <a:gd name="connsiteX5" fmla="*/ 584224 w 640198"/>
                    <a:gd name="connsiteY5" fmla="*/ 396513 h 499576"/>
                    <a:gd name="connsiteX6" fmla="*/ 584224 w 640198"/>
                    <a:gd name="connsiteY6" fmla="*/ 313452 h 499576"/>
                    <a:gd name="connsiteX7" fmla="*/ 577752 w 640198"/>
                    <a:gd name="connsiteY7" fmla="*/ 311282 h 499576"/>
                    <a:gd name="connsiteX8" fmla="*/ 577752 w 640198"/>
                    <a:gd name="connsiteY8" fmla="*/ 117955 h 499576"/>
                    <a:gd name="connsiteX9" fmla="*/ 62448 w 640198"/>
                    <a:gd name="connsiteY9" fmla="*/ 117955 h 499576"/>
                    <a:gd name="connsiteX10" fmla="*/ 0 w 640198"/>
                    <a:gd name="connsiteY10" fmla="*/ 0 h 499576"/>
                    <a:gd name="connsiteX11" fmla="*/ 640198 w 640198"/>
                    <a:gd name="connsiteY11" fmla="*/ 0 h 499576"/>
                    <a:gd name="connsiteX12" fmla="*/ 640198 w 640198"/>
                    <a:gd name="connsiteY12" fmla="*/ 332213 h 499576"/>
                    <a:gd name="connsiteX13" fmla="*/ 629943 w 640198"/>
                    <a:gd name="connsiteY13" fmla="*/ 328776 h 499576"/>
                    <a:gd name="connsiteX14" fmla="*/ 629943 w 640198"/>
                    <a:gd name="connsiteY14" fmla="*/ 411837 h 499576"/>
                    <a:gd name="connsiteX15" fmla="*/ 640198 w 640198"/>
                    <a:gd name="connsiteY15" fmla="*/ 415274 h 499576"/>
                    <a:gd name="connsiteX16" fmla="*/ 640198 w 640198"/>
                    <a:gd name="connsiteY16" fmla="*/ 499576 h 499576"/>
                    <a:gd name="connsiteX17" fmla="*/ 393877 w 640198"/>
                    <a:gd name="connsiteY17" fmla="*/ 499576 h 499576"/>
                    <a:gd name="connsiteX18" fmla="*/ 392818 w 640198"/>
                    <a:gd name="connsiteY18" fmla="*/ 492439 h 499576"/>
                    <a:gd name="connsiteX19" fmla="*/ 313201 w 640198"/>
                    <a:gd name="connsiteY19" fmla="*/ 492439 h 499576"/>
                    <a:gd name="connsiteX20" fmla="*/ 314260 w 640198"/>
                    <a:gd name="connsiteY20" fmla="*/ 499576 h 499576"/>
                    <a:gd name="connsiteX21" fmla="*/ 0 w 640198"/>
                    <a:gd name="connsiteY21" fmla="*/ 499576 h 499576"/>
                    <a:gd name="connsiteX22" fmla="*/ 0 w 640198"/>
                    <a:gd name="connsiteY2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311282 h 499576"/>
                    <a:gd name="connsiteX7" fmla="*/ 577752 w 640198"/>
                    <a:gd name="connsiteY7" fmla="*/ 117955 h 499576"/>
                    <a:gd name="connsiteX8" fmla="*/ 62448 w 640198"/>
                    <a:gd name="connsiteY8" fmla="*/ 117955 h 499576"/>
                    <a:gd name="connsiteX9" fmla="*/ 0 w 640198"/>
                    <a:gd name="connsiteY9" fmla="*/ 0 h 499576"/>
                    <a:gd name="connsiteX10" fmla="*/ 640198 w 640198"/>
                    <a:gd name="connsiteY10" fmla="*/ 0 h 499576"/>
                    <a:gd name="connsiteX11" fmla="*/ 640198 w 640198"/>
                    <a:gd name="connsiteY11" fmla="*/ 332213 h 499576"/>
                    <a:gd name="connsiteX12" fmla="*/ 629943 w 640198"/>
                    <a:gd name="connsiteY12" fmla="*/ 328776 h 499576"/>
                    <a:gd name="connsiteX13" fmla="*/ 629943 w 640198"/>
                    <a:gd name="connsiteY13" fmla="*/ 411837 h 499576"/>
                    <a:gd name="connsiteX14" fmla="*/ 640198 w 640198"/>
                    <a:gd name="connsiteY14" fmla="*/ 415274 h 499576"/>
                    <a:gd name="connsiteX15" fmla="*/ 640198 w 640198"/>
                    <a:gd name="connsiteY15" fmla="*/ 499576 h 499576"/>
                    <a:gd name="connsiteX16" fmla="*/ 393877 w 640198"/>
                    <a:gd name="connsiteY16" fmla="*/ 499576 h 499576"/>
                    <a:gd name="connsiteX17" fmla="*/ 392818 w 640198"/>
                    <a:gd name="connsiteY17" fmla="*/ 492439 h 499576"/>
                    <a:gd name="connsiteX18" fmla="*/ 313201 w 640198"/>
                    <a:gd name="connsiteY18" fmla="*/ 492439 h 499576"/>
                    <a:gd name="connsiteX19" fmla="*/ 314260 w 640198"/>
                    <a:gd name="connsiteY19" fmla="*/ 499576 h 499576"/>
                    <a:gd name="connsiteX20" fmla="*/ 0 w 640198"/>
                    <a:gd name="connsiteY20" fmla="*/ 499576 h 499576"/>
                    <a:gd name="connsiteX21" fmla="*/ 0 w 640198"/>
                    <a:gd name="connsiteY2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117955 h 499576"/>
                    <a:gd name="connsiteX7" fmla="*/ 62448 w 640198"/>
                    <a:gd name="connsiteY7" fmla="*/ 117955 h 499576"/>
                    <a:gd name="connsiteX8" fmla="*/ 0 w 640198"/>
                    <a:gd name="connsiteY8" fmla="*/ 0 h 499576"/>
                    <a:gd name="connsiteX9" fmla="*/ 640198 w 640198"/>
                    <a:gd name="connsiteY9" fmla="*/ 0 h 499576"/>
                    <a:gd name="connsiteX10" fmla="*/ 640198 w 640198"/>
                    <a:gd name="connsiteY10" fmla="*/ 332213 h 499576"/>
                    <a:gd name="connsiteX11" fmla="*/ 629943 w 640198"/>
                    <a:gd name="connsiteY11" fmla="*/ 328776 h 499576"/>
                    <a:gd name="connsiteX12" fmla="*/ 629943 w 640198"/>
                    <a:gd name="connsiteY12" fmla="*/ 411837 h 499576"/>
                    <a:gd name="connsiteX13" fmla="*/ 640198 w 640198"/>
                    <a:gd name="connsiteY13" fmla="*/ 415274 h 499576"/>
                    <a:gd name="connsiteX14" fmla="*/ 640198 w 640198"/>
                    <a:gd name="connsiteY14" fmla="*/ 499576 h 499576"/>
                    <a:gd name="connsiteX15" fmla="*/ 393877 w 640198"/>
                    <a:gd name="connsiteY15" fmla="*/ 499576 h 499576"/>
                    <a:gd name="connsiteX16" fmla="*/ 392818 w 640198"/>
                    <a:gd name="connsiteY16" fmla="*/ 492439 h 499576"/>
                    <a:gd name="connsiteX17" fmla="*/ 313201 w 640198"/>
                    <a:gd name="connsiteY17" fmla="*/ 492439 h 499576"/>
                    <a:gd name="connsiteX18" fmla="*/ 314260 w 640198"/>
                    <a:gd name="connsiteY18" fmla="*/ 499576 h 499576"/>
                    <a:gd name="connsiteX19" fmla="*/ 0 w 640198"/>
                    <a:gd name="connsiteY19" fmla="*/ 499576 h 499576"/>
                    <a:gd name="connsiteX20" fmla="*/ 0 w 640198"/>
                    <a:gd name="connsiteY2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77752 w 640198"/>
                    <a:gd name="connsiteY5" fmla="*/ 117955 h 499576"/>
                    <a:gd name="connsiteX6" fmla="*/ 62448 w 640198"/>
                    <a:gd name="connsiteY6" fmla="*/ 117955 h 499576"/>
                    <a:gd name="connsiteX7" fmla="*/ 0 w 640198"/>
                    <a:gd name="connsiteY7" fmla="*/ 0 h 499576"/>
                    <a:gd name="connsiteX8" fmla="*/ 640198 w 640198"/>
                    <a:gd name="connsiteY8" fmla="*/ 0 h 499576"/>
                    <a:gd name="connsiteX9" fmla="*/ 640198 w 640198"/>
                    <a:gd name="connsiteY9" fmla="*/ 332213 h 499576"/>
                    <a:gd name="connsiteX10" fmla="*/ 629943 w 640198"/>
                    <a:gd name="connsiteY10" fmla="*/ 328776 h 499576"/>
                    <a:gd name="connsiteX11" fmla="*/ 629943 w 640198"/>
                    <a:gd name="connsiteY11" fmla="*/ 411837 h 499576"/>
                    <a:gd name="connsiteX12" fmla="*/ 640198 w 640198"/>
                    <a:gd name="connsiteY12" fmla="*/ 415274 h 499576"/>
                    <a:gd name="connsiteX13" fmla="*/ 640198 w 640198"/>
                    <a:gd name="connsiteY13" fmla="*/ 499576 h 499576"/>
                    <a:gd name="connsiteX14" fmla="*/ 393877 w 640198"/>
                    <a:gd name="connsiteY14" fmla="*/ 499576 h 499576"/>
                    <a:gd name="connsiteX15" fmla="*/ 392818 w 640198"/>
                    <a:gd name="connsiteY15" fmla="*/ 492439 h 499576"/>
                    <a:gd name="connsiteX16" fmla="*/ 313201 w 640198"/>
                    <a:gd name="connsiteY16" fmla="*/ 492439 h 499576"/>
                    <a:gd name="connsiteX17" fmla="*/ 314260 w 640198"/>
                    <a:gd name="connsiteY17" fmla="*/ 499576 h 499576"/>
                    <a:gd name="connsiteX18" fmla="*/ 0 w 640198"/>
                    <a:gd name="connsiteY18" fmla="*/ 499576 h 499576"/>
                    <a:gd name="connsiteX19" fmla="*/ 0 w 640198"/>
                    <a:gd name="connsiteY19"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77752 w 640198"/>
                    <a:gd name="connsiteY4" fmla="*/ 117955 h 499576"/>
                    <a:gd name="connsiteX5" fmla="*/ 62448 w 640198"/>
                    <a:gd name="connsiteY5" fmla="*/ 117955 h 499576"/>
                    <a:gd name="connsiteX6" fmla="*/ 0 w 640198"/>
                    <a:gd name="connsiteY6" fmla="*/ 0 h 499576"/>
                    <a:gd name="connsiteX7" fmla="*/ 640198 w 640198"/>
                    <a:gd name="connsiteY7" fmla="*/ 0 h 499576"/>
                    <a:gd name="connsiteX8" fmla="*/ 640198 w 640198"/>
                    <a:gd name="connsiteY8" fmla="*/ 332213 h 499576"/>
                    <a:gd name="connsiteX9" fmla="*/ 629943 w 640198"/>
                    <a:gd name="connsiteY9" fmla="*/ 328776 h 499576"/>
                    <a:gd name="connsiteX10" fmla="*/ 629943 w 640198"/>
                    <a:gd name="connsiteY10" fmla="*/ 411837 h 499576"/>
                    <a:gd name="connsiteX11" fmla="*/ 640198 w 640198"/>
                    <a:gd name="connsiteY11" fmla="*/ 415274 h 499576"/>
                    <a:gd name="connsiteX12" fmla="*/ 640198 w 640198"/>
                    <a:gd name="connsiteY12" fmla="*/ 499576 h 499576"/>
                    <a:gd name="connsiteX13" fmla="*/ 393877 w 640198"/>
                    <a:gd name="connsiteY13" fmla="*/ 499576 h 499576"/>
                    <a:gd name="connsiteX14" fmla="*/ 392818 w 640198"/>
                    <a:gd name="connsiteY14" fmla="*/ 492439 h 499576"/>
                    <a:gd name="connsiteX15" fmla="*/ 313201 w 640198"/>
                    <a:gd name="connsiteY15" fmla="*/ 492439 h 499576"/>
                    <a:gd name="connsiteX16" fmla="*/ 314260 w 640198"/>
                    <a:gd name="connsiteY16" fmla="*/ 499576 h 499576"/>
                    <a:gd name="connsiteX17" fmla="*/ 0 w 640198"/>
                    <a:gd name="connsiteY17" fmla="*/ 499576 h 499576"/>
                    <a:gd name="connsiteX18" fmla="*/ 0 w 640198"/>
                    <a:gd name="connsiteY18"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328776 h 499576"/>
                    <a:gd name="connsiteX9" fmla="*/ 629943 w 640198"/>
                    <a:gd name="connsiteY9" fmla="*/ 411837 h 499576"/>
                    <a:gd name="connsiteX10" fmla="*/ 640198 w 640198"/>
                    <a:gd name="connsiteY10" fmla="*/ 415274 h 499576"/>
                    <a:gd name="connsiteX11" fmla="*/ 640198 w 640198"/>
                    <a:gd name="connsiteY11" fmla="*/ 499576 h 499576"/>
                    <a:gd name="connsiteX12" fmla="*/ 393877 w 640198"/>
                    <a:gd name="connsiteY12" fmla="*/ 499576 h 499576"/>
                    <a:gd name="connsiteX13" fmla="*/ 392818 w 640198"/>
                    <a:gd name="connsiteY13" fmla="*/ 492439 h 499576"/>
                    <a:gd name="connsiteX14" fmla="*/ 313201 w 640198"/>
                    <a:gd name="connsiteY14" fmla="*/ 492439 h 499576"/>
                    <a:gd name="connsiteX15" fmla="*/ 314260 w 640198"/>
                    <a:gd name="connsiteY15" fmla="*/ 499576 h 499576"/>
                    <a:gd name="connsiteX16" fmla="*/ 0 w 640198"/>
                    <a:gd name="connsiteY16" fmla="*/ 499576 h 499576"/>
                    <a:gd name="connsiteX17" fmla="*/ 0 w 640198"/>
                    <a:gd name="connsiteY17"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411837 h 499576"/>
                    <a:gd name="connsiteX9" fmla="*/ 640198 w 640198"/>
                    <a:gd name="connsiteY9" fmla="*/ 415274 h 499576"/>
                    <a:gd name="connsiteX10" fmla="*/ 640198 w 640198"/>
                    <a:gd name="connsiteY10" fmla="*/ 499576 h 499576"/>
                    <a:gd name="connsiteX11" fmla="*/ 393877 w 640198"/>
                    <a:gd name="connsiteY11" fmla="*/ 499576 h 499576"/>
                    <a:gd name="connsiteX12" fmla="*/ 392818 w 640198"/>
                    <a:gd name="connsiteY12" fmla="*/ 492439 h 499576"/>
                    <a:gd name="connsiteX13" fmla="*/ 313201 w 640198"/>
                    <a:gd name="connsiteY13" fmla="*/ 492439 h 499576"/>
                    <a:gd name="connsiteX14" fmla="*/ 314260 w 640198"/>
                    <a:gd name="connsiteY14" fmla="*/ 499576 h 499576"/>
                    <a:gd name="connsiteX15" fmla="*/ 0 w 640198"/>
                    <a:gd name="connsiteY15" fmla="*/ 499576 h 499576"/>
                    <a:gd name="connsiteX16" fmla="*/ 0 w 640198"/>
                    <a:gd name="connsiteY16"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29943 w 640198"/>
                    <a:gd name="connsiteY7" fmla="*/ 411837 h 499576"/>
                    <a:gd name="connsiteX8" fmla="*/ 640198 w 640198"/>
                    <a:gd name="connsiteY8" fmla="*/ 415274 h 499576"/>
                    <a:gd name="connsiteX9" fmla="*/ 640198 w 640198"/>
                    <a:gd name="connsiteY9" fmla="*/ 499576 h 499576"/>
                    <a:gd name="connsiteX10" fmla="*/ 393877 w 640198"/>
                    <a:gd name="connsiteY10" fmla="*/ 499576 h 499576"/>
                    <a:gd name="connsiteX11" fmla="*/ 392818 w 640198"/>
                    <a:gd name="connsiteY11" fmla="*/ 492439 h 499576"/>
                    <a:gd name="connsiteX12" fmla="*/ 313201 w 640198"/>
                    <a:gd name="connsiteY12" fmla="*/ 492439 h 499576"/>
                    <a:gd name="connsiteX13" fmla="*/ 314260 w 640198"/>
                    <a:gd name="connsiteY13" fmla="*/ 499576 h 499576"/>
                    <a:gd name="connsiteX14" fmla="*/ 0 w 640198"/>
                    <a:gd name="connsiteY14" fmla="*/ 499576 h 499576"/>
                    <a:gd name="connsiteX15" fmla="*/ 0 w 640198"/>
                    <a:gd name="connsiteY15"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15274 h 499576"/>
                    <a:gd name="connsiteX8" fmla="*/ 640198 w 640198"/>
                    <a:gd name="connsiteY8" fmla="*/ 499576 h 499576"/>
                    <a:gd name="connsiteX9" fmla="*/ 393877 w 640198"/>
                    <a:gd name="connsiteY9" fmla="*/ 499576 h 499576"/>
                    <a:gd name="connsiteX10" fmla="*/ 392818 w 640198"/>
                    <a:gd name="connsiteY10" fmla="*/ 492439 h 499576"/>
                    <a:gd name="connsiteX11" fmla="*/ 313201 w 640198"/>
                    <a:gd name="connsiteY11" fmla="*/ 492439 h 499576"/>
                    <a:gd name="connsiteX12" fmla="*/ 314260 w 640198"/>
                    <a:gd name="connsiteY12" fmla="*/ 499576 h 499576"/>
                    <a:gd name="connsiteX13" fmla="*/ 0 w 640198"/>
                    <a:gd name="connsiteY13" fmla="*/ 499576 h 499576"/>
                    <a:gd name="connsiteX14" fmla="*/ 0 w 640198"/>
                    <a:gd name="connsiteY14"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314260 w 640198"/>
                    <a:gd name="connsiteY11" fmla="*/ 499576 h 499576"/>
                    <a:gd name="connsiteX12" fmla="*/ 0 w 640198"/>
                    <a:gd name="connsiteY12" fmla="*/ 499576 h 499576"/>
                    <a:gd name="connsiteX13" fmla="*/ 0 w 640198"/>
                    <a:gd name="connsiteY13"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0 w 640198"/>
                    <a:gd name="connsiteY11" fmla="*/ 499576 h 499576"/>
                    <a:gd name="connsiteX12" fmla="*/ 0 w 640198"/>
                    <a:gd name="connsiteY1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0 w 640198"/>
                    <a:gd name="connsiteY10" fmla="*/ 499576 h 499576"/>
                    <a:gd name="connsiteX11" fmla="*/ 0 w 640198"/>
                    <a:gd name="connsiteY1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0 w 640198"/>
                    <a:gd name="connsiteY9" fmla="*/ 499576 h 499576"/>
                    <a:gd name="connsiteX10" fmla="*/ 0 w 640198"/>
                    <a:gd name="connsiteY1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0 w 640198"/>
                    <a:gd name="connsiteY8" fmla="*/ 499576 h 499576"/>
                    <a:gd name="connsiteX9" fmla="*/ 0 w 640198"/>
                    <a:gd name="connsiteY9" fmla="*/ 0 h 499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198" h="499576">
                      <a:moveTo>
                        <a:pt x="62448" y="117955"/>
                      </a:moveTo>
                      <a:lnTo>
                        <a:pt x="62448" y="437130"/>
                      </a:lnTo>
                      <a:lnTo>
                        <a:pt x="577752" y="437130"/>
                      </a:lnTo>
                      <a:lnTo>
                        <a:pt x="577752" y="117955"/>
                      </a:lnTo>
                      <a:lnTo>
                        <a:pt x="62448" y="117955"/>
                      </a:lnTo>
                      <a:close/>
                      <a:moveTo>
                        <a:pt x="0" y="0"/>
                      </a:moveTo>
                      <a:lnTo>
                        <a:pt x="640198" y="0"/>
                      </a:lnTo>
                      <a:lnTo>
                        <a:pt x="640198" y="499576"/>
                      </a:lnTo>
                      <a:lnTo>
                        <a:pt x="0" y="499576"/>
                      </a:lnTo>
                      <a:lnTo>
                        <a:pt x="0" y="0"/>
                      </a:lnTo>
                      <a:close/>
                    </a:path>
                  </a:pathLst>
                </a:custGeom>
                <a:solidFill>
                  <a:schemeClr val="accent1"/>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grpSp>
        <p:pic>
          <p:nvPicPr>
            <p:cNvPr id="134" name="Picture 133">
              <a:extLst>
                <a:ext uri="{FF2B5EF4-FFF2-40B4-BE49-F238E27FC236}">
                  <a16:creationId xmlns:a16="http://schemas.microsoft.com/office/drawing/2014/main" id="{4FD7AD01-B904-8943-8B3C-C41FC0F5A840}"/>
                </a:ext>
              </a:extLst>
            </p:cNvPr>
            <p:cNvPicPr>
              <a:picLocks noChangeAspect="1"/>
            </p:cNvPicPr>
            <p:nvPr/>
          </p:nvPicPr>
          <p:blipFill rotWithShape="1">
            <a:blip r:embed="rId10">
              <a:extLst>
                <a:ext uri="{28A0092B-C50C-407E-A947-70E740481C1C}">
                  <a14:useLocalDpi xmlns:a14="http://schemas.microsoft.com/office/drawing/2010/main" val="0"/>
                </a:ext>
              </a:extLst>
            </a:blip>
            <a:srcRect l="-3846" t="-3556" r="-2378" b="-13377"/>
            <a:stretch/>
          </p:blipFill>
          <p:spPr>
            <a:xfrm>
              <a:off x="1077356" y="3024905"/>
              <a:ext cx="460648" cy="265232"/>
            </a:xfrm>
            <a:prstGeom prst="rect">
              <a:avLst/>
            </a:prstGeom>
            <a:solidFill>
              <a:srgbClr val="E6E6E6"/>
            </a:solidFill>
          </p:spPr>
        </p:pic>
      </p:grpSp>
      <p:sp>
        <p:nvSpPr>
          <p:cNvPr id="82" name="Title 2">
            <a:extLst>
              <a:ext uri="{FF2B5EF4-FFF2-40B4-BE49-F238E27FC236}">
                <a16:creationId xmlns:a16="http://schemas.microsoft.com/office/drawing/2014/main" id="{FD301F77-A080-6040-9B76-805F66A5541E}"/>
              </a:ext>
            </a:extLst>
          </p:cNvPr>
          <p:cNvSpPr txBox="1">
            <a:spLocks/>
          </p:cNvSpPr>
          <p:nvPr/>
        </p:nvSpPr>
        <p:spPr>
          <a:xfrm>
            <a:off x="588263" y="948434"/>
            <a:ext cx="11117508" cy="221599"/>
          </a:xfrm>
          <a:prstGeom prst="rect">
            <a:avLst/>
          </a:prstGeom>
        </p:spPr>
        <p:txBody>
          <a:bodyPr vert="horz" wrap="square" lIns="0" tIns="0" rIns="0" bIns="0" rtlCol="0" anchor="t">
            <a:spAutoFit/>
          </a:bodyPr>
          <a:lstStyle>
            <a:lvl1pPr algn="l" defTabSz="914367" rtl="0" eaLnBrk="1" latinLnBrk="0" hangingPunct="1">
              <a:lnSpc>
                <a:spcPct val="90000"/>
              </a:lnSpc>
              <a:spcBef>
                <a:spcPct val="0"/>
              </a:spcBef>
              <a:buNone/>
              <a:defRPr lang="en-US" sz="4000" b="0" kern="1200" cap="none" spc="0" baseline="0" dirty="0">
                <a:ln w="3175">
                  <a:noFill/>
                </a:ln>
                <a:solidFill>
                  <a:schemeClr val="tx1"/>
                </a:solidFill>
                <a:effectLst/>
                <a:latin typeface="+mj-lt"/>
                <a:ea typeface="+mn-ea"/>
                <a:cs typeface="Segoe UI Semilight"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1600" b="0" i="0" u="none" strike="noStrike" kern="1200" cap="none" spc="0" normalizeH="0" baseline="0" noProof="0" dirty="0">
                <a:ln w="3175">
                  <a:noFill/>
                </a:ln>
                <a:solidFill>
                  <a:sysClr val="windowText" lastClr="000000"/>
                </a:solidFill>
                <a:effectLst/>
                <a:uLnTx/>
                <a:uFillTx/>
                <a:latin typeface="Segoe UI Semibold"/>
                <a:ea typeface="+mn-ea"/>
                <a:cs typeface="Segoe UI Semilight" charset="0"/>
              </a:rPr>
              <a:t>Now with big data clusters</a:t>
            </a:r>
            <a:endParaRPr kumimoji="0" lang="en-US" sz="1800" b="0" i="0" u="none" strike="noStrike" kern="1200" cap="none" spc="0" normalizeH="0" baseline="0" noProof="0" dirty="0">
              <a:ln w="3175">
                <a:noFill/>
              </a:ln>
              <a:solidFill>
                <a:sysClr val="windowText" lastClr="000000"/>
              </a:solidFill>
              <a:effectLst/>
              <a:uLnTx/>
              <a:uFillTx/>
              <a:latin typeface="Segoe UI Semibold"/>
              <a:ea typeface="+mn-ea"/>
              <a:cs typeface="Segoe UI Semilight" charset="0"/>
            </a:endParaRPr>
          </a:p>
        </p:txBody>
      </p:sp>
      <p:sp>
        <p:nvSpPr>
          <p:cNvPr id="3" name="Title 2">
            <a:extLst>
              <a:ext uri="{FF2B5EF4-FFF2-40B4-BE49-F238E27FC236}">
                <a16:creationId xmlns:a16="http://schemas.microsoft.com/office/drawing/2014/main" id="{71E3AAFD-9E0F-416E-A918-A08D233B17E3}"/>
              </a:ext>
            </a:extLst>
          </p:cNvPr>
          <p:cNvSpPr>
            <a:spLocks noGrp="1"/>
          </p:cNvSpPr>
          <p:nvPr>
            <p:ph type="title"/>
          </p:nvPr>
        </p:nvSpPr>
        <p:spPr/>
        <p:txBody>
          <a:bodyPr/>
          <a:lstStyle/>
          <a:p>
            <a:r>
              <a:rPr lang="en-US" dirty="0">
                <a:solidFill>
                  <a:schemeClr val="accent1"/>
                </a:solidFill>
              </a:rPr>
              <a:t>Modernize on premises </a:t>
            </a:r>
            <a:r>
              <a:rPr lang="en-US" dirty="0"/>
              <a:t>with SQL Server 2019</a:t>
            </a:r>
          </a:p>
        </p:txBody>
      </p:sp>
      <p:sp>
        <p:nvSpPr>
          <p:cNvPr id="9" name="Rectangle 8">
            <a:extLst>
              <a:ext uri="{FF2B5EF4-FFF2-40B4-BE49-F238E27FC236}">
                <a16:creationId xmlns:a16="http://schemas.microsoft.com/office/drawing/2014/main" id="{9372815A-5740-8146-9FFF-04BD50F8CD8E}"/>
              </a:ext>
            </a:extLst>
          </p:cNvPr>
          <p:cNvSpPr/>
          <p:nvPr/>
        </p:nvSpPr>
        <p:spPr>
          <a:xfrm>
            <a:off x="1138572" y="2322756"/>
            <a:ext cx="413896" cy="246221"/>
          </a:xfrm>
          <a:prstGeom prst="rect">
            <a:avLst/>
          </a:prstGeom>
          <a:solidFill>
            <a:srgbClr val="E6E6E6"/>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SQL</a:t>
            </a:r>
            <a:endParaRPr kumimoji="0" lang="en-US" sz="1200" b="0" i="0" u="none" strike="noStrike" kern="1200" cap="none" spc="0" normalizeH="0" baseline="0" noProof="0" dirty="0">
              <a:ln>
                <a:noFill/>
              </a:ln>
              <a:solidFill>
                <a:srgbClr val="1A1A1A"/>
              </a:solidFill>
              <a:effectLst/>
              <a:uLnTx/>
              <a:uFillTx/>
              <a:latin typeface="Segoe UI"/>
              <a:ea typeface="+mn-ea"/>
              <a:cs typeface="+mn-cs"/>
            </a:endParaRPr>
          </a:p>
        </p:txBody>
      </p:sp>
    </p:spTree>
    <p:extLst>
      <p:ext uri="{BB962C8B-B14F-4D97-AF65-F5344CB8AC3E}">
        <p14:creationId xmlns:p14="http://schemas.microsoft.com/office/powerpoint/2010/main" val="1236760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A54100-363F-4F1C-9549-8F596C8CD245}"/>
              </a:ext>
            </a:extLst>
          </p:cNvPr>
          <p:cNvSpPr>
            <a:spLocks noGrp="1"/>
          </p:cNvSpPr>
          <p:nvPr>
            <p:ph type="title"/>
          </p:nvPr>
        </p:nvSpPr>
        <p:spPr>
          <a:xfrm>
            <a:off x="588263" y="457200"/>
            <a:ext cx="11018520" cy="553998"/>
          </a:xfrm>
        </p:spPr>
        <p:txBody>
          <a:bodyPr/>
          <a:lstStyle/>
          <a:p>
            <a:r>
              <a:rPr lang="en-US" dirty="0"/>
              <a:t>Database Compatibility Certification</a:t>
            </a:r>
          </a:p>
        </p:txBody>
      </p:sp>
      <p:sp>
        <p:nvSpPr>
          <p:cNvPr id="4" name="Text Placeholder 2">
            <a:extLst>
              <a:ext uri="{FF2B5EF4-FFF2-40B4-BE49-F238E27FC236}">
                <a16:creationId xmlns:a16="http://schemas.microsoft.com/office/drawing/2014/main" id="{50D2FFD7-06D7-4887-B1C0-598C08A59123}"/>
              </a:ext>
            </a:extLst>
          </p:cNvPr>
          <p:cNvSpPr>
            <a:spLocks noGrp="1"/>
          </p:cNvSpPr>
          <p:nvPr>
            <p:ph type="body" sz="quarter" idx="10"/>
          </p:nvPr>
        </p:nvSpPr>
        <p:spPr>
          <a:xfrm>
            <a:off x="586390" y="3668232"/>
            <a:ext cx="11018520" cy="2732567"/>
          </a:xfrm>
        </p:spPr>
        <p:txBody>
          <a:bodyPr/>
          <a:lstStyle/>
          <a:p>
            <a:endParaRPr lang="en-US" dirty="0"/>
          </a:p>
          <a:p>
            <a:r>
              <a:rPr lang="en-US" dirty="0"/>
              <a:t>Any certification process should be thought in terms of “</a:t>
            </a:r>
            <a:r>
              <a:rPr lang="en-US" i="1" dirty="0"/>
              <a:t>which target database compatibility level am I certifying to?”</a:t>
            </a:r>
          </a:p>
          <a:p>
            <a:endParaRPr lang="en-US" dirty="0"/>
          </a:p>
          <a:p>
            <a:r>
              <a:rPr lang="en-US" dirty="0"/>
              <a:t>Updated public documentation: </a:t>
            </a:r>
            <a:r>
              <a:rPr lang="en-US" dirty="0">
                <a:hlinkClick r:id="rId2"/>
              </a:rPr>
              <a:t>http://aka.ms/dbcompat</a:t>
            </a:r>
            <a:endParaRPr lang="en-US" dirty="0"/>
          </a:p>
        </p:txBody>
      </p:sp>
      <p:graphicFrame>
        <p:nvGraphicFramePr>
          <p:cNvPr id="5" name="Diagram 4">
            <a:extLst>
              <a:ext uri="{FF2B5EF4-FFF2-40B4-BE49-F238E27FC236}">
                <a16:creationId xmlns:a16="http://schemas.microsoft.com/office/drawing/2014/main" id="{9EAB7ECD-A361-4A48-A2D8-548A8FB4721E}"/>
              </a:ext>
            </a:extLst>
          </p:cNvPr>
          <p:cNvGraphicFramePr/>
          <p:nvPr>
            <p:extLst>
              <p:ext uri="{D42A27DB-BD31-4B8C-83A1-F6EECF244321}">
                <p14:modId xmlns:p14="http://schemas.microsoft.com/office/powerpoint/2010/main" val="3708757134"/>
              </p:ext>
            </p:extLst>
          </p:nvPr>
        </p:nvGraphicFramePr>
        <p:xfrm>
          <a:off x="585216" y="0"/>
          <a:ext cx="10929843" cy="544386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153486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animEffect transition="in" filter="fade">
                                      <p:cBhvr>
                                        <p:cTn id="7" dur="500"/>
                                        <p:tgtEl>
                                          <p:spTgt spid="4">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
                                            <p:txEl>
                                              <p:pRg st="3" end="3"/>
                                            </p:txEl>
                                          </p:spTgt>
                                        </p:tgtEl>
                                        <p:attrNameLst>
                                          <p:attrName>style.visibility</p:attrName>
                                        </p:attrNameLst>
                                      </p:cBhvr>
                                      <p:to>
                                        <p:strVal val="visible"/>
                                      </p:to>
                                    </p:set>
                                    <p:animEffect transition="in" filter="fade">
                                      <p:cBhvr>
                                        <p:cTn id="10" dur="500"/>
                                        <p:tgtEl>
                                          <p:spTgt spid="4">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crosoft stands by DB Compat based certification</a:t>
            </a:r>
          </a:p>
        </p:txBody>
      </p:sp>
      <p:graphicFrame>
        <p:nvGraphicFramePr>
          <p:cNvPr id="3" name="Diagram 2">
            <a:extLst>
              <a:ext uri="{FF2B5EF4-FFF2-40B4-BE49-F238E27FC236}">
                <a16:creationId xmlns:a16="http://schemas.microsoft.com/office/drawing/2014/main" id="{3DFF174B-DD6D-4062-9CB9-31F1ECBE0CCC}"/>
              </a:ext>
            </a:extLst>
          </p:cNvPr>
          <p:cNvGraphicFramePr/>
          <p:nvPr>
            <p:extLst>
              <p:ext uri="{D42A27DB-BD31-4B8C-83A1-F6EECF244321}">
                <p14:modId xmlns:p14="http://schemas.microsoft.com/office/powerpoint/2010/main" val="1852548709"/>
              </p:ext>
            </p:extLst>
          </p:nvPr>
        </p:nvGraphicFramePr>
        <p:xfrm>
          <a:off x="588262" y="1182245"/>
          <a:ext cx="11135652" cy="515324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Rectangle 3">
            <a:extLst>
              <a:ext uri="{FF2B5EF4-FFF2-40B4-BE49-F238E27FC236}">
                <a16:creationId xmlns:a16="http://schemas.microsoft.com/office/drawing/2014/main" id="{3FD8733A-CF24-4DC1-A9B9-68FD2A58238D}"/>
              </a:ext>
            </a:extLst>
          </p:cNvPr>
          <p:cNvSpPr/>
          <p:nvPr/>
        </p:nvSpPr>
        <p:spPr>
          <a:xfrm>
            <a:off x="688521" y="6400801"/>
            <a:ext cx="9255578" cy="363946"/>
          </a:xfrm>
          <a:prstGeom prst="rect">
            <a:avLst/>
          </a:prstGeom>
        </p:spPr>
        <p:txBody>
          <a:bodyPr wrap="square">
            <a:spAutoFit/>
          </a:bodyPr>
          <a:lstStyle/>
          <a:p>
            <a:pPr fontAlgn="base"/>
            <a:r>
              <a:rPr lang="en-US" dirty="0">
                <a:solidFill>
                  <a:srgbClr val="1A1A1A"/>
                </a:solidFill>
                <a:latin typeface="Segoe UI" panose="020B0502040204020203" pitchFamily="34" charset="0"/>
              </a:rPr>
              <a:t>* More on this this Saturday @3pm in session “Modernizing your SQL Server the right way”</a:t>
            </a:r>
            <a:r>
              <a:rPr lang="en-US" dirty="0">
                <a:latin typeface="Segoe UI" panose="020B0502040204020203" pitchFamily="34" charset="0"/>
              </a:rPr>
              <a:t>​</a:t>
            </a:r>
            <a:endParaRPr lang="en-US" b="0" i="0" u="none" strike="noStrike" dirty="0">
              <a:effectLst/>
              <a:latin typeface="&amp;quot"/>
            </a:endParaRPr>
          </a:p>
        </p:txBody>
      </p:sp>
    </p:spTree>
    <p:extLst>
      <p:ext uri="{BB962C8B-B14F-4D97-AF65-F5344CB8AC3E}">
        <p14:creationId xmlns:p14="http://schemas.microsoft.com/office/powerpoint/2010/main" val="29567077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graphicEl>
                                              <a:dgm id="{0F131562-68F0-4B19-9C9B-11EDABF5C6C2}"/>
                                            </p:graphicEl>
                                          </p:spTgt>
                                        </p:tgtEl>
                                        <p:attrNameLst>
                                          <p:attrName>style.visibility</p:attrName>
                                        </p:attrNameLst>
                                      </p:cBhvr>
                                      <p:to>
                                        <p:strVal val="visible"/>
                                      </p:to>
                                    </p:set>
                                    <p:animEffect transition="in" filter="fade">
                                      <p:cBhvr>
                                        <p:cTn id="7" dur="500"/>
                                        <p:tgtEl>
                                          <p:spTgt spid="3">
                                            <p:graphicEl>
                                              <a:dgm id="{0F131562-68F0-4B19-9C9B-11EDABF5C6C2}"/>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graphicEl>
                                              <a:dgm id="{BB60262A-7260-41EC-A300-83A70430AB88}"/>
                                            </p:graphicEl>
                                          </p:spTgt>
                                        </p:tgtEl>
                                        <p:attrNameLst>
                                          <p:attrName>style.visibility</p:attrName>
                                        </p:attrNameLst>
                                      </p:cBhvr>
                                      <p:to>
                                        <p:strVal val="visible"/>
                                      </p:to>
                                    </p:set>
                                    <p:animEffect transition="in" filter="fade">
                                      <p:cBhvr>
                                        <p:cTn id="12" dur="500"/>
                                        <p:tgtEl>
                                          <p:spTgt spid="3">
                                            <p:graphicEl>
                                              <a:dgm id="{BB60262A-7260-41EC-A300-83A70430AB88}"/>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graphicEl>
                                              <a:dgm id="{7818A2DF-6CC5-48A1-A1AD-474D3C9CEE83}"/>
                                            </p:graphicEl>
                                          </p:spTgt>
                                        </p:tgtEl>
                                        <p:attrNameLst>
                                          <p:attrName>style.visibility</p:attrName>
                                        </p:attrNameLst>
                                      </p:cBhvr>
                                      <p:to>
                                        <p:strVal val="visible"/>
                                      </p:to>
                                    </p:set>
                                    <p:animEffect transition="in" filter="fade">
                                      <p:cBhvr>
                                        <p:cTn id="17" dur="500"/>
                                        <p:tgtEl>
                                          <p:spTgt spid="3">
                                            <p:graphicEl>
                                              <a:dgm id="{7818A2DF-6CC5-48A1-A1AD-474D3C9CEE83}"/>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graphicEl>
                                              <a:dgm id="{3B92D154-099C-4BE2-9BB9-C48EC9DD153F}"/>
                                            </p:graphicEl>
                                          </p:spTgt>
                                        </p:tgtEl>
                                        <p:attrNameLst>
                                          <p:attrName>style.visibility</p:attrName>
                                        </p:attrNameLst>
                                      </p:cBhvr>
                                      <p:to>
                                        <p:strVal val="visible"/>
                                      </p:to>
                                    </p:set>
                                    <p:animEffect transition="in" filter="fade">
                                      <p:cBhvr>
                                        <p:cTn id="22" dur="500"/>
                                        <p:tgtEl>
                                          <p:spTgt spid="3">
                                            <p:graphicEl>
                                              <a:dgm id="{3B92D154-099C-4BE2-9BB9-C48EC9DD153F}"/>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uiExpand="1">
        <p:bldSub>
          <a:bldDgm bld="one"/>
        </p:bldSub>
      </p:bldGraphic>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06A1E4-3841-4AB3-8768-F519FE320F79}"/>
              </a:ext>
            </a:extLst>
          </p:cNvPr>
          <p:cNvSpPr>
            <a:spLocks noGrp="1"/>
          </p:cNvSpPr>
          <p:nvPr>
            <p:ph type="title"/>
          </p:nvPr>
        </p:nvSpPr>
        <p:spPr/>
        <p:txBody>
          <a:bodyPr/>
          <a:lstStyle/>
          <a:p>
            <a:r>
              <a:rPr lang="en-US" dirty="0"/>
              <a:t>Query Tuning Assistant (QTA)</a:t>
            </a:r>
          </a:p>
        </p:txBody>
      </p:sp>
      <p:sp>
        <p:nvSpPr>
          <p:cNvPr id="6" name="Text Placeholder 5">
            <a:extLst>
              <a:ext uri="{FF2B5EF4-FFF2-40B4-BE49-F238E27FC236}">
                <a16:creationId xmlns:a16="http://schemas.microsoft.com/office/drawing/2014/main" id="{158A742F-767B-45BB-B58B-B4BD1322EED1}"/>
              </a:ext>
            </a:extLst>
          </p:cNvPr>
          <p:cNvSpPr>
            <a:spLocks noGrp="1"/>
          </p:cNvSpPr>
          <p:nvPr>
            <p:ph type="body" sz="quarter" idx="10"/>
          </p:nvPr>
        </p:nvSpPr>
        <p:spPr/>
        <p:txBody>
          <a:bodyPr/>
          <a:lstStyle/>
          <a:p>
            <a:r>
              <a:rPr lang="en-US" dirty="0"/>
              <a:t>Crucial to uncover query performance issues with the workload, as it runs on the newer version of SQL Server Database Engine.</a:t>
            </a:r>
          </a:p>
          <a:p>
            <a:r>
              <a:rPr lang="en-US" dirty="0"/>
              <a:t>User needs to follow documented DB Compatibility upgrade procedure, QTA will guide through steps.</a:t>
            </a:r>
          </a:p>
          <a:p>
            <a:pPr lvl="1"/>
            <a:endParaRPr lang="en-US" dirty="0"/>
          </a:p>
          <a:p>
            <a:pPr lvl="1"/>
            <a:endParaRPr lang="en-US" dirty="0"/>
          </a:p>
          <a:p>
            <a:pPr lvl="1"/>
            <a:endParaRPr lang="en-US" dirty="0"/>
          </a:p>
          <a:p>
            <a:pPr lvl="1"/>
            <a:endParaRPr lang="en-US" dirty="0"/>
          </a:p>
          <a:p>
            <a:pPr lvl="1"/>
            <a:endParaRPr lang="en-US" dirty="0"/>
          </a:p>
          <a:p>
            <a:pPr lvl="1"/>
            <a:endParaRPr lang="en-US" dirty="0"/>
          </a:p>
        </p:txBody>
      </p:sp>
      <p:pic>
        <p:nvPicPr>
          <p:cNvPr id="5" name="Picture 4" descr="https://docs.microsoft.com/en-us/sql/relational-databases/performance/query-store-usage-scenarios#CEUpgrade">
            <a:extLst>
              <a:ext uri="{FF2B5EF4-FFF2-40B4-BE49-F238E27FC236}">
                <a16:creationId xmlns:a16="http://schemas.microsoft.com/office/drawing/2014/main" id="{58C4AB96-8AB4-44D3-B064-B51DFEFBF408}"/>
              </a:ext>
            </a:extLst>
          </p:cNvPr>
          <p:cNvPicPr>
            <a:picLocks noChangeAspect="1"/>
          </p:cNvPicPr>
          <p:nvPr/>
        </p:nvPicPr>
        <p:blipFill>
          <a:blip r:embed="rId3"/>
          <a:stretch>
            <a:fillRect/>
          </a:stretch>
        </p:blipFill>
        <p:spPr>
          <a:xfrm>
            <a:off x="813066" y="3019608"/>
            <a:ext cx="9652195" cy="3198312"/>
          </a:xfrm>
          <a:prstGeom prst="rect">
            <a:avLst/>
          </a:prstGeom>
        </p:spPr>
      </p:pic>
      <p:sp>
        <p:nvSpPr>
          <p:cNvPr id="7" name="Multiplication Sign 6">
            <a:extLst>
              <a:ext uri="{FF2B5EF4-FFF2-40B4-BE49-F238E27FC236}">
                <a16:creationId xmlns:a16="http://schemas.microsoft.com/office/drawing/2014/main" id="{4A09B679-BAD0-43A1-9F9A-A8679960F657}"/>
              </a:ext>
            </a:extLst>
          </p:cNvPr>
          <p:cNvSpPr/>
          <p:nvPr/>
        </p:nvSpPr>
        <p:spPr>
          <a:xfrm>
            <a:off x="8679183" y="3278931"/>
            <a:ext cx="1901699" cy="2593226"/>
          </a:xfrm>
          <a:prstGeom prst="mathMultiply">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766" dirty="0"/>
          </a:p>
        </p:txBody>
      </p:sp>
    </p:spTree>
    <p:extLst>
      <p:ext uri="{BB962C8B-B14F-4D97-AF65-F5344CB8AC3E}">
        <p14:creationId xmlns:p14="http://schemas.microsoft.com/office/powerpoint/2010/main" val="40029086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fade">
                                      <p:cBhvr>
                                        <p:cTn id="7" dur="500"/>
                                        <p:tgtEl>
                                          <p:spTgt spid="6">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5" y="2534625"/>
            <a:ext cx="6922489" cy="997196"/>
          </a:xfrm>
        </p:spPr>
        <p:txBody>
          <a:bodyPr/>
          <a:lstStyle/>
          <a:p>
            <a:r>
              <a:rPr lang="en-US" dirty="0"/>
              <a:t>Module 10 Activity: Query Tuning Assistant (QTA)</a:t>
            </a:r>
          </a:p>
        </p:txBody>
      </p:sp>
      <p:sp>
        <p:nvSpPr>
          <p:cNvPr id="4" name="Text Placeholder 3">
            <a:extLst>
              <a:ext uri="{FF2B5EF4-FFF2-40B4-BE49-F238E27FC236}">
                <a16:creationId xmlns:a16="http://schemas.microsoft.com/office/drawing/2014/main" id="{19845D98-2CE9-45E6-9AA5-7DA5B4AF1C6D}"/>
              </a:ext>
            </a:extLst>
          </p:cNvPr>
          <p:cNvSpPr>
            <a:spLocks noGrp="1"/>
          </p:cNvSpPr>
          <p:nvPr>
            <p:ph type="body" sz="quarter" idx="12"/>
          </p:nvPr>
        </p:nvSpPr>
        <p:spPr>
          <a:xfrm>
            <a:off x="585216" y="3977319"/>
            <a:ext cx="6400800" cy="307777"/>
          </a:xfrm>
        </p:spPr>
        <p:txBody>
          <a:bodyPr/>
          <a:lstStyle/>
          <a:p>
            <a:r>
              <a:rPr lang="en-US" dirty="0"/>
              <a:t>Using Query Tuning Assistant for Post Migration</a:t>
            </a:r>
          </a:p>
        </p:txBody>
      </p:sp>
    </p:spTree>
    <p:extLst>
      <p:ext uri="{BB962C8B-B14F-4D97-AF65-F5344CB8AC3E}">
        <p14:creationId xmlns:p14="http://schemas.microsoft.com/office/powerpoint/2010/main" val="37643782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ED57D2-FC66-4021-9648-46041AF46482}"/>
              </a:ext>
            </a:extLst>
          </p:cNvPr>
          <p:cNvSpPr>
            <a:spLocks noGrp="1"/>
          </p:cNvSpPr>
          <p:nvPr>
            <p:ph type="title"/>
          </p:nvPr>
        </p:nvSpPr>
        <p:spPr/>
        <p:txBody>
          <a:bodyPr/>
          <a:lstStyle/>
          <a:p>
            <a:r>
              <a:rPr lang="en-US" dirty="0"/>
              <a:t>What are your next steps?</a:t>
            </a:r>
          </a:p>
        </p:txBody>
      </p:sp>
      <p:sp>
        <p:nvSpPr>
          <p:cNvPr id="3" name="Text Placeholder 2">
            <a:extLst>
              <a:ext uri="{FF2B5EF4-FFF2-40B4-BE49-F238E27FC236}">
                <a16:creationId xmlns:a16="http://schemas.microsoft.com/office/drawing/2014/main" id="{5229DD0A-AD1D-45C2-8341-C89FD6AC1770}"/>
              </a:ext>
            </a:extLst>
          </p:cNvPr>
          <p:cNvSpPr>
            <a:spLocks noGrp="1"/>
          </p:cNvSpPr>
          <p:nvPr>
            <p:ph type="body" sz="quarter" idx="10"/>
          </p:nvPr>
        </p:nvSpPr>
        <p:spPr>
          <a:xfrm>
            <a:off x="584200" y="1435497"/>
            <a:ext cx="11018520" cy="4847481"/>
          </a:xfrm>
        </p:spPr>
        <p:txBody>
          <a:bodyPr/>
          <a:lstStyle/>
          <a:p>
            <a:pPr marL="457200" indent="-457200">
              <a:buAutoNum type="arabicPeriod"/>
            </a:pPr>
            <a:r>
              <a:rPr lang="en-US" sz="2400" dirty="0"/>
              <a:t>Assess your SQL Server instances and databases</a:t>
            </a:r>
          </a:p>
          <a:p>
            <a:pPr marL="457200" indent="-457200">
              <a:buAutoNum type="arabicPeriod"/>
            </a:pPr>
            <a:r>
              <a:rPr lang="en-US" sz="2400" dirty="0"/>
              <a:t>Are you affected by EOS for SQL Server 2008 and/or SQL Server 2008 R2?</a:t>
            </a:r>
          </a:p>
          <a:p>
            <a:pPr marL="457200" indent="-457200">
              <a:buAutoNum type="arabicPeriod"/>
            </a:pPr>
            <a:r>
              <a:rPr lang="en-US" sz="2400" dirty="0"/>
              <a:t>Look at modernization choices</a:t>
            </a:r>
          </a:p>
          <a:p>
            <a:pPr marL="457200" indent="-457200">
              <a:buAutoNum type="arabicPeriod"/>
            </a:pPr>
            <a:r>
              <a:rPr lang="en-US" sz="2400" dirty="0"/>
              <a:t>Try out SQL Server 2017, SQL Server 2019, Linux, and Containers</a:t>
            </a:r>
          </a:p>
          <a:p>
            <a:pPr marL="457200" indent="-457200">
              <a:buAutoNum type="arabicPeriod"/>
            </a:pPr>
            <a:r>
              <a:rPr lang="en-US" sz="2400" dirty="0"/>
              <a:t>Do a Proof of Concept (POC)</a:t>
            </a:r>
          </a:p>
          <a:p>
            <a:pPr marL="457200" indent="-457200">
              <a:buAutoNum type="arabicPeriod"/>
            </a:pPr>
            <a:r>
              <a:rPr lang="en-US" sz="2400" dirty="0"/>
              <a:t>Build out a semester and year plan. Adjust each semester</a:t>
            </a:r>
          </a:p>
          <a:p>
            <a:pPr marL="457200" indent="-457200">
              <a:buAutoNum type="arabicPeriod"/>
            </a:pPr>
            <a:r>
              <a:rPr lang="en-US" sz="2400" dirty="0"/>
              <a:t>Discuss database compatibility certification with your developers or ISV</a:t>
            </a:r>
          </a:p>
          <a:p>
            <a:pPr marL="457200" indent="-457200">
              <a:buAutoNum type="arabicPeriod"/>
            </a:pPr>
            <a:r>
              <a:rPr lang="en-US" sz="2400" dirty="0"/>
              <a:t>What do you want to move to the cloud?</a:t>
            </a:r>
          </a:p>
          <a:p>
            <a:pPr marL="457200" indent="-457200">
              <a:buAutoNum type="arabicPeriod"/>
            </a:pPr>
            <a:r>
              <a:rPr lang="en-US" sz="2400" dirty="0"/>
              <a:t>Where are you biggest pain points?</a:t>
            </a:r>
          </a:p>
          <a:p>
            <a:pPr marL="457200" indent="-457200">
              <a:buAutoNum type="arabicPeriod"/>
            </a:pPr>
            <a:r>
              <a:rPr lang="en-US" sz="2400" dirty="0"/>
              <a:t>Modernize your skills</a:t>
            </a:r>
          </a:p>
        </p:txBody>
      </p:sp>
    </p:spTree>
    <p:extLst>
      <p:ext uri="{BB962C8B-B14F-4D97-AF65-F5344CB8AC3E}">
        <p14:creationId xmlns:p14="http://schemas.microsoft.com/office/powerpoint/2010/main" val="2634037035"/>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44" name="Group 343">
            <a:extLst>
              <a:ext uri="{FF2B5EF4-FFF2-40B4-BE49-F238E27FC236}">
                <a16:creationId xmlns:a16="http://schemas.microsoft.com/office/drawing/2014/main" id="{A9966F20-2A05-484E-87F2-C38CC452A1A2}"/>
              </a:ext>
            </a:extLst>
          </p:cNvPr>
          <p:cNvGrpSpPr/>
          <p:nvPr/>
        </p:nvGrpSpPr>
        <p:grpSpPr>
          <a:xfrm>
            <a:off x="8050423" y="3177956"/>
            <a:ext cx="2499878" cy="515447"/>
            <a:chOff x="3317221" y="8323753"/>
            <a:chExt cx="2499878" cy="515447"/>
          </a:xfrm>
        </p:grpSpPr>
        <p:sp>
          <p:nvSpPr>
            <p:cNvPr id="345" name="Freeform 344">
              <a:extLst>
                <a:ext uri="{FF2B5EF4-FFF2-40B4-BE49-F238E27FC236}">
                  <a16:creationId xmlns:a16="http://schemas.microsoft.com/office/drawing/2014/main" id="{FA1145D4-A9C2-7243-8601-36421F41B45A}"/>
                </a:ext>
              </a:extLst>
            </p:cNvPr>
            <p:cNvSpPr/>
            <p:nvPr/>
          </p:nvSpPr>
          <p:spPr bwMode="auto">
            <a:xfrm>
              <a:off x="3317221" y="8323753"/>
              <a:ext cx="2499878" cy="515447"/>
            </a:xfrm>
            <a:custGeom>
              <a:avLst/>
              <a:gdLst>
                <a:gd name="connsiteX0" fmla="*/ 1249942 w 2499878"/>
                <a:gd name="connsiteY0" fmla="*/ 0 h 515447"/>
                <a:gd name="connsiteX1" fmla="*/ 2499878 w 2499878"/>
                <a:gd name="connsiteY1" fmla="*/ 504519 h 515447"/>
                <a:gd name="connsiteX2" fmla="*/ 2497149 w 2499878"/>
                <a:gd name="connsiteY2" fmla="*/ 515447 h 515447"/>
                <a:gd name="connsiteX3" fmla="*/ 2730 w 2499878"/>
                <a:gd name="connsiteY3" fmla="*/ 515447 h 515447"/>
                <a:gd name="connsiteX4" fmla="*/ 0 w 2499878"/>
                <a:gd name="connsiteY4" fmla="*/ 504519 h 515447"/>
                <a:gd name="connsiteX5" fmla="*/ 1249942 w 2499878"/>
                <a:gd name="connsiteY5" fmla="*/ 0 h 515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9878" h="515447">
                  <a:moveTo>
                    <a:pt x="1249942" y="0"/>
                  </a:moveTo>
                  <a:cubicBezTo>
                    <a:pt x="1940261" y="0"/>
                    <a:pt x="2499878" y="225880"/>
                    <a:pt x="2499878" y="504519"/>
                  </a:cubicBezTo>
                  <a:lnTo>
                    <a:pt x="2497149" y="515447"/>
                  </a:lnTo>
                  <a:lnTo>
                    <a:pt x="2730" y="515447"/>
                  </a:lnTo>
                  <a:lnTo>
                    <a:pt x="0" y="504519"/>
                  </a:lnTo>
                  <a:cubicBezTo>
                    <a:pt x="0" y="225880"/>
                    <a:pt x="559617" y="0"/>
                    <a:pt x="1249942" y="0"/>
                  </a:cubicBezTo>
                  <a:close/>
                </a:path>
              </a:pathLst>
            </a:custGeom>
            <a:solidFill>
              <a:srgbClr val="50E6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46" name="Freeform 345">
              <a:extLst>
                <a:ext uri="{FF2B5EF4-FFF2-40B4-BE49-F238E27FC236}">
                  <a16:creationId xmlns:a16="http://schemas.microsoft.com/office/drawing/2014/main" id="{95C49352-5B45-A04D-BED3-668C9FB630D7}"/>
                </a:ext>
              </a:extLst>
            </p:cNvPr>
            <p:cNvSpPr/>
            <p:nvPr/>
          </p:nvSpPr>
          <p:spPr bwMode="auto">
            <a:xfrm>
              <a:off x="3651203" y="8540432"/>
              <a:ext cx="1828635" cy="298768"/>
            </a:xfrm>
            <a:custGeom>
              <a:avLst/>
              <a:gdLst>
                <a:gd name="connsiteX0" fmla="*/ 914319 w 1828635"/>
                <a:gd name="connsiteY0" fmla="*/ 0 h 298768"/>
                <a:gd name="connsiteX1" fmla="*/ 1828635 w 1828635"/>
                <a:gd name="connsiteY1" fmla="*/ 286708 h 298768"/>
                <a:gd name="connsiteX2" fmla="*/ 1824758 w 1828635"/>
                <a:gd name="connsiteY2" fmla="*/ 298768 h 298768"/>
                <a:gd name="connsiteX3" fmla="*/ 3877 w 1828635"/>
                <a:gd name="connsiteY3" fmla="*/ 298768 h 298768"/>
                <a:gd name="connsiteX4" fmla="*/ 0 w 1828635"/>
                <a:gd name="connsiteY4" fmla="*/ 286708 h 298768"/>
                <a:gd name="connsiteX5" fmla="*/ 914319 w 1828635"/>
                <a:gd name="connsiteY5" fmla="*/ 0 h 298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635" h="298768">
                  <a:moveTo>
                    <a:pt x="914319" y="0"/>
                  </a:moveTo>
                  <a:cubicBezTo>
                    <a:pt x="1419281" y="0"/>
                    <a:pt x="1828635" y="128363"/>
                    <a:pt x="1828635" y="286708"/>
                  </a:cubicBezTo>
                  <a:lnTo>
                    <a:pt x="1824758" y="298768"/>
                  </a:lnTo>
                  <a:lnTo>
                    <a:pt x="3877" y="298768"/>
                  </a:lnTo>
                  <a:lnTo>
                    <a:pt x="0" y="286708"/>
                  </a:lnTo>
                  <a:cubicBezTo>
                    <a:pt x="0" y="128363"/>
                    <a:pt x="409354" y="0"/>
                    <a:pt x="914319" y="0"/>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grpSp>
      <p:sp>
        <p:nvSpPr>
          <p:cNvPr id="2" name="Title 1">
            <a:extLst>
              <a:ext uri="{FF2B5EF4-FFF2-40B4-BE49-F238E27FC236}">
                <a16:creationId xmlns:a16="http://schemas.microsoft.com/office/drawing/2014/main" id="{D0E37A8B-817C-4BAF-97EA-57F6E0E697E8}"/>
              </a:ext>
            </a:extLst>
          </p:cNvPr>
          <p:cNvSpPr>
            <a:spLocks noGrp="1"/>
          </p:cNvSpPr>
          <p:nvPr>
            <p:ph type="title"/>
          </p:nvPr>
        </p:nvSpPr>
        <p:spPr>
          <a:xfrm>
            <a:off x="588263" y="457200"/>
            <a:ext cx="7976617" cy="555156"/>
          </a:xfrm>
        </p:spPr>
        <p:txBody>
          <a:bodyPr/>
          <a:lstStyle/>
          <a:p>
            <a:r>
              <a:rPr lang="en-US" dirty="0"/>
              <a:t>What’s Next for SQL Server?</a:t>
            </a:r>
          </a:p>
        </p:txBody>
      </p:sp>
      <p:sp>
        <p:nvSpPr>
          <p:cNvPr id="3" name="Text Placeholder 2">
            <a:extLst>
              <a:ext uri="{FF2B5EF4-FFF2-40B4-BE49-F238E27FC236}">
                <a16:creationId xmlns:a16="http://schemas.microsoft.com/office/drawing/2014/main" id="{7B2A7C7E-7B3C-4E4F-9853-16303F557B12}"/>
              </a:ext>
            </a:extLst>
          </p:cNvPr>
          <p:cNvSpPr>
            <a:spLocks noGrp="1"/>
          </p:cNvSpPr>
          <p:nvPr>
            <p:ph type="body" sz="quarter" idx="10"/>
          </p:nvPr>
        </p:nvSpPr>
        <p:spPr>
          <a:xfrm>
            <a:off x="526236" y="1994877"/>
            <a:ext cx="7103601" cy="3098284"/>
          </a:xfrm>
        </p:spPr>
        <p:txBody>
          <a:bodyPr/>
          <a:lstStyle/>
          <a:p>
            <a:r>
              <a:rPr lang="en-US" sz="2800" dirty="0"/>
              <a:t>“Finish” SQL Server 2019</a:t>
            </a:r>
          </a:p>
          <a:p>
            <a:r>
              <a:rPr lang="en-US" sz="2800" dirty="0"/>
              <a:t>Continually integrate your feedback</a:t>
            </a:r>
          </a:p>
          <a:p>
            <a:pPr fontAlgn="base"/>
            <a:r>
              <a:rPr lang="en-US" sz="2800" dirty="0"/>
              <a:t>SQL Everywhere – Edge, OS, Containers, Clouds​, Blockchain</a:t>
            </a:r>
          </a:p>
          <a:p>
            <a:pPr fontAlgn="base"/>
            <a:r>
              <a:rPr lang="en-US" sz="2800" dirty="0"/>
              <a:t>Managed Data Platforms</a:t>
            </a:r>
          </a:p>
          <a:p>
            <a:pPr fontAlgn="base"/>
            <a:r>
              <a:rPr lang="en-US" sz="2800" dirty="0"/>
              <a:t>Something new and innovative</a:t>
            </a:r>
          </a:p>
        </p:txBody>
      </p:sp>
      <p:grpSp>
        <p:nvGrpSpPr>
          <p:cNvPr id="9" name="Group 8">
            <a:extLst>
              <a:ext uri="{FF2B5EF4-FFF2-40B4-BE49-F238E27FC236}">
                <a16:creationId xmlns:a16="http://schemas.microsoft.com/office/drawing/2014/main" id="{678EA0EB-4C97-3645-81A8-A777B85B0272}"/>
              </a:ext>
            </a:extLst>
          </p:cNvPr>
          <p:cNvGrpSpPr/>
          <p:nvPr/>
        </p:nvGrpSpPr>
        <p:grpSpPr>
          <a:xfrm>
            <a:off x="9034543" y="3238827"/>
            <a:ext cx="517414" cy="20409537"/>
            <a:chOff x="13693188" y="-6195484"/>
            <a:chExt cx="517414" cy="20409537"/>
          </a:xfrm>
        </p:grpSpPr>
        <p:grpSp>
          <p:nvGrpSpPr>
            <p:cNvPr id="7" name="Group 6">
              <a:extLst>
                <a:ext uri="{FF2B5EF4-FFF2-40B4-BE49-F238E27FC236}">
                  <a16:creationId xmlns:a16="http://schemas.microsoft.com/office/drawing/2014/main" id="{B54EEF12-2585-FD47-AFA8-C87771467793}"/>
                </a:ext>
              </a:extLst>
            </p:cNvPr>
            <p:cNvGrpSpPr/>
            <p:nvPr/>
          </p:nvGrpSpPr>
          <p:grpSpPr>
            <a:xfrm>
              <a:off x="13693188" y="4195426"/>
              <a:ext cx="517414" cy="10018627"/>
              <a:chOff x="9010351" y="7057068"/>
              <a:chExt cx="517414" cy="10018627"/>
            </a:xfrm>
          </p:grpSpPr>
          <p:sp>
            <p:nvSpPr>
              <p:cNvPr id="69" name="Freeform 292">
                <a:extLst>
                  <a:ext uri="{FF2B5EF4-FFF2-40B4-BE49-F238E27FC236}">
                    <a16:creationId xmlns:a16="http://schemas.microsoft.com/office/drawing/2014/main" id="{EF1F8D7E-6DD1-4566-9C74-0470CC161507}"/>
                  </a:ext>
                </a:extLst>
              </p:cNvPr>
              <p:cNvSpPr>
                <a:spLocks/>
              </p:cNvSpPr>
              <p:nvPr/>
            </p:nvSpPr>
            <p:spPr bwMode="auto">
              <a:xfrm>
                <a:off x="9033645" y="12165264"/>
                <a:ext cx="470827" cy="304181"/>
              </a:xfrm>
              <a:custGeom>
                <a:avLst/>
                <a:gdLst>
                  <a:gd name="T0" fmla="*/ 108 w 143"/>
                  <a:gd name="T1" fmla="*/ 26 h 93"/>
                  <a:gd name="T2" fmla="*/ 103 w 143"/>
                  <a:gd name="T3" fmla="*/ 26 h 93"/>
                  <a:gd name="T4" fmla="*/ 66 w 143"/>
                  <a:gd name="T5" fmla="*/ 0 h 93"/>
                  <a:gd name="T6" fmla="*/ 28 w 143"/>
                  <a:gd name="T7" fmla="*/ 37 h 93"/>
                  <a:gd name="T8" fmla="*/ 29 w 143"/>
                  <a:gd name="T9" fmla="*/ 42 h 93"/>
                  <a:gd name="T10" fmla="*/ 25 w 143"/>
                  <a:gd name="T11" fmla="*/ 42 h 93"/>
                  <a:gd name="T12" fmla="*/ 0 w 143"/>
                  <a:gd name="T13" fmla="*/ 68 h 93"/>
                  <a:gd name="T14" fmla="*/ 25 w 143"/>
                  <a:gd name="T15" fmla="*/ 93 h 93"/>
                  <a:gd name="T16" fmla="*/ 61 w 143"/>
                  <a:gd name="T17" fmla="*/ 93 h 93"/>
                  <a:gd name="T18" fmla="*/ 61 w 143"/>
                  <a:gd name="T19" fmla="*/ 66 h 93"/>
                  <a:gd name="T20" fmla="*/ 46 w 143"/>
                  <a:gd name="T21" fmla="*/ 66 h 93"/>
                  <a:gd name="T22" fmla="*/ 71 w 143"/>
                  <a:gd name="T23" fmla="*/ 33 h 93"/>
                  <a:gd name="T24" fmla="*/ 96 w 143"/>
                  <a:gd name="T25" fmla="*/ 66 h 93"/>
                  <a:gd name="T26" fmla="*/ 81 w 143"/>
                  <a:gd name="T27" fmla="*/ 66 h 93"/>
                  <a:gd name="T28" fmla="*/ 81 w 143"/>
                  <a:gd name="T29" fmla="*/ 93 h 93"/>
                  <a:gd name="T30" fmla="*/ 108 w 143"/>
                  <a:gd name="T31" fmla="*/ 93 h 93"/>
                  <a:gd name="T32" fmla="*/ 143 w 143"/>
                  <a:gd name="T33" fmla="*/ 59 h 93"/>
                  <a:gd name="T34" fmla="*/ 108 w 143"/>
                  <a:gd name="T35" fmla="*/ 26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3" h="93">
                    <a:moveTo>
                      <a:pt x="108" y="26"/>
                    </a:moveTo>
                    <a:cubicBezTo>
                      <a:pt x="106" y="26"/>
                      <a:pt x="105" y="26"/>
                      <a:pt x="103" y="26"/>
                    </a:cubicBezTo>
                    <a:cubicBezTo>
                      <a:pt x="98" y="11"/>
                      <a:pt x="83" y="0"/>
                      <a:pt x="66" y="0"/>
                    </a:cubicBezTo>
                    <a:cubicBezTo>
                      <a:pt x="45" y="0"/>
                      <a:pt x="28" y="17"/>
                      <a:pt x="28" y="37"/>
                    </a:cubicBezTo>
                    <a:cubicBezTo>
                      <a:pt x="28" y="39"/>
                      <a:pt x="28" y="41"/>
                      <a:pt x="29" y="42"/>
                    </a:cubicBezTo>
                    <a:cubicBezTo>
                      <a:pt x="28" y="42"/>
                      <a:pt x="27" y="42"/>
                      <a:pt x="25" y="42"/>
                    </a:cubicBezTo>
                    <a:cubicBezTo>
                      <a:pt x="11" y="42"/>
                      <a:pt x="0" y="54"/>
                      <a:pt x="0" y="68"/>
                    </a:cubicBezTo>
                    <a:cubicBezTo>
                      <a:pt x="0" y="82"/>
                      <a:pt x="11" y="93"/>
                      <a:pt x="25" y="93"/>
                    </a:cubicBezTo>
                    <a:cubicBezTo>
                      <a:pt x="61" y="93"/>
                      <a:pt x="61" y="93"/>
                      <a:pt x="61" y="93"/>
                    </a:cubicBezTo>
                    <a:cubicBezTo>
                      <a:pt x="61" y="66"/>
                      <a:pt x="61" y="66"/>
                      <a:pt x="61" y="66"/>
                    </a:cubicBezTo>
                    <a:cubicBezTo>
                      <a:pt x="46" y="66"/>
                      <a:pt x="46" y="66"/>
                      <a:pt x="46" y="66"/>
                    </a:cubicBezTo>
                    <a:cubicBezTo>
                      <a:pt x="71" y="33"/>
                      <a:pt x="71" y="33"/>
                      <a:pt x="71" y="33"/>
                    </a:cubicBezTo>
                    <a:cubicBezTo>
                      <a:pt x="96" y="66"/>
                      <a:pt x="96" y="66"/>
                      <a:pt x="96" y="66"/>
                    </a:cubicBezTo>
                    <a:cubicBezTo>
                      <a:pt x="81" y="66"/>
                      <a:pt x="81" y="66"/>
                      <a:pt x="81" y="66"/>
                    </a:cubicBezTo>
                    <a:cubicBezTo>
                      <a:pt x="81" y="93"/>
                      <a:pt x="81" y="93"/>
                      <a:pt x="81" y="93"/>
                    </a:cubicBezTo>
                    <a:cubicBezTo>
                      <a:pt x="108" y="93"/>
                      <a:pt x="108" y="93"/>
                      <a:pt x="108" y="93"/>
                    </a:cubicBezTo>
                    <a:cubicBezTo>
                      <a:pt x="127" y="93"/>
                      <a:pt x="143" y="78"/>
                      <a:pt x="143" y="59"/>
                    </a:cubicBezTo>
                    <a:cubicBezTo>
                      <a:pt x="143" y="41"/>
                      <a:pt x="127" y="26"/>
                      <a:pt x="108" y="26"/>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4" name="Freeform 349">
                <a:extLst>
                  <a:ext uri="{FF2B5EF4-FFF2-40B4-BE49-F238E27FC236}">
                    <a16:creationId xmlns:a16="http://schemas.microsoft.com/office/drawing/2014/main" id="{75E47BC8-7D7E-45F2-86FD-B8E0C6007566}"/>
                  </a:ext>
                </a:extLst>
              </p:cNvPr>
              <p:cNvSpPr>
                <a:spLocks noEditPoints="1"/>
              </p:cNvSpPr>
              <p:nvPr/>
            </p:nvSpPr>
            <p:spPr bwMode="auto">
              <a:xfrm>
                <a:off x="9049260" y="14098796"/>
                <a:ext cx="439597" cy="303649"/>
              </a:xfrm>
              <a:custGeom>
                <a:avLst/>
                <a:gdLst>
                  <a:gd name="T0" fmla="*/ 145 w 145"/>
                  <a:gd name="T1" fmla="*/ 86 h 100"/>
                  <a:gd name="T2" fmla="*/ 131 w 145"/>
                  <a:gd name="T3" fmla="*/ 100 h 100"/>
                  <a:gd name="T4" fmla="*/ 13 w 145"/>
                  <a:gd name="T5" fmla="*/ 100 h 100"/>
                  <a:gd name="T6" fmla="*/ 0 w 145"/>
                  <a:gd name="T7" fmla="*/ 86 h 100"/>
                  <a:gd name="T8" fmla="*/ 0 w 145"/>
                  <a:gd name="T9" fmla="*/ 9 h 100"/>
                  <a:gd name="T10" fmla="*/ 18 w 145"/>
                  <a:gd name="T11" fmla="*/ 9 h 100"/>
                  <a:gd name="T12" fmla="*/ 18 w 145"/>
                  <a:gd name="T13" fmla="*/ 0 h 100"/>
                  <a:gd name="T14" fmla="*/ 145 w 145"/>
                  <a:gd name="T15" fmla="*/ 0 h 100"/>
                  <a:gd name="T16" fmla="*/ 145 w 145"/>
                  <a:gd name="T17" fmla="*/ 86 h 100"/>
                  <a:gd name="T18" fmla="*/ 18 w 145"/>
                  <a:gd name="T19" fmla="*/ 19 h 100"/>
                  <a:gd name="T20" fmla="*/ 9 w 145"/>
                  <a:gd name="T21" fmla="*/ 19 h 100"/>
                  <a:gd name="T22" fmla="*/ 9 w 145"/>
                  <a:gd name="T23" fmla="*/ 86 h 100"/>
                  <a:gd name="T24" fmla="*/ 13 w 145"/>
                  <a:gd name="T25" fmla="*/ 91 h 100"/>
                  <a:gd name="T26" fmla="*/ 18 w 145"/>
                  <a:gd name="T27" fmla="*/ 86 h 100"/>
                  <a:gd name="T28" fmla="*/ 18 w 145"/>
                  <a:gd name="T29" fmla="*/ 19 h 100"/>
                  <a:gd name="T30" fmla="*/ 135 w 145"/>
                  <a:gd name="T31" fmla="*/ 9 h 100"/>
                  <a:gd name="T32" fmla="*/ 27 w 145"/>
                  <a:gd name="T33" fmla="*/ 9 h 100"/>
                  <a:gd name="T34" fmla="*/ 27 w 145"/>
                  <a:gd name="T35" fmla="*/ 86 h 100"/>
                  <a:gd name="T36" fmla="*/ 26 w 145"/>
                  <a:gd name="T37" fmla="*/ 91 h 100"/>
                  <a:gd name="T38" fmla="*/ 131 w 145"/>
                  <a:gd name="T39" fmla="*/ 91 h 100"/>
                  <a:gd name="T40" fmla="*/ 135 w 145"/>
                  <a:gd name="T41" fmla="*/ 86 h 100"/>
                  <a:gd name="T42" fmla="*/ 135 w 145"/>
                  <a:gd name="T43" fmla="*/ 9 h 100"/>
                  <a:gd name="T44" fmla="*/ 81 w 145"/>
                  <a:gd name="T45" fmla="*/ 64 h 100"/>
                  <a:gd name="T46" fmla="*/ 36 w 145"/>
                  <a:gd name="T47" fmla="*/ 64 h 100"/>
                  <a:gd name="T48" fmla="*/ 36 w 145"/>
                  <a:gd name="T49" fmla="*/ 19 h 100"/>
                  <a:gd name="T50" fmla="*/ 81 w 145"/>
                  <a:gd name="T51" fmla="*/ 19 h 100"/>
                  <a:gd name="T52" fmla="*/ 81 w 145"/>
                  <a:gd name="T53" fmla="*/ 64 h 100"/>
                  <a:gd name="T54" fmla="*/ 81 w 145"/>
                  <a:gd name="T55" fmla="*/ 82 h 100"/>
                  <a:gd name="T56" fmla="*/ 36 w 145"/>
                  <a:gd name="T57" fmla="*/ 82 h 100"/>
                  <a:gd name="T58" fmla="*/ 36 w 145"/>
                  <a:gd name="T59" fmla="*/ 73 h 100"/>
                  <a:gd name="T60" fmla="*/ 81 w 145"/>
                  <a:gd name="T61" fmla="*/ 73 h 100"/>
                  <a:gd name="T62" fmla="*/ 81 w 145"/>
                  <a:gd name="T63" fmla="*/ 82 h 100"/>
                  <a:gd name="T64" fmla="*/ 45 w 145"/>
                  <a:gd name="T65" fmla="*/ 28 h 100"/>
                  <a:gd name="T66" fmla="*/ 45 w 145"/>
                  <a:gd name="T67" fmla="*/ 55 h 100"/>
                  <a:gd name="T68" fmla="*/ 72 w 145"/>
                  <a:gd name="T69" fmla="*/ 55 h 100"/>
                  <a:gd name="T70" fmla="*/ 72 w 145"/>
                  <a:gd name="T71" fmla="*/ 28 h 100"/>
                  <a:gd name="T72" fmla="*/ 45 w 145"/>
                  <a:gd name="T73" fmla="*/ 28 h 100"/>
                  <a:gd name="T74" fmla="*/ 126 w 145"/>
                  <a:gd name="T75" fmla="*/ 28 h 100"/>
                  <a:gd name="T76" fmla="*/ 90 w 145"/>
                  <a:gd name="T77" fmla="*/ 28 h 100"/>
                  <a:gd name="T78" fmla="*/ 90 w 145"/>
                  <a:gd name="T79" fmla="*/ 19 h 100"/>
                  <a:gd name="T80" fmla="*/ 126 w 145"/>
                  <a:gd name="T81" fmla="*/ 19 h 100"/>
                  <a:gd name="T82" fmla="*/ 126 w 145"/>
                  <a:gd name="T83" fmla="*/ 28 h 100"/>
                  <a:gd name="T84" fmla="*/ 126 w 145"/>
                  <a:gd name="T85" fmla="*/ 46 h 100"/>
                  <a:gd name="T86" fmla="*/ 90 w 145"/>
                  <a:gd name="T87" fmla="*/ 46 h 100"/>
                  <a:gd name="T88" fmla="*/ 90 w 145"/>
                  <a:gd name="T89" fmla="*/ 37 h 100"/>
                  <a:gd name="T90" fmla="*/ 126 w 145"/>
                  <a:gd name="T91" fmla="*/ 37 h 100"/>
                  <a:gd name="T92" fmla="*/ 126 w 145"/>
                  <a:gd name="T93" fmla="*/ 46 h 100"/>
                  <a:gd name="T94" fmla="*/ 126 w 145"/>
                  <a:gd name="T95" fmla="*/ 64 h 100"/>
                  <a:gd name="T96" fmla="*/ 90 w 145"/>
                  <a:gd name="T97" fmla="*/ 64 h 100"/>
                  <a:gd name="T98" fmla="*/ 90 w 145"/>
                  <a:gd name="T99" fmla="*/ 55 h 100"/>
                  <a:gd name="T100" fmla="*/ 126 w 145"/>
                  <a:gd name="T101" fmla="*/ 55 h 100"/>
                  <a:gd name="T102" fmla="*/ 126 w 145"/>
                  <a:gd name="T103" fmla="*/ 64 h 100"/>
                  <a:gd name="T104" fmla="*/ 126 w 145"/>
                  <a:gd name="T105" fmla="*/ 82 h 100"/>
                  <a:gd name="T106" fmla="*/ 90 w 145"/>
                  <a:gd name="T107" fmla="*/ 82 h 100"/>
                  <a:gd name="T108" fmla="*/ 90 w 145"/>
                  <a:gd name="T109" fmla="*/ 73 h 100"/>
                  <a:gd name="T110" fmla="*/ 126 w 145"/>
                  <a:gd name="T111" fmla="*/ 73 h 100"/>
                  <a:gd name="T112" fmla="*/ 126 w 145"/>
                  <a:gd name="T113" fmla="*/ 8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5" h="100">
                    <a:moveTo>
                      <a:pt x="145" y="86"/>
                    </a:moveTo>
                    <a:cubicBezTo>
                      <a:pt x="145" y="94"/>
                      <a:pt x="138" y="100"/>
                      <a:pt x="131" y="100"/>
                    </a:cubicBezTo>
                    <a:cubicBezTo>
                      <a:pt x="13" y="100"/>
                      <a:pt x="13" y="100"/>
                      <a:pt x="13" y="100"/>
                    </a:cubicBezTo>
                    <a:cubicBezTo>
                      <a:pt x="6" y="100"/>
                      <a:pt x="0" y="94"/>
                      <a:pt x="0" y="86"/>
                    </a:cubicBezTo>
                    <a:cubicBezTo>
                      <a:pt x="0" y="9"/>
                      <a:pt x="0" y="9"/>
                      <a:pt x="0" y="9"/>
                    </a:cubicBezTo>
                    <a:cubicBezTo>
                      <a:pt x="18" y="9"/>
                      <a:pt x="18" y="9"/>
                      <a:pt x="18" y="9"/>
                    </a:cubicBezTo>
                    <a:cubicBezTo>
                      <a:pt x="18" y="0"/>
                      <a:pt x="18" y="0"/>
                      <a:pt x="18" y="0"/>
                    </a:cubicBezTo>
                    <a:cubicBezTo>
                      <a:pt x="145" y="0"/>
                      <a:pt x="145" y="0"/>
                      <a:pt x="145" y="0"/>
                    </a:cubicBezTo>
                    <a:lnTo>
                      <a:pt x="145" y="86"/>
                    </a:lnTo>
                    <a:close/>
                    <a:moveTo>
                      <a:pt x="18" y="19"/>
                    </a:moveTo>
                    <a:cubicBezTo>
                      <a:pt x="9" y="19"/>
                      <a:pt x="9" y="19"/>
                      <a:pt x="9" y="19"/>
                    </a:cubicBezTo>
                    <a:cubicBezTo>
                      <a:pt x="9" y="86"/>
                      <a:pt x="9" y="86"/>
                      <a:pt x="9" y="86"/>
                    </a:cubicBezTo>
                    <a:cubicBezTo>
                      <a:pt x="9" y="89"/>
                      <a:pt x="11" y="91"/>
                      <a:pt x="13" y="91"/>
                    </a:cubicBezTo>
                    <a:cubicBezTo>
                      <a:pt x="16" y="91"/>
                      <a:pt x="18" y="89"/>
                      <a:pt x="18" y="86"/>
                    </a:cubicBezTo>
                    <a:lnTo>
                      <a:pt x="18" y="19"/>
                    </a:lnTo>
                    <a:close/>
                    <a:moveTo>
                      <a:pt x="135" y="9"/>
                    </a:moveTo>
                    <a:cubicBezTo>
                      <a:pt x="27" y="9"/>
                      <a:pt x="27" y="9"/>
                      <a:pt x="27" y="9"/>
                    </a:cubicBezTo>
                    <a:cubicBezTo>
                      <a:pt x="27" y="86"/>
                      <a:pt x="27" y="86"/>
                      <a:pt x="27" y="86"/>
                    </a:cubicBezTo>
                    <a:cubicBezTo>
                      <a:pt x="27" y="88"/>
                      <a:pt x="27" y="89"/>
                      <a:pt x="26" y="91"/>
                    </a:cubicBezTo>
                    <a:cubicBezTo>
                      <a:pt x="131" y="91"/>
                      <a:pt x="131" y="91"/>
                      <a:pt x="131" y="91"/>
                    </a:cubicBezTo>
                    <a:cubicBezTo>
                      <a:pt x="133" y="91"/>
                      <a:pt x="135" y="89"/>
                      <a:pt x="135" y="86"/>
                    </a:cubicBezTo>
                    <a:lnTo>
                      <a:pt x="135" y="9"/>
                    </a:lnTo>
                    <a:close/>
                    <a:moveTo>
                      <a:pt x="81" y="64"/>
                    </a:moveTo>
                    <a:cubicBezTo>
                      <a:pt x="36" y="64"/>
                      <a:pt x="36" y="64"/>
                      <a:pt x="36" y="64"/>
                    </a:cubicBezTo>
                    <a:cubicBezTo>
                      <a:pt x="36" y="19"/>
                      <a:pt x="36" y="19"/>
                      <a:pt x="36" y="19"/>
                    </a:cubicBezTo>
                    <a:cubicBezTo>
                      <a:pt x="81" y="19"/>
                      <a:pt x="81" y="19"/>
                      <a:pt x="81" y="19"/>
                    </a:cubicBezTo>
                    <a:lnTo>
                      <a:pt x="81" y="64"/>
                    </a:lnTo>
                    <a:close/>
                    <a:moveTo>
                      <a:pt x="81" y="82"/>
                    </a:moveTo>
                    <a:cubicBezTo>
                      <a:pt x="36" y="82"/>
                      <a:pt x="36" y="82"/>
                      <a:pt x="36" y="82"/>
                    </a:cubicBezTo>
                    <a:cubicBezTo>
                      <a:pt x="36" y="73"/>
                      <a:pt x="36" y="73"/>
                      <a:pt x="36" y="73"/>
                    </a:cubicBezTo>
                    <a:cubicBezTo>
                      <a:pt x="81" y="73"/>
                      <a:pt x="81" y="73"/>
                      <a:pt x="81" y="73"/>
                    </a:cubicBezTo>
                    <a:lnTo>
                      <a:pt x="81" y="82"/>
                    </a:lnTo>
                    <a:close/>
                    <a:moveTo>
                      <a:pt x="45" y="28"/>
                    </a:moveTo>
                    <a:cubicBezTo>
                      <a:pt x="45" y="55"/>
                      <a:pt x="45" y="55"/>
                      <a:pt x="45" y="55"/>
                    </a:cubicBezTo>
                    <a:cubicBezTo>
                      <a:pt x="72" y="55"/>
                      <a:pt x="72" y="55"/>
                      <a:pt x="72" y="55"/>
                    </a:cubicBezTo>
                    <a:cubicBezTo>
                      <a:pt x="72" y="28"/>
                      <a:pt x="72" y="28"/>
                      <a:pt x="72" y="28"/>
                    </a:cubicBezTo>
                    <a:lnTo>
                      <a:pt x="45" y="28"/>
                    </a:lnTo>
                    <a:close/>
                    <a:moveTo>
                      <a:pt x="126" y="28"/>
                    </a:moveTo>
                    <a:cubicBezTo>
                      <a:pt x="90" y="28"/>
                      <a:pt x="90" y="28"/>
                      <a:pt x="90" y="28"/>
                    </a:cubicBezTo>
                    <a:cubicBezTo>
                      <a:pt x="90" y="19"/>
                      <a:pt x="90" y="19"/>
                      <a:pt x="90" y="19"/>
                    </a:cubicBezTo>
                    <a:cubicBezTo>
                      <a:pt x="126" y="19"/>
                      <a:pt x="126" y="19"/>
                      <a:pt x="126" y="19"/>
                    </a:cubicBezTo>
                    <a:lnTo>
                      <a:pt x="126" y="28"/>
                    </a:lnTo>
                    <a:close/>
                    <a:moveTo>
                      <a:pt x="126" y="46"/>
                    </a:moveTo>
                    <a:cubicBezTo>
                      <a:pt x="90" y="46"/>
                      <a:pt x="90" y="46"/>
                      <a:pt x="90" y="46"/>
                    </a:cubicBezTo>
                    <a:cubicBezTo>
                      <a:pt x="90" y="37"/>
                      <a:pt x="90" y="37"/>
                      <a:pt x="90" y="37"/>
                    </a:cubicBezTo>
                    <a:cubicBezTo>
                      <a:pt x="126" y="37"/>
                      <a:pt x="126" y="37"/>
                      <a:pt x="126" y="37"/>
                    </a:cubicBezTo>
                    <a:lnTo>
                      <a:pt x="126" y="46"/>
                    </a:lnTo>
                    <a:close/>
                    <a:moveTo>
                      <a:pt x="126" y="64"/>
                    </a:moveTo>
                    <a:cubicBezTo>
                      <a:pt x="90" y="64"/>
                      <a:pt x="90" y="64"/>
                      <a:pt x="90" y="64"/>
                    </a:cubicBezTo>
                    <a:cubicBezTo>
                      <a:pt x="90" y="55"/>
                      <a:pt x="90" y="55"/>
                      <a:pt x="90" y="55"/>
                    </a:cubicBezTo>
                    <a:cubicBezTo>
                      <a:pt x="126" y="55"/>
                      <a:pt x="126" y="55"/>
                      <a:pt x="126" y="55"/>
                    </a:cubicBezTo>
                    <a:lnTo>
                      <a:pt x="126" y="64"/>
                    </a:lnTo>
                    <a:close/>
                    <a:moveTo>
                      <a:pt x="126" y="82"/>
                    </a:moveTo>
                    <a:cubicBezTo>
                      <a:pt x="90" y="82"/>
                      <a:pt x="90" y="82"/>
                      <a:pt x="90" y="82"/>
                    </a:cubicBezTo>
                    <a:cubicBezTo>
                      <a:pt x="90" y="73"/>
                      <a:pt x="90" y="73"/>
                      <a:pt x="90" y="73"/>
                    </a:cubicBezTo>
                    <a:cubicBezTo>
                      <a:pt x="126" y="73"/>
                      <a:pt x="126" y="73"/>
                      <a:pt x="126" y="73"/>
                    </a:cubicBezTo>
                    <a:lnTo>
                      <a:pt x="126" y="8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6" name="Freeform 260">
                <a:extLst>
                  <a:ext uri="{FF2B5EF4-FFF2-40B4-BE49-F238E27FC236}">
                    <a16:creationId xmlns:a16="http://schemas.microsoft.com/office/drawing/2014/main" id="{32C8AC92-52CF-42DE-A036-F01C5DF57F92}"/>
                  </a:ext>
                </a:extLst>
              </p:cNvPr>
              <p:cNvSpPr>
                <a:spLocks noEditPoints="1"/>
              </p:cNvSpPr>
              <p:nvPr/>
            </p:nvSpPr>
            <p:spPr bwMode="auto">
              <a:xfrm>
                <a:off x="9050988" y="14619123"/>
                <a:ext cx="436141" cy="432906"/>
              </a:xfrm>
              <a:custGeom>
                <a:avLst/>
                <a:gdLst>
                  <a:gd name="T0" fmla="*/ 0 w 185"/>
                  <a:gd name="T1" fmla="*/ 92 h 185"/>
                  <a:gd name="T2" fmla="*/ 123 w 185"/>
                  <a:gd name="T3" fmla="*/ 65 h 185"/>
                  <a:gd name="T4" fmla="*/ 133 w 185"/>
                  <a:gd name="T5" fmla="*/ 59 h 185"/>
                  <a:gd name="T6" fmla="*/ 146 w 185"/>
                  <a:gd name="T7" fmla="*/ 56 h 185"/>
                  <a:gd name="T8" fmla="*/ 143 w 185"/>
                  <a:gd name="T9" fmla="*/ 51 h 185"/>
                  <a:gd name="T10" fmla="*/ 134 w 185"/>
                  <a:gd name="T11" fmla="*/ 43 h 185"/>
                  <a:gd name="T12" fmla="*/ 128 w 185"/>
                  <a:gd name="T13" fmla="*/ 43 h 185"/>
                  <a:gd name="T14" fmla="*/ 123 w 185"/>
                  <a:gd name="T15" fmla="*/ 39 h 185"/>
                  <a:gd name="T16" fmla="*/ 111 w 185"/>
                  <a:gd name="T17" fmla="*/ 35 h 185"/>
                  <a:gd name="T18" fmla="*/ 113 w 185"/>
                  <a:gd name="T19" fmla="*/ 47 h 185"/>
                  <a:gd name="T20" fmla="*/ 108 w 185"/>
                  <a:gd name="T21" fmla="*/ 57 h 185"/>
                  <a:gd name="T22" fmla="*/ 99 w 185"/>
                  <a:gd name="T23" fmla="*/ 50 h 185"/>
                  <a:gd name="T24" fmla="*/ 85 w 185"/>
                  <a:gd name="T25" fmla="*/ 43 h 185"/>
                  <a:gd name="T26" fmla="*/ 89 w 185"/>
                  <a:gd name="T27" fmla="*/ 33 h 185"/>
                  <a:gd name="T28" fmla="*/ 102 w 185"/>
                  <a:gd name="T29" fmla="*/ 28 h 185"/>
                  <a:gd name="T30" fmla="*/ 100 w 185"/>
                  <a:gd name="T31" fmla="*/ 23 h 185"/>
                  <a:gd name="T32" fmla="*/ 91 w 185"/>
                  <a:gd name="T33" fmla="*/ 24 h 185"/>
                  <a:gd name="T34" fmla="*/ 81 w 185"/>
                  <a:gd name="T35" fmla="*/ 18 h 185"/>
                  <a:gd name="T36" fmla="*/ 82 w 185"/>
                  <a:gd name="T37" fmla="*/ 25 h 185"/>
                  <a:gd name="T38" fmla="*/ 76 w 185"/>
                  <a:gd name="T39" fmla="*/ 25 h 185"/>
                  <a:gd name="T40" fmla="*/ 68 w 185"/>
                  <a:gd name="T41" fmla="*/ 19 h 185"/>
                  <a:gd name="T42" fmla="*/ 61 w 185"/>
                  <a:gd name="T43" fmla="*/ 23 h 185"/>
                  <a:gd name="T44" fmla="*/ 69 w 185"/>
                  <a:gd name="T45" fmla="*/ 24 h 185"/>
                  <a:gd name="T46" fmla="*/ 63 w 185"/>
                  <a:gd name="T47" fmla="*/ 28 h 185"/>
                  <a:gd name="T48" fmla="*/ 27 w 185"/>
                  <a:gd name="T49" fmla="*/ 51 h 185"/>
                  <a:gd name="T50" fmla="*/ 32 w 185"/>
                  <a:gd name="T51" fmla="*/ 57 h 185"/>
                  <a:gd name="T52" fmla="*/ 38 w 185"/>
                  <a:gd name="T53" fmla="*/ 65 h 185"/>
                  <a:gd name="T54" fmla="*/ 36 w 185"/>
                  <a:gd name="T55" fmla="*/ 76 h 185"/>
                  <a:gd name="T56" fmla="*/ 43 w 185"/>
                  <a:gd name="T57" fmla="*/ 89 h 185"/>
                  <a:gd name="T58" fmla="*/ 52 w 185"/>
                  <a:gd name="T59" fmla="*/ 103 h 185"/>
                  <a:gd name="T60" fmla="*/ 57 w 185"/>
                  <a:gd name="T61" fmla="*/ 109 h 185"/>
                  <a:gd name="T62" fmla="*/ 51 w 185"/>
                  <a:gd name="T63" fmla="*/ 95 h 185"/>
                  <a:gd name="T64" fmla="*/ 61 w 185"/>
                  <a:gd name="T65" fmla="*/ 108 h 185"/>
                  <a:gd name="T66" fmla="*/ 73 w 185"/>
                  <a:gd name="T67" fmla="*/ 122 h 185"/>
                  <a:gd name="T68" fmla="*/ 89 w 185"/>
                  <a:gd name="T69" fmla="*/ 129 h 185"/>
                  <a:gd name="T70" fmla="*/ 103 w 185"/>
                  <a:gd name="T71" fmla="*/ 140 h 185"/>
                  <a:gd name="T72" fmla="*/ 108 w 185"/>
                  <a:gd name="T73" fmla="*/ 138 h 185"/>
                  <a:gd name="T74" fmla="*/ 102 w 185"/>
                  <a:gd name="T75" fmla="*/ 129 h 185"/>
                  <a:gd name="T76" fmla="*/ 95 w 185"/>
                  <a:gd name="T77" fmla="*/ 126 h 185"/>
                  <a:gd name="T78" fmla="*/ 94 w 185"/>
                  <a:gd name="T79" fmla="*/ 115 h 185"/>
                  <a:gd name="T80" fmla="*/ 83 w 185"/>
                  <a:gd name="T81" fmla="*/ 120 h 185"/>
                  <a:gd name="T82" fmla="*/ 81 w 185"/>
                  <a:gd name="T83" fmla="*/ 101 h 185"/>
                  <a:gd name="T84" fmla="*/ 89 w 185"/>
                  <a:gd name="T85" fmla="*/ 99 h 185"/>
                  <a:gd name="T86" fmla="*/ 95 w 185"/>
                  <a:gd name="T87" fmla="*/ 97 h 185"/>
                  <a:gd name="T88" fmla="*/ 103 w 185"/>
                  <a:gd name="T89" fmla="*/ 101 h 185"/>
                  <a:gd name="T90" fmla="*/ 107 w 185"/>
                  <a:gd name="T91" fmla="*/ 99 h 185"/>
                  <a:gd name="T92" fmla="*/ 113 w 185"/>
                  <a:gd name="T93" fmla="*/ 86 h 185"/>
                  <a:gd name="T94" fmla="*/ 112 w 185"/>
                  <a:gd name="T95" fmla="*/ 82 h 185"/>
                  <a:gd name="T96" fmla="*/ 121 w 185"/>
                  <a:gd name="T97" fmla="*/ 75 h 185"/>
                  <a:gd name="T98" fmla="*/ 128 w 185"/>
                  <a:gd name="T99" fmla="*/ 69 h 185"/>
                  <a:gd name="T100" fmla="*/ 132 w 185"/>
                  <a:gd name="T101" fmla="*/ 63 h 185"/>
                  <a:gd name="T102" fmla="*/ 123 w 185"/>
                  <a:gd name="T103" fmla="*/ 65 h 185"/>
                  <a:gd name="T104" fmla="*/ 142 w 185"/>
                  <a:gd name="T105" fmla="*/ 143 h 185"/>
                  <a:gd name="T106" fmla="*/ 131 w 185"/>
                  <a:gd name="T107" fmla="*/ 138 h 185"/>
                  <a:gd name="T108" fmla="*/ 121 w 185"/>
                  <a:gd name="T109" fmla="*/ 138 h 185"/>
                  <a:gd name="T110" fmla="*/ 114 w 185"/>
                  <a:gd name="T111" fmla="*/ 137 h 185"/>
                  <a:gd name="T112" fmla="*/ 111 w 185"/>
                  <a:gd name="T113" fmla="*/ 147 h 185"/>
                  <a:gd name="T114" fmla="*/ 108 w 185"/>
                  <a:gd name="T115" fmla="*/ 161 h 185"/>
                  <a:gd name="T116" fmla="*/ 148 w 185"/>
                  <a:gd name="T117" fmla="*/ 14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5" h="185">
                    <a:moveTo>
                      <a:pt x="185" y="92"/>
                    </a:moveTo>
                    <a:cubicBezTo>
                      <a:pt x="185" y="143"/>
                      <a:pt x="144" y="185"/>
                      <a:pt x="93" y="185"/>
                    </a:cubicBezTo>
                    <a:cubicBezTo>
                      <a:pt x="42" y="185"/>
                      <a:pt x="0" y="143"/>
                      <a:pt x="0" y="92"/>
                    </a:cubicBezTo>
                    <a:cubicBezTo>
                      <a:pt x="0" y="41"/>
                      <a:pt x="42" y="0"/>
                      <a:pt x="93" y="0"/>
                    </a:cubicBezTo>
                    <a:cubicBezTo>
                      <a:pt x="144" y="0"/>
                      <a:pt x="185" y="41"/>
                      <a:pt x="185" y="92"/>
                    </a:cubicBezTo>
                    <a:close/>
                    <a:moveTo>
                      <a:pt x="123" y="65"/>
                    </a:moveTo>
                    <a:cubicBezTo>
                      <a:pt x="123" y="65"/>
                      <a:pt x="124" y="63"/>
                      <a:pt x="124" y="62"/>
                    </a:cubicBezTo>
                    <a:cubicBezTo>
                      <a:pt x="125" y="61"/>
                      <a:pt x="126" y="61"/>
                      <a:pt x="127" y="60"/>
                    </a:cubicBezTo>
                    <a:cubicBezTo>
                      <a:pt x="129" y="59"/>
                      <a:pt x="131" y="59"/>
                      <a:pt x="133" y="59"/>
                    </a:cubicBezTo>
                    <a:cubicBezTo>
                      <a:pt x="135" y="58"/>
                      <a:pt x="138" y="58"/>
                      <a:pt x="139" y="60"/>
                    </a:cubicBezTo>
                    <a:cubicBezTo>
                      <a:pt x="142" y="57"/>
                      <a:pt x="142" y="57"/>
                      <a:pt x="142" y="57"/>
                    </a:cubicBezTo>
                    <a:cubicBezTo>
                      <a:pt x="143" y="57"/>
                      <a:pt x="145" y="57"/>
                      <a:pt x="146" y="56"/>
                    </a:cubicBezTo>
                    <a:cubicBezTo>
                      <a:pt x="146" y="55"/>
                      <a:pt x="146" y="53"/>
                      <a:pt x="146" y="53"/>
                    </a:cubicBezTo>
                    <a:cubicBezTo>
                      <a:pt x="144" y="53"/>
                      <a:pt x="143" y="51"/>
                      <a:pt x="143" y="50"/>
                    </a:cubicBezTo>
                    <a:cubicBezTo>
                      <a:pt x="143" y="50"/>
                      <a:pt x="143" y="50"/>
                      <a:pt x="143" y="51"/>
                    </a:cubicBezTo>
                    <a:cubicBezTo>
                      <a:pt x="143" y="49"/>
                      <a:pt x="140" y="50"/>
                      <a:pt x="140" y="50"/>
                    </a:cubicBezTo>
                    <a:cubicBezTo>
                      <a:pt x="137" y="49"/>
                      <a:pt x="137" y="47"/>
                      <a:pt x="136" y="45"/>
                    </a:cubicBezTo>
                    <a:cubicBezTo>
                      <a:pt x="136" y="44"/>
                      <a:pt x="135" y="44"/>
                      <a:pt x="134" y="43"/>
                    </a:cubicBezTo>
                    <a:cubicBezTo>
                      <a:pt x="134" y="42"/>
                      <a:pt x="133" y="40"/>
                      <a:pt x="132" y="40"/>
                    </a:cubicBezTo>
                    <a:cubicBezTo>
                      <a:pt x="132" y="40"/>
                      <a:pt x="130" y="43"/>
                      <a:pt x="130" y="43"/>
                    </a:cubicBezTo>
                    <a:cubicBezTo>
                      <a:pt x="129" y="42"/>
                      <a:pt x="128" y="43"/>
                      <a:pt x="128" y="43"/>
                    </a:cubicBezTo>
                    <a:cubicBezTo>
                      <a:pt x="127" y="44"/>
                      <a:pt x="126" y="44"/>
                      <a:pt x="126" y="44"/>
                    </a:cubicBezTo>
                    <a:cubicBezTo>
                      <a:pt x="128" y="43"/>
                      <a:pt x="125" y="42"/>
                      <a:pt x="123" y="42"/>
                    </a:cubicBezTo>
                    <a:cubicBezTo>
                      <a:pt x="125" y="42"/>
                      <a:pt x="124" y="40"/>
                      <a:pt x="123" y="39"/>
                    </a:cubicBezTo>
                    <a:cubicBezTo>
                      <a:pt x="124" y="39"/>
                      <a:pt x="124" y="39"/>
                      <a:pt x="124" y="39"/>
                    </a:cubicBezTo>
                    <a:cubicBezTo>
                      <a:pt x="124" y="38"/>
                      <a:pt x="120" y="37"/>
                      <a:pt x="119" y="36"/>
                    </a:cubicBezTo>
                    <a:cubicBezTo>
                      <a:pt x="118" y="36"/>
                      <a:pt x="112" y="35"/>
                      <a:pt x="111" y="35"/>
                    </a:cubicBezTo>
                    <a:cubicBezTo>
                      <a:pt x="110" y="36"/>
                      <a:pt x="112" y="39"/>
                      <a:pt x="112" y="40"/>
                    </a:cubicBezTo>
                    <a:cubicBezTo>
                      <a:pt x="112" y="41"/>
                      <a:pt x="110" y="42"/>
                      <a:pt x="110" y="43"/>
                    </a:cubicBezTo>
                    <a:cubicBezTo>
                      <a:pt x="110" y="45"/>
                      <a:pt x="114" y="44"/>
                      <a:pt x="113" y="47"/>
                    </a:cubicBezTo>
                    <a:cubicBezTo>
                      <a:pt x="112" y="49"/>
                      <a:pt x="110" y="49"/>
                      <a:pt x="109" y="51"/>
                    </a:cubicBezTo>
                    <a:cubicBezTo>
                      <a:pt x="108" y="52"/>
                      <a:pt x="109" y="54"/>
                      <a:pt x="110" y="55"/>
                    </a:cubicBezTo>
                    <a:cubicBezTo>
                      <a:pt x="111" y="55"/>
                      <a:pt x="109" y="57"/>
                      <a:pt x="108" y="57"/>
                    </a:cubicBezTo>
                    <a:cubicBezTo>
                      <a:pt x="106" y="58"/>
                      <a:pt x="105" y="55"/>
                      <a:pt x="104" y="53"/>
                    </a:cubicBezTo>
                    <a:cubicBezTo>
                      <a:pt x="104" y="52"/>
                      <a:pt x="104" y="50"/>
                      <a:pt x="102" y="49"/>
                    </a:cubicBezTo>
                    <a:cubicBezTo>
                      <a:pt x="101" y="49"/>
                      <a:pt x="99" y="49"/>
                      <a:pt x="99" y="50"/>
                    </a:cubicBezTo>
                    <a:cubicBezTo>
                      <a:pt x="98" y="48"/>
                      <a:pt x="95" y="47"/>
                      <a:pt x="94" y="46"/>
                    </a:cubicBezTo>
                    <a:cubicBezTo>
                      <a:pt x="91" y="46"/>
                      <a:pt x="89" y="46"/>
                      <a:pt x="87" y="46"/>
                    </a:cubicBezTo>
                    <a:cubicBezTo>
                      <a:pt x="88" y="46"/>
                      <a:pt x="87" y="42"/>
                      <a:pt x="85" y="43"/>
                    </a:cubicBezTo>
                    <a:cubicBezTo>
                      <a:pt x="85" y="42"/>
                      <a:pt x="85" y="40"/>
                      <a:pt x="85" y="39"/>
                    </a:cubicBezTo>
                    <a:cubicBezTo>
                      <a:pt x="85" y="38"/>
                      <a:pt x="86" y="37"/>
                      <a:pt x="87" y="36"/>
                    </a:cubicBezTo>
                    <a:cubicBezTo>
                      <a:pt x="87" y="36"/>
                      <a:pt x="89" y="33"/>
                      <a:pt x="89" y="33"/>
                    </a:cubicBezTo>
                    <a:cubicBezTo>
                      <a:pt x="91" y="33"/>
                      <a:pt x="93" y="33"/>
                      <a:pt x="95" y="32"/>
                    </a:cubicBezTo>
                    <a:cubicBezTo>
                      <a:pt x="96" y="30"/>
                      <a:pt x="96" y="29"/>
                      <a:pt x="97" y="27"/>
                    </a:cubicBezTo>
                    <a:cubicBezTo>
                      <a:pt x="99" y="26"/>
                      <a:pt x="101" y="28"/>
                      <a:pt x="102" y="28"/>
                    </a:cubicBezTo>
                    <a:cubicBezTo>
                      <a:pt x="105" y="28"/>
                      <a:pt x="105" y="26"/>
                      <a:pt x="103" y="24"/>
                    </a:cubicBezTo>
                    <a:cubicBezTo>
                      <a:pt x="105" y="24"/>
                      <a:pt x="104" y="22"/>
                      <a:pt x="103" y="21"/>
                    </a:cubicBezTo>
                    <a:cubicBezTo>
                      <a:pt x="102" y="21"/>
                      <a:pt x="98" y="22"/>
                      <a:pt x="100" y="23"/>
                    </a:cubicBezTo>
                    <a:cubicBezTo>
                      <a:pt x="99" y="23"/>
                      <a:pt x="96" y="29"/>
                      <a:pt x="95" y="26"/>
                    </a:cubicBezTo>
                    <a:cubicBezTo>
                      <a:pt x="94" y="25"/>
                      <a:pt x="94" y="22"/>
                      <a:pt x="93" y="22"/>
                    </a:cubicBezTo>
                    <a:cubicBezTo>
                      <a:pt x="92" y="22"/>
                      <a:pt x="91" y="23"/>
                      <a:pt x="91" y="24"/>
                    </a:cubicBezTo>
                    <a:cubicBezTo>
                      <a:pt x="92" y="23"/>
                      <a:pt x="88" y="21"/>
                      <a:pt x="87" y="21"/>
                    </a:cubicBezTo>
                    <a:cubicBezTo>
                      <a:pt x="89" y="20"/>
                      <a:pt x="87" y="19"/>
                      <a:pt x="86" y="18"/>
                    </a:cubicBezTo>
                    <a:cubicBezTo>
                      <a:pt x="85" y="17"/>
                      <a:pt x="82" y="17"/>
                      <a:pt x="81" y="18"/>
                    </a:cubicBezTo>
                    <a:cubicBezTo>
                      <a:pt x="79" y="21"/>
                      <a:pt x="83" y="21"/>
                      <a:pt x="85" y="22"/>
                    </a:cubicBezTo>
                    <a:cubicBezTo>
                      <a:pt x="85" y="22"/>
                      <a:pt x="86" y="23"/>
                      <a:pt x="86" y="23"/>
                    </a:cubicBezTo>
                    <a:cubicBezTo>
                      <a:pt x="85" y="24"/>
                      <a:pt x="83" y="24"/>
                      <a:pt x="82" y="25"/>
                    </a:cubicBezTo>
                    <a:cubicBezTo>
                      <a:pt x="82" y="26"/>
                      <a:pt x="83" y="27"/>
                      <a:pt x="82" y="28"/>
                    </a:cubicBezTo>
                    <a:cubicBezTo>
                      <a:pt x="81" y="27"/>
                      <a:pt x="81" y="25"/>
                      <a:pt x="80" y="24"/>
                    </a:cubicBezTo>
                    <a:cubicBezTo>
                      <a:pt x="81" y="26"/>
                      <a:pt x="76" y="25"/>
                      <a:pt x="76" y="25"/>
                    </a:cubicBezTo>
                    <a:cubicBezTo>
                      <a:pt x="74" y="25"/>
                      <a:pt x="71" y="26"/>
                      <a:pt x="70" y="24"/>
                    </a:cubicBezTo>
                    <a:cubicBezTo>
                      <a:pt x="70" y="24"/>
                      <a:pt x="70" y="21"/>
                      <a:pt x="71" y="22"/>
                    </a:cubicBezTo>
                    <a:cubicBezTo>
                      <a:pt x="69" y="21"/>
                      <a:pt x="69" y="20"/>
                      <a:pt x="68" y="19"/>
                    </a:cubicBezTo>
                    <a:cubicBezTo>
                      <a:pt x="64" y="21"/>
                      <a:pt x="60" y="22"/>
                      <a:pt x="57" y="24"/>
                    </a:cubicBezTo>
                    <a:cubicBezTo>
                      <a:pt x="57" y="24"/>
                      <a:pt x="58" y="24"/>
                      <a:pt x="58" y="24"/>
                    </a:cubicBezTo>
                    <a:cubicBezTo>
                      <a:pt x="59" y="24"/>
                      <a:pt x="60" y="23"/>
                      <a:pt x="61" y="23"/>
                    </a:cubicBezTo>
                    <a:cubicBezTo>
                      <a:pt x="62" y="22"/>
                      <a:pt x="65" y="21"/>
                      <a:pt x="66" y="22"/>
                    </a:cubicBezTo>
                    <a:cubicBezTo>
                      <a:pt x="67" y="21"/>
                      <a:pt x="67" y="21"/>
                      <a:pt x="67" y="21"/>
                    </a:cubicBezTo>
                    <a:cubicBezTo>
                      <a:pt x="67" y="22"/>
                      <a:pt x="68" y="23"/>
                      <a:pt x="69" y="24"/>
                    </a:cubicBezTo>
                    <a:cubicBezTo>
                      <a:pt x="68" y="24"/>
                      <a:pt x="66" y="24"/>
                      <a:pt x="65" y="24"/>
                    </a:cubicBezTo>
                    <a:cubicBezTo>
                      <a:pt x="65" y="24"/>
                      <a:pt x="63" y="25"/>
                      <a:pt x="63" y="26"/>
                    </a:cubicBezTo>
                    <a:cubicBezTo>
                      <a:pt x="63" y="26"/>
                      <a:pt x="64" y="27"/>
                      <a:pt x="63" y="28"/>
                    </a:cubicBezTo>
                    <a:cubicBezTo>
                      <a:pt x="62" y="27"/>
                      <a:pt x="61" y="25"/>
                      <a:pt x="58" y="25"/>
                    </a:cubicBezTo>
                    <a:cubicBezTo>
                      <a:pt x="57" y="25"/>
                      <a:pt x="56" y="25"/>
                      <a:pt x="56" y="25"/>
                    </a:cubicBezTo>
                    <a:cubicBezTo>
                      <a:pt x="44" y="31"/>
                      <a:pt x="34" y="40"/>
                      <a:pt x="27" y="51"/>
                    </a:cubicBezTo>
                    <a:cubicBezTo>
                      <a:pt x="28" y="52"/>
                      <a:pt x="28" y="52"/>
                      <a:pt x="29" y="52"/>
                    </a:cubicBezTo>
                    <a:cubicBezTo>
                      <a:pt x="30" y="53"/>
                      <a:pt x="29" y="56"/>
                      <a:pt x="31" y="54"/>
                    </a:cubicBezTo>
                    <a:cubicBezTo>
                      <a:pt x="32" y="55"/>
                      <a:pt x="32" y="56"/>
                      <a:pt x="32" y="57"/>
                    </a:cubicBezTo>
                    <a:cubicBezTo>
                      <a:pt x="37" y="60"/>
                      <a:pt x="37" y="60"/>
                      <a:pt x="37" y="60"/>
                    </a:cubicBezTo>
                    <a:cubicBezTo>
                      <a:pt x="38" y="61"/>
                      <a:pt x="39" y="62"/>
                      <a:pt x="39" y="63"/>
                    </a:cubicBezTo>
                    <a:cubicBezTo>
                      <a:pt x="40" y="63"/>
                      <a:pt x="39" y="64"/>
                      <a:pt x="38" y="65"/>
                    </a:cubicBezTo>
                    <a:cubicBezTo>
                      <a:pt x="38" y="65"/>
                      <a:pt x="36" y="63"/>
                      <a:pt x="36" y="63"/>
                    </a:cubicBezTo>
                    <a:cubicBezTo>
                      <a:pt x="36" y="64"/>
                      <a:pt x="36" y="67"/>
                      <a:pt x="37" y="67"/>
                    </a:cubicBezTo>
                    <a:cubicBezTo>
                      <a:pt x="35" y="67"/>
                      <a:pt x="36" y="74"/>
                      <a:pt x="36" y="76"/>
                    </a:cubicBezTo>
                    <a:cubicBezTo>
                      <a:pt x="36" y="76"/>
                      <a:pt x="36" y="76"/>
                      <a:pt x="36" y="76"/>
                    </a:cubicBezTo>
                    <a:cubicBezTo>
                      <a:pt x="36" y="77"/>
                      <a:pt x="37" y="83"/>
                      <a:pt x="39" y="83"/>
                    </a:cubicBezTo>
                    <a:cubicBezTo>
                      <a:pt x="38" y="83"/>
                      <a:pt x="42" y="88"/>
                      <a:pt x="43" y="89"/>
                    </a:cubicBezTo>
                    <a:cubicBezTo>
                      <a:pt x="44" y="90"/>
                      <a:pt x="46" y="91"/>
                      <a:pt x="47" y="92"/>
                    </a:cubicBezTo>
                    <a:cubicBezTo>
                      <a:pt x="48" y="94"/>
                      <a:pt x="48" y="96"/>
                      <a:pt x="50" y="98"/>
                    </a:cubicBezTo>
                    <a:cubicBezTo>
                      <a:pt x="50" y="99"/>
                      <a:pt x="53" y="101"/>
                      <a:pt x="52" y="103"/>
                    </a:cubicBezTo>
                    <a:cubicBezTo>
                      <a:pt x="52" y="103"/>
                      <a:pt x="52" y="103"/>
                      <a:pt x="52" y="103"/>
                    </a:cubicBezTo>
                    <a:cubicBezTo>
                      <a:pt x="52" y="105"/>
                      <a:pt x="55" y="105"/>
                      <a:pt x="56" y="106"/>
                    </a:cubicBezTo>
                    <a:cubicBezTo>
                      <a:pt x="56" y="107"/>
                      <a:pt x="56" y="110"/>
                      <a:pt x="57" y="109"/>
                    </a:cubicBezTo>
                    <a:cubicBezTo>
                      <a:pt x="57" y="106"/>
                      <a:pt x="56" y="104"/>
                      <a:pt x="54" y="102"/>
                    </a:cubicBezTo>
                    <a:cubicBezTo>
                      <a:pt x="53" y="100"/>
                      <a:pt x="53" y="99"/>
                      <a:pt x="52" y="98"/>
                    </a:cubicBezTo>
                    <a:cubicBezTo>
                      <a:pt x="52" y="97"/>
                      <a:pt x="51" y="96"/>
                      <a:pt x="51" y="95"/>
                    </a:cubicBezTo>
                    <a:cubicBezTo>
                      <a:pt x="51" y="95"/>
                      <a:pt x="54" y="96"/>
                      <a:pt x="54" y="96"/>
                    </a:cubicBezTo>
                    <a:cubicBezTo>
                      <a:pt x="53" y="98"/>
                      <a:pt x="58" y="103"/>
                      <a:pt x="59" y="104"/>
                    </a:cubicBezTo>
                    <a:cubicBezTo>
                      <a:pt x="59" y="105"/>
                      <a:pt x="62" y="108"/>
                      <a:pt x="61" y="108"/>
                    </a:cubicBezTo>
                    <a:cubicBezTo>
                      <a:pt x="62" y="108"/>
                      <a:pt x="64" y="111"/>
                      <a:pt x="65" y="112"/>
                    </a:cubicBezTo>
                    <a:cubicBezTo>
                      <a:pt x="66" y="114"/>
                      <a:pt x="66" y="116"/>
                      <a:pt x="67" y="118"/>
                    </a:cubicBezTo>
                    <a:cubicBezTo>
                      <a:pt x="67" y="120"/>
                      <a:pt x="71" y="121"/>
                      <a:pt x="73" y="122"/>
                    </a:cubicBezTo>
                    <a:cubicBezTo>
                      <a:pt x="74" y="123"/>
                      <a:pt x="76" y="124"/>
                      <a:pt x="78" y="125"/>
                    </a:cubicBezTo>
                    <a:cubicBezTo>
                      <a:pt x="80" y="126"/>
                      <a:pt x="81" y="125"/>
                      <a:pt x="83" y="125"/>
                    </a:cubicBezTo>
                    <a:cubicBezTo>
                      <a:pt x="86" y="124"/>
                      <a:pt x="86" y="128"/>
                      <a:pt x="89" y="129"/>
                    </a:cubicBezTo>
                    <a:cubicBezTo>
                      <a:pt x="90" y="130"/>
                      <a:pt x="94" y="131"/>
                      <a:pt x="95" y="130"/>
                    </a:cubicBezTo>
                    <a:cubicBezTo>
                      <a:pt x="95" y="131"/>
                      <a:pt x="98" y="136"/>
                      <a:pt x="98" y="136"/>
                    </a:cubicBezTo>
                    <a:cubicBezTo>
                      <a:pt x="99" y="137"/>
                      <a:pt x="101" y="138"/>
                      <a:pt x="103" y="140"/>
                    </a:cubicBezTo>
                    <a:cubicBezTo>
                      <a:pt x="103" y="139"/>
                      <a:pt x="103" y="139"/>
                      <a:pt x="103" y="138"/>
                    </a:cubicBezTo>
                    <a:cubicBezTo>
                      <a:pt x="103" y="140"/>
                      <a:pt x="105" y="142"/>
                      <a:pt x="106" y="142"/>
                    </a:cubicBezTo>
                    <a:cubicBezTo>
                      <a:pt x="108" y="142"/>
                      <a:pt x="108" y="139"/>
                      <a:pt x="108" y="138"/>
                    </a:cubicBezTo>
                    <a:cubicBezTo>
                      <a:pt x="106" y="139"/>
                      <a:pt x="104" y="138"/>
                      <a:pt x="102" y="136"/>
                    </a:cubicBezTo>
                    <a:cubicBezTo>
                      <a:pt x="102" y="135"/>
                      <a:pt x="100" y="132"/>
                      <a:pt x="102" y="132"/>
                    </a:cubicBezTo>
                    <a:cubicBezTo>
                      <a:pt x="104" y="132"/>
                      <a:pt x="102" y="130"/>
                      <a:pt x="102" y="129"/>
                    </a:cubicBezTo>
                    <a:cubicBezTo>
                      <a:pt x="102" y="127"/>
                      <a:pt x="100" y="126"/>
                      <a:pt x="99" y="124"/>
                    </a:cubicBezTo>
                    <a:cubicBezTo>
                      <a:pt x="99" y="126"/>
                      <a:pt x="96" y="125"/>
                      <a:pt x="96" y="124"/>
                    </a:cubicBezTo>
                    <a:cubicBezTo>
                      <a:pt x="96" y="125"/>
                      <a:pt x="95" y="125"/>
                      <a:pt x="95" y="126"/>
                    </a:cubicBezTo>
                    <a:cubicBezTo>
                      <a:pt x="95" y="126"/>
                      <a:pt x="94" y="126"/>
                      <a:pt x="93" y="126"/>
                    </a:cubicBezTo>
                    <a:cubicBezTo>
                      <a:pt x="94" y="124"/>
                      <a:pt x="94" y="122"/>
                      <a:pt x="94" y="121"/>
                    </a:cubicBezTo>
                    <a:cubicBezTo>
                      <a:pt x="95" y="119"/>
                      <a:pt x="99" y="114"/>
                      <a:pt x="94" y="115"/>
                    </a:cubicBezTo>
                    <a:cubicBezTo>
                      <a:pt x="92" y="115"/>
                      <a:pt x="91" y="115"/>
                      <a:pt x="90" y="117"/>
                    </a:cubicBezTo>
                    <a:cubicBezTo>
                      <a:pt x="90" y="119"/>
                      <a:pt x="90" y="120"/>
                      <a:pt x="88" y="121"/>
                    </a:cubicBezTo>
                    <a:cubicBezTo>
                      <a:pt x="87" y="121"/>
                      <a:pt x="84" y="121"/>
                      <a:pt x="83" y="120"/>
                    </a:cubicBezTo>
                    <a:cubicBezTo>
                      <a:pt x="80" y="119"/>
                      <a:pt x="79" y="115"/>
                      <a:pt x="79" y="112"/>
                    </a:cubicBezTo>
                    <a:cubicBezTo>
                      <a:pt x="79" y="109"/>
                      <a:pt x="80" y="106"/>
                      <a:pt x="79" y="103"/>
                    </a:cubicBezTo>
                    <a:cubicBezTo>
                      <a:pt x="79" y="102"/>
                      <a:pt x="80" y="101"/>
                      <a:pt x="81" y="101"/>
                    </a:cubicBezTo>
                    <a:cubicBezTo>
                      <a:pt x="82" y="100"/>
                      <a:pt x="83" y="101"/>
                      <a:pt x="83" y="100"/>
                    </a:cubicBezTo>
                    <a:cubicBezTo>
                      <a:pt x="82" y="99"/>
                      <a:pt x="82" y="99"/>
                      <a:pt x="82" y="99"/>
                    </a:cubicBezTo>
                    <a:cubicBezTo>
                      <a:pt x="84" y="100"/>
                      <a:pt x="87" y="98"/>
                      <a:pt x="89" y="99"/>
                    </a:cubicBezTo>
                    <a:cubicBezTo>
                      <a:pt x="90" y="100"/>
                      <a:pt x="91" y="100"/>
                      <a:pt x="91" y="99"/>
                    </a:cubicBezTo>
                    <a:cubicBezTo>
                      <a:pt x="92" y="98"/>
                      <a:pt x="91" y="97"/>
                      <a:pt x="91" y="96"/>
                    </a:cubicBezTo>
                    <a:cubicBezTo>
                      <a:pt x="91" y="98"/>
                      <a:pt x="93" y="98"/>
                      <a:pt x="95" y="97"/>
                    </a:cubicBezTo>
                    <a:cubicBezTo>
                      <a:pt x="95" y="98"/>
                      <a:pt x="97" y="97"/>
                      <a:pt x="98" y="98"/>
                    </a:cubicBezTo>
                    <a:cubicBezTo>
                      <a:pt x="100" y="99"/>
                      <a:pt x="100" y="100"/>
                      <a:pt x="102" y="99"/>
                    </a:cubicBezTo>
                    <a:cubicBezTo>
                      <a:pt x="103" y="100"/>
                      <a:pt x="103" y="100"/>
                      <a:pt x="103" y="101"/>
                    </a:cubicBezTo>
                    <a:cubicBezTo>
                      <a:pt x="103" y="103"/>
                      <a:pt x="104" y="106"/>
                      <a:pt x="105" y="107"/>
                    </a:cubicBezTo>
                    <a:cubicBezTo>
                      <a:pt x="108" y="108"/>
                      <a:pt x="107" y="104"/>
                      <a:pt x="107" y="103"/>
                    </a:cubicBezTo>
                    <a:cubicBezTo>
                      <a:pt x="107" y="99"/>
                      <a:pt x="107" y="99"/>
                      <a:pt x="107" y="99"/>
                    </a:cubicBezTo>
                    <a:cubicBezTo>
                      <a:pt x="103" y="98"/>
                      <a:pt x="104" y="95"/>
                      <a:pt x="107" y="93"/>
                    </a:cubicBezTo>
                    <a:cubicBezTo>
                      <a:pt x="107" y="92"/>
                      <a:pt x="110" y="91"/>
                      <a:pt x="111" y="90"/>
                    </a:cubicBezTo>
                    <a:cubicBezTo>
                      <a:pt x="112" y="90"/>
                      <a:pt x="113" y="88"/>
                      <a:pt x="113" y="86"/>
                    </a:cubicBezTo>
                    <a:cubicBezTo>
                      <a:pt x="113" y="86"/>
                      <a:pt x="114" y="86"/>
                      <a:pt x="114" y="85"/>
                    </a:cubicBezTo>
                    <a:cubicBezTo>
                      <a:pt x="114" y="85"/>
                      <a:pt x="112" y="84"/>
                      <a:pt x="112" y="84"/>
                    </a:cubicBezTo>
                    <a:cubicBezTo>
                      <a:pt x="113" y="83"/>
                      <a:pt x="113" y="83"/>
                      <a:pt x="112" y="82"/>
                    </a:cubicBezTo>
                    <a:cubicBezTo>
                      <a:pt x="113" y="81"/>
                      <a:pt x="113" y="80"/>
                      <a:pt x="114" y="80"/>
                    </a:cubicBezTo>
                    <a:cubicBezTo>
                      <a:pt x="115" y="81"/>
                      <a:pt x="118" y="79"/>
                      <a:pt x="117" y="78"/>
                    </a:cubicBezTo>
                    <a:cubicBezTo>
                      <a:pt x="118" y="76"/>
                      <a:pt x="121" y="77"/>
                      <a:pt x="121" y="75"/>
                    </a:cubicBezTo>
                    <a:cubicBezTo>
                      <a:pt x="123" y="76"/>
                      <a:pt x="122" y="74"/>
                      <a:pt x="123" y="72"/>
                    </a:cubicBezTo>
                    <a:cubicBezTo>
                      <a:pt x="124" y="71"/>
                      <a:pt x="125" y="71"/>
                      <a:pt x="126" y="71"/>
                    </a:cubicBezTo>
                    <a:cubicBezTo>
                      <a:pt x="126" y="71"/>
                      <a:pt x="129" y="69"/>
                      <a:pt x="128" y="69"/>
                    </a:cubicBezTo>
                    <a:cubicBezTo>
                      <a:pt x="130" y="69"/>
                      <a:pt x="134" y="67"/>
                      <a:pt x="131" y="65"/>
                    </a:cubicBezTo>
                    <a:cubicBezTo>
                      <a:pt x="132" y="64"/>
                      <a:pt x="130" y="64"/>
                      <a:pt x="129" y="63"/>
                    </a:cubicBezTo>
                    <a:cubicBezTo>
                      <a:pt x="130" y="63"/>
                      <a:pt x="131" y="64"/>
                      <a:pt x="132" y="63"/>
                    </a:cubicBezTo>
                    <a:cubicBezTo>
                      <a:pt x="133" y="62"/>
                      <a:pt x="132" y="61"/>
                      <a:pt x="131" y="61"/>
                    </a:cubicBezTo>
                    <a:cubicBezTo>
                      <a:pt x="129" y="61"/>
                      <a:pt x="127" y="62"/>
                      <a:pt x="126" y="63"/>
                    </a:cubicBezTo>
                    <a:cubicBezTo>
                      <a:pt x="125" y="63"/>
                      <a:pt x="124" y="65"/>
                      <a:pt x="123" y="65"/>
                    </a:cubicBezTo>
                    <a:close/>
                    <a:moveTo>
                      <a:pt x="148" y="145"/>
                    </a:moveTo>
                    <a:cubicBezTo>
                      <a:pt x="148" y="145"/>
                      <a:pt x="146" y="145"/>
                      <a:pt x="145" y="144"/>
                    </a:cubicBezTo>
                    <a:cubicBezTo>
                      <a:pt x="144" y="144"/>
                      <a:pt x="144" y="144"/>
                      <a:pt x="142" y="143"/>
                    </a:cubicBezTo>
                    <a:cubicBezTo>
                      <a:pt x="143" y="141"/>
                      <a:pt x="140" y="140"/>
                      <a:pt x="138" y="139"/>
                    </a:cubicBezTo>
                    <a:cubicBezTo>
                      <a:pt x="137" y="138"/>
                      <a:pt x="136" y="136"/>
                      <a:pt x="133" y="137"/>
                    </a:cubicBezTo>
                    <a:cubicBezTo>
                      <a:pt x="133" y="137"/>
                      <a:pt x="131" y="138"/>
                      <a:pt x="131" y="138"/>
                    </a:cubicBezTo>
                    <a:cubicBezTo>
                      <a:pt x="130" y="137"/>
                      <a:pt x="129" y="136"/>
                      <a:pt x="127" y="136"/>
                    </a:cubicBezTo>
                    <a:cubicBezTo>
                      <a:pt x="125" y="135"/>
                      <a:pt x="124" y="133"/>
                      <a:pt x="122" y="135"/>
                    </a:cubicBezTo>
                    <a:cubicBezTo>
                      <a:pt x="121" y="136"/>
                      <a:pt x="121" y="137"/>
                      <a:pt x="121" y="138"/>
                    </a:cubicBezTo>
                    <a:cubicBezTo>
                      <a:pt x="119" y="137"/>
                      <a:pt x="122" y="135"/>
                      <a:pt x="121" y="134"/>
                    </a:cubicBezTo>
                    <a:cubicBezTo>
                      <a:pt x="120" y="132"/>
                      <a:pt x="117" y="135"/>
                      <a:pt x="116" y="136"/>
                    </a:cubicBezTo>
                    <a:cubicBezTo>
                      <a:pt x="115" y="136"/>
                      <a:pt x="114" y="137"/>
                      <a:pt x="114" y="137"/>
                    </a:cubicBezTo>
                    <a:cubicBezTo>
                      <a:pt x="113" y="138"/>
                      <a:pt x="113" y="139"/>
                      <a:pt x="113" y="140"/>
                    </a:cubicBezTo>
                    <a:cubicBezTo>
                      <a:pt x="112" y="139"/>
                      <a:pt x="110" y="139"/>
                      <a:pt x="110" y="139"/>
                    </a:cubicBezTo>
                    <a:cubicBezTo>
                      <a:pt x="110" y="141"/>
                      <a:pt x="110" y="144"/>
                      <a:pt x="111" y="147"/>
                    </a:cubicBezTo>
                    <a:cubicBezTo>
                      <a:pt x="111" y="149"/>
                      <a:pt x="111" y="152"/>
                      <a:pt x="110" y="153"/>
                    </a:cubicBezTo>
                    <a:cubicBezTo>
                      <a:pt x="108" y="154"/>
                      <a:pt x="106" y="156"/>
                      <a:pt x="106" y="158"/>
                    </a:cubicBezTo>
                    <a:cubicBezTo>
                      <a:pt x="106" y="159"/>
                      <a:pt x="106" y="161"/>
                      <a:pt x="108" y="161"/>
                    </a:cubicBezTo>
                    <a:cubicBezTo>
                      <a:pt x="108" y="163"/>
                      <a:pt x="106" y="164"/>
                      <a:pt x="106" y="166"/>
                    </a:cubicBezTo>
                    <a:cubicBezTo>
                      <a:pt x="106" y="166"/>
                      <a:pt x="106" y="167"/>
                      <a:pt x="106" y="168"/>
                    </a:cubicBezTo>
                    <a:cubicBezTo>
                      <a:pt x="123" y="165"/>
                      <a:pt x="137" y="157"/>
                      <a:pt x="148" y="145"/>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8" name="Freeform 343">
                <a:extLst>
                  <a:ext uri="{FF2B5EF4-FFF2-40B4-BE49-F238E27FC236}">
                    <a16:creationId xmlns:a16="http://schemas.microsoft.com/office/drawing/2014/main" id="{0E57FB76-2697-4C64-B7A6-0C5FE5FC6971}"/>
                  </a:ext>
                </a:extLst>
              </p:cNvPr>
              <p:cNvSpPr>
                <a:spLocks noEditPoints="1"/>
              </p:cNvSpPr>
              <p:nvPr/>
            </p:nvSpPr>
            <p:spPr bwMode="auto">
              <a:xfrm>
                <a:off x="9128370" y="8732243"/>
                <a:ext cx="281376" cy="328324"/>
              </a:xfrm>
              <a:custGeom>
                <a:avLst/>
                <a:gdLst>
                  <a:gd name="T0" fmla="*/ 111 w 111"/>
                  <a:gd name="T1" fmla="*/ 46 h 130"/>
                  <a:gd name="T2" fmla="*/ 111 w 111"/>
                  <a:gd name="T3" fmla="*/ 123 h 130"/>
                  <a:gd name="T4" fmla="*/ 104 w 111"/>
                  <a:gd name="T5" fmla="*/ 130 h 130"/>
                  <a:gd name="T6" fmla="*/ 7 w 111"/>
                  <a:gd name="T7" fmla="*/ 130 h 130"/>
                  <a:gd name="T8" fmla="*/ 0 w 111"/>
                  <a:gd name="T9" fmla="*/ 123 h 130"/>
                  <a:gd name="T10" fmla="*/ 0 w 111"/>
                  <a:gd name="T11" fmla="*/ 7 h 130"/>
                  <a:gd name="T12" fmla="*/ 7 w 111"/>
                  <a:gd name="T13" fmla="*/ 0 h 130"/>
                  <a:gd name="T14" fmla="*/ 65 w 111"/>
                  <a:gd name="T15" fmla="*/ 0 h 130"/>
                  <a:gd name="T16" fmla="*/ 65 w 111"/>
                  <a:gd name="T17" fmla="*/ 39 h 130"/>
                  <a:gd name="T18" fmla="*/ 72 w 111"/>
                  <a:gd name="T19" fmla="*/ 46 h 130"/>
                  <a:gd name="T20" fmla="*/ 111 w 111"/>
                  <a:gd name="T21" fmla="*/ 46 h 130"/>
                  <a:gd name="T22" fmla="*/ 83 w 111"/>
                  <a:gd name="T23" fmla="*/ 58 h 130"/>
                  <a:gd name="T24" fmla="*/ 81 w 111"/>
                  <a:gd name="T25" fmla="*/ 56 h 130"/>
                  <a:gd name="T26" fmla="*/ 30 w 111"/>
                  <a:gd name="T27" fmla="*/ 56 h 130"/>
                  <a:gd name="T28" fmla="*/ 28 w 111"/>
                  <a:gd name="T29" fmla="*/ 58 h 130"/>
                  <a:gd name="T30" fmla="*/ 28 w 111"/>
                  <a:gd name="T31" fmla="*/ 63 h 130"/>
                  <a:gd name="T32" fmla="*/ 30 w 111"/>
                  <a:gd name="T33" fmla="*/ 65 h 130"/>
                  <a:gd name="T34" fmla="*/ 81 w 111"/>
                  <a:gd name="T35" fmla="*/ 65 h 130"/>
                  <a:gd name="T36" fmla="*/ 83 w 111"/>
                  <a:gd name="T37" fmla="*/ 63 h 130"/>
                  <a:gd name="T38" fmla="*/ 83 w 111"/>
                  <a:gd name="T39" fmla="*/ 58 h 130"/>
                  <a:gd name="T40" fmla="*/ 83 w 111"/>
                  <a:gd name="T41" fmla="*/ 77 h 130"/>
                  <a:gd name="T42" fmla="*/ 81 w 111"/>
                  <a:gd name="T43" fmla="*/ 74 h 130"/>
                  <a:gd name="T44" fmla="*/ 30 w 111"/>
                  <a:gd name="T45" fmla="*/ 74 h 130"/>
                  <a:gd name="T46" fmla="*/ 28 w 111"/>
                  <a:gd name="T47" fmla="*/ 77 h 130"/>
                  <a:gd name="T48" fmla="*/ 28 w 111"/>
                  <a:gd name="T49" fmla="*/ 81 h 130"/>
                  <a:gd name="T50" fmla="*/ 30 w 111"/>
                  <a:gd name="T51" fmla="*/ 84 h 130"/>
                  <a:gd name="T52" fmla="*/ 81 w 111"/>
                  <a:gd name="T53" fmla="*/ 84 h 130"/>
                  <a:gd name="T54" fmla="*/ 83 w 111"/>
                  <a:gd name="T55" fmla="*/ 81 h 130"/>
                  <a:gd name="T56" fmla="*/ 83 w 111"/>
                  <a:gd name="T57" fmla="*/ 77 h 130"/>
                  <a:gd name="T58" fmla="*/ 83 w 111"/>
                  <a:gd name="T59" fmla="*/ 95 h 130"/>
                  <a:gd name="T60" fmla="*/ 81 w 111"/>
                  <a:gd name="T61" fmla="*/ 93 h 130"/>
                  <a:gd name="T62" fmla="*/ 30 w 111"/>
                  <a:gd name="T63" fmla="*/ 93 h 130"/>
                  <a:gd name="T64" fmla="*/ 28 w 111"/>
                  <a:gd name="T65" fmla="*/ 95 h 130"/>
                  <a:gd name="T66" fmla="*/ 28 w 111"/>
                  <a:gd name="T67" fmla="*/ 100 h 130"/>
                  <a:gd name="T68" fmla="*/ 30 w 111"/>
                  <a:gd name="T69" fmla="*/ 102 h 130"/>
                  <a:gd name="T70" fmla="*/ 81 w 111"/>
                  <a:gd name="T71" fmla="*/ 102 h 130"/>
                  <a:gd name="T72" fmla="*/ 83 w 111"/>
                  <a:gd name="T73" fmla="*/ 100 h 130"/>
                  <a:gd name="T74" fmla="*/ 83 w 111"/>
                  <a:gd name="T75" fmla="*/ 95 h 130"/>
                  <a:gd name="T76" fmla="*/ 108 w 111"/>
                  <a:gd name="T77" fmla="*/ 37 h 130"/>
                  <a:gd name="T78" fmla="*/ 74 w 111"/>
                  <a:gd name="T79" fmla="*/ 37 h 130"/>
                  <a:gd name="T80" fmla="*/ 74 w 111"/>
                  <a:gd name="T81" fmla="*/ 3 h 130"/>
                  <a:gd name="T82" fmla="*/ 77 w 111"/>
                  <a:gd name="T83" fmla="*/ 5 h 130"/>
                  <a:gd name="T84" fmla="*/ 106 w 111"/>
                  <a:gd name="T85" fmla="*/ 34 h 130"/>
                  <a:gd name="T86" fmla="*/ 108 w 111"/>
                  <a:gd name="T87" fmla="*/ 3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1" h="130">
                    <a:moveTo>
                      <a:pt x="111" y="46"/>
                    </a:moveTo>
                    <a:cubicBezTo>
                      <a:pt x="111" y="123"/>
                      <a:pt x="111" y="123"/>
                      <a:pt x="111" y="123"/>
                    </a:cubicBezTo>
                    <a:cubicBezTo>
                      <a:pt x="111" y="127"/>
                      <a:pt x="108" y="130"/>
                      <a:pt x="104" y="130"/>
                    </a:cubicBezTo>
                    <a:cubicBezTo>
                      <a:pt x="7" y="130"/>
                      <a:pt x="7" y="130"/>
                      <a:pt x="7" y="130"/>
                    </a:cubicBezTo>
                    <a:cubicBezTo>
                      <a:pt x="3" y="130"/>
                      <a:pt x="0" y="127"/>
                      <a:pt x="0" y="123"/>
                    </a:cubicBezTo>
                    <a:cubicBezTo>
                      <a:pt x="0" y="7"/>
                      <a:pt x="0" y="7"/>
                      <a:pt x="0" y="7"/>
                    </a:cubicBezTo>
                    <a:cubicBezTo>
                      <a:pt x="0" y="3"/>
                      <a:pt x="3" y="0"/>
                      <a:pt x="7" y="0"/>
                    </a:cubicBezTo>
                    <a:cubicBezTo>
                      <a:pt x="65" y="0"/>
                      <a:pt x="65" y="0"/>
                      <a:pt x="65" y="0"/>
                    </a:cubicBezTo>
                    <a:cubicBezTo>
                      <a:pt x="65" y="39"/>
                      <a:pt x="65" y="39"/>
                      <a:pt x="65" y="39"/>
                    </a:cubicBezTo>
                    <a:cubicBezTo>
                      <a:pt x="65" y="43"/>
                      <a:pt x="68" y="46"/>
                      <a:pt x="72" y="46"/>
                    </a:cubicBezTo>
                    <a:lnTo>
                      <a:pt x="111" y="46"/>
                    </a:lnTo>
                    <a:close/>
                    <a:moveTo>
                      <a:pt x="83" y="58"/>
                    </a:moveTo>
                    <a:cubicBezTo>
                      <a:pt x="83" y="57"/>
                      <a:pt x="82" y="56"/>
                      <a:pt x="81" y="56"/>
                    </a:cubicBezTo>
                    <a:cubicBezTo>
                      <a:pt x="30" y="56"/>
                      <a:pt x="30" y="56"/>
                      <a:pt x="30" y="56"/>
                    </a:cubicBezTo>
                    <a:cubicBezTo>
                      <a:pt x="29" y="56"/>
                      <a:pt x="28" y="57"/>
                      <a:pt x="28" y="58"/>
                    </a:cubicBezTo>
                    <a:cubicBezTo>
                      <a:pt x="28" y="63"/>
                      <a:pt x="28" y="63"/>
                      <a:pt x="28" y="63"/>
                    </a:cubicBezTo>
                    <a:cubicBezTo>
                      <a:pt x="28" y="64"/>
                      <a:pt x="29" y="65"/>
                      <a:pt x="30" y="65"/>
                    </a:cubicBezTo>
                    <a:cubicBezTo>
                      <a:pt x="81" y="65"/>
                      <a:pt x="81" y="65"/>
                      <a:pt x="81" y="65"/>
                    </a:cubicBezTo>
                    <a:cubicBezTo>
                      <a:pt x="82" y="65"/>
                      <a:pt x="83" y="64"/>
                      <a:pt x="83" y="63"/>
                    </a:cubicBezTo>
                    <a:lnTo>
                      <a:pt x="83" y="58"/>
                    </a:lnTo>
                    <a:close/>
                    <a:moveTo>
                      <a:pt x="83" y="77"/>
                    </a:moveTo>
                    <a:cubicBezTo>
                      <a:pt x="83" y="75"/>
                      <a:pt x="82" y="74"/>
                      <a:pt x="81" y="74"/>
                    </a:cubicBezTo>
                    <a:cubicBezTo>
                      <a:pt x="30" y="74"/>
                      <a:pt x="30" y="74"/>
                      <a:pt x="30" y="74"/>
                    </a:cubicBezTo>
                    <a:cubicBezTo>
                      <a:pt x="29" y="74"/>
                      <a:pt x="28" y="75"/>
                      <a:pt x="28" y="77"/>
                    </a:cubicBezTo>
                    <a:cubicBezTo>
                      <a:pt x="28" y="81"/>
                      <a:pt x="28" y="81"/>
                      <a:pt x="28" y="81"/>
                    </a:cubicBezTo>
                    <a:cubicBezTo>
                      <a:pt x="28" y="83"/>
                      <a:pt x="29" y="84"/>
                      <a:pt x="30" y="84"/>
                    </a:cubicBezTo>
                    <a:cubicBezTo>
                      <a:pt x="81" y="84"/>
                      <a:pt x="81" y="84"/>
                      <a:pt x="81" y="84"/>
                    </a:cubicBezTo>
                    <a:cubicBezTo>
                      <a:pt x="82" y="84"/>
                      <a:pt x="83" y="83"/>
                      <a:pt x="83" y="81"/>
                    </a:cubicBezTo>
                    <a:lnTo>
                      <a:pt x="83" y="77"/>
                    </a:lnTo>
                    <a:close/>
                    <a:moveTo>
                      <a:pt x="83" y="95"/>
                    </a:moveTo>
                    <a:cubicBezTo>
                      <a:pt x="83" y="94"/>
                      <a:pt x="82" y="93"/>
                      <a:pt x="81" y="93"/>
                    </a:cubicBezTo>
                    <a:cubicBezTo>
                      <a:pt x="30" y="93"/>
                      <a:pt x="30" y="93"/>
                      <a:pt x="30" y="93"/>
                    </a:cubicBezTo>
                    <a:cubicBezTo>
                      <a:pt x="29" y="93"/>
                      <a:pt x="28" y="94"/>
                      <a:pt x="28" y="95"/>
                    </a:cubicBezTo>
                    <a:cubicBezTo>
                      <a:pt x="28" y="100"/>
                      <a:pt x="28" y="100"/>
                      <a:pt x="28" y="100"/>
                    </a:cubicBezTo>
                    <a:cubicBezTo>
                      <a:pt x="28" y="101"/>
                      <a:pt x="29" y="102"/>
                      <a:pt x="30" y="102"/>
                    </a:cubicBezTo>
                    <a:cubicBezTo>
                      <a:pt x="81" y="102"/>
                      <a:pt x="81" y="102"/>
                      <a:pt x="81" y="102"/>
                    </a:cubicBezTo>
                    <a:cubicBezTo>
                      <a:pt x="82" y="102"/>
                      <a:pt x="83" y="101"/>
                      <a:pt x="83" y="100"/>
                    </a:cubicBezTo>
                    <a:lnTo>
                      <a:pt x="83" y="95"/>
                    </a:lnTo>
                    <a:close/>
                    <a:moveTo>
                      <a:pt x="108" y="37"/>
                    </a:moveTo>
                    <a:cubicBezTo>
                      <a:pt x="74" y="37"/>
                      <a:pt x="74" y="37"/>
                      <a:pt x="74" y="37"/>
                    </a:cubicBezTo>
                    <a:cubicBezTo>
                      <a:pt x="74" y="3"/>
                      <a:pt x="74" y="3"/>
                      <a:pt x="74" y="3"/>
                    </a:cubicBezTo>
                    <a:cubicBezTo>
                      <a:pt x="75" y="3"/>
                      <a:pt x="76" y="4"/>
                      <a:pt x="77" y="5"/>
                    </a:cubicBezTo>
                    <a:cubicBezTo>
                      <a:pt x="106" y="34"/>
                      <a:pt x="106" y="34"/>
                      <a:pt x="106" y="34"/>
                    </a:cubicBezTo>
                    <a:cubicBezTo>
                      <a:pt x="107" y="35"/>
                      <a:pt x="108" y="36"/>
                      <a:pt x="108" y="37"/>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3" name="Freeform 86">
                <a:extLst>
                  <a:ext uri="{FF2B5EF4-FFF2-40B4-BE49-F238E27FC236}">
                    <a16:creationId xmlns:a16="http://schemas.microsoft.com/office/drawing/2014/main" id="{09031849-E945-40FD-816C-43D3F2493A01}"/>
                  </a:ext>
                </a:extLst>
              </p:cNvPr>
              <p:cNvSpPr>
                <a:spLocks noEditPoints="1"/>
              </p:cNvSpPr>
              <p:nvPr/>
            </p:nvSpPr>
            <p:spPr bwMode="auto">
              <a:xfrm>
                <a:off x="9063933" y="15279860"/>
                <a:ext cx="410250" cy="407207"/>
              </a:xfrm>
              <a:custGeom>
                <a:avLst/>
                <a:gdLst>
                  <a:gd name="T0" fmla="*/ 141 w 162"/>
                  <a:gd name="T1" fmla="*/ 162 h 162"/>
                  <a:gd name="T2" fmla="*/ 20 w 162"/>
                  <a:gd name="T3" fmla="*/ 162 h 162"/>
                  <a:gd name="T4" fmla="*/ 7 w 162"/>
                  <a:gd name="T5" fmla="*/ 139 h 162"/>
                  <a:gd name="T6" fmla="*/ 60 w 162"/>
                  <a:gd name="T7" fmla="*/ 55 h 162"/>
                  <a:gd name="T8" fmla="*/ 60 w 162"/>
                  <a:gd name="T9" fmla="*/ 13 h 162"/>
                  <a:gd name="T10" fmla="*/ 54 w 162"/>
                  <a:gd name="T11" fmla="*/ 13 h 162"/>
                  <a:gd name="T12" fmla="*/ 47 w 162"/>
                  <a:gd name="T13" fmla="*/ 7 h 162"/>
                  <a:gd name="T14" fmla="*/ 54 w 162"/>
                  <a:gd name="T15" fmla="*/ 0 h 162"/>
                  <a:gd name="T16" fmla="*/ 108 w 162"/>
                  <a:gd name="T17" fmla="*/ 0 h 162"/>
                  <a:gd name="T18" fmla="*/ 114 w 162"/>
                  <a:gd name="T19" fmla="*/ 7 h 162"/>
                  <a:gd name="T20" fmla="*/ 108 w 162"/>
                  <a:gd name="T21" fmla="*/ 13 h 162"/>
                  <a:gd name="T22" fmla="*/ 101 w 162"/>
                  <a:gd name="T23" fmla="*/ 13 h 162"/>
                  <a:gd name="T24" fmla="*/ 101 w 162"/>
                  <a:gd name="T25" fmla="*/ 55 h 162"/>
                  <a:gd name="T26" fmla="*/ 154 w 162"/>
                  <a:gd name="T27" fmla="*/ 139 h 162"/>
                  <a:gd name="T28" fmla="*/ 141 w 162"/>
                  <a:gd name="T29" fmla="*/ 162 h 162"/>
                  <a:gd name="T30" fmla="*/ 43 w 162"/>
                  <a:gd name="T31" fmla="*/ 108 h 162"/>
                  <a:gd name="T32" fmla="*/ 118 w 162"/>
                  <a:gd name="T33" fmla="*/ 108 h 162"/>
                  <a:gd name="T34" fmla="*/ 90 w 162"/>
                  <a:gd name="T35" fmla="*/ 63 h 162"/>
                  <a:gd name="T36" fmla="*/ 87 w 162"/>
                  <a:gd name="T37" fmla="*/ 59 h 162"/>
                  <a:gd name="T38" fmla="*/ 87 w 162"/>
                  <a:gd name="T39" fmla="*/ 55 h 162"/>
                  <a:gd name="T40" fmla="*/ 87 w 162"/>
                  <a:gd name="T41" fmla="*/ 13 h 162"/>
                  <a:gd name="T42" fmla="*/ 74 w 162"/>
                  <a:gd name="T43" fmla="*/ 13 h 162"/>
                  <a:gd name="T44" fmla="*/ 74 w 162"/>
                  <a:gd name="T45" fmla="*/ 55 h 162"/>
                  <a:gd name="T46" fmla="*/ 74 w 162"/>
                  <a:gd name="T47" fmla="*/ 59 h 162"/>
                  <a:gd name="T48" fmla="*/ 72 w 162"/>
                  <a:gd name="T49" fmla="*/ 63 h 162"/>
                  <a:gd name="T50" fmla="*/ 43 w 162"/>
                  <a:gd name="T51" fmla="*/ 10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2" h="162">
                    <a:moveTo>
                      <a:pt x="141" y="162"/>
                    </a:moveTo>
                    <a:cubicBezTo>
                      <a:pt x="20" y="162"/>
                      <a:pt x="20" y="162"/>
                      <a:pt x="20" y="162"/>
                    </a:cubicBezTo>
                    <a:cubicBezTo>
                      <a:pt x="5" y="162"/>
                      <a:pt x="0" y="151"/>
                      <a:pt x="7" y="139"/>
                    </a:cubicBezTo>
                    <a:cubicBezTo>
                      <a:pt x="60" y="55"/>
                      <a:pt x="60" y="55"/>
                      <a:pt x="60" y="55"/>
                    </a:cubicBezTo>
                    <a:cubicBezTo>
                      <a:pt x="60" y="13"/>
                      <a:pt x="60" y="13"/>
                      <a:pt x="60" y="13"/>
                    </a:cubicBezTo>
                    <a:cubicBezTo>
                      <a:pt x="54" y="13"/>
                      <a:pt x="54" y="13"/>
                      <a:pt x="54" y="13"/>
                    </a:cubicBezTo>
                    <a:cubicBezTo>
                      <a:pt x="50" y="13"/>
                      <a:pt x="47" y="10"/>
                      <a:pt x="47" y="7"/>
                    </a:cubicBezTo>
                    <a:cubicBezTo>
                      <a:pt x="47" y="3"/>
                      <a:pt x="50" y="0"/>
                      <a:pt x="54" y="0"/>
                    </a:cubicBezTo>
                    <a:cubicBezTo>
                      <a:pt x="108" y="0"/>
                      <a:pt x="108" y="0"/>
                      <a:pt x="108" y="0"/>
                    </a:cubicBezTo>
                    <a:cubicBezTo>
                      <a:pt x="111" y="0"/>
                      <a:pt x="114" y="3"/>
                      <a:pt x="114" y="7"/>
                    </a:cubicBezTo>
                    <a:cubicBezTo>
                      <a:pt x="114" y="10"/>
                      <a:pt x="111" y="13"/>
                      <a:pt x="108" y="13"/>
                    </a:cubicBezTo>
                    <a:cubicBezTo>
                      <a:pt x="101" y="13"/>
                      <a:pt x="101" y="13"/>
                      <a:pt x="101" y="13"/>
                    </a:cubicBezTo>
                    <a:cubicBezTo>
                      <a:pt x="101" y="55"/>
                      <a:pt x="101" y="55"/>
                      <a:pt x="101" y="55"/>
                    </a:cubicBezTo>
                    <a:cubicBezTo>
                      <a:pt x="154" y="139"/>
                      <a:pt x="154" y="139"/>
                      <a:pt x="154" y="139"/>
                    </a:cubicBezTo>
                    <a:cubicBezTo>
                      <a:pt x="162" y="151"/>
                      <a:pt x="156" y="162"/>
                      <a:pt x="141" y="162"/>
                    </a:cubicBezTo>
                    <a:close/>
                    <a:moveTo>
                      <a:pt x="43" y="108"/>
                    </a:moveTo>
                    <a:cubicBezTo>
                      <a:pt x="118" y="108"/>
                      <a:pt x="118" y="108"/>
                      <a:pt x="118" y="108"/>
                    </a:cubicBezTo>
                    <a:cubicBezTo>
                      <a:pt x="90" y="63"/>
                      <a:pt x="90" y="63"/>
                      <a:pt x="90" y="63"/>
                    </a:cubicBezTo>
                    <a:cubicBezTo>
                      <a:pt x="87" y="59"/>
                      <a:pt x="87" y="59"/>
                      <a:pt x="87" y="59"/>
                    </a:cubicBezTo>
                    <a:cubicBezTo>
                      <a:pt x="87" y="55"/>
                      <a:pt x="87" y="55"/>
                      <a:pt x="87" y="55"/>
                    </a:cubicBezTo>
                    <a:cubicBezTo>
                      <a:pt x="87" y="13"/>
                      <a:pt x="87" y="13"/>
                      <a:pt x="87" y="13"/>
                    </a:cubicBezTo>
                    <a:cubicBezTo>
                      <a:pt x="74" y="13"/>
                      <a:pt x="74" y="13"/>
                      <a:pt x="74" y="13"/>
                    </a:cubicBezTo>
                    <a:cubicBezTo>
                      <a:pt x="74" y="55"/>
                      <a:pt x="74" y="55"/>
                      <a:pt x="74" y="55"/>
                    </a:cubicBezTo>
                    <a:cubicBezTo>
                      <a:pt x="74" y="59"/>
                      <a:pt x="74" y="59"/>
                      <a:pt x="74" y="59"/>
                    </a:cubicBezTo>
                    <a:cubicBezTo>
                      <a:pt x="72" y="63"/>
                      <a:pt x="72" y="63"/>
                      <a:pt x="72" y="63"/>
                    </a:cubicBezTo>
                    <a:lnTo>
                      <a:pt x="43" y="108"/>
                    </a:lnTo>
                    <a:close/>
                  </a:path>
                </a:pathLst>
              </a:custGeom>
              <a:solidFill>
                <a:srgbClr val="50E6FF"/>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5" name="Freeform 90">
                <a:extLst>
                  <a:ext uri="{FF2B5EF4-FFF2-40B4-BE49-F238E27FC236}">
                    <a16:creationId xmlns:a16="http://schemas.microsoft.com/office/drawing/2014/main" id="{988C6FF8-1ABB-492E-807A-6D270F0A2E8F}"/>
                  </a:ext>
                </a:extLst>
              </p:cNvPr>
              <p:cNvSpPr>
                <a:spLocks noEditPoints="1"/>
              </p:cNvSpPr>
              <p:nvPr/>
            </p:nvSpPr>
            <p:spPr bwMode="auto">
              <a:xfrm>
                <a:off x="9104214" y="13612946"/>
                <a:ext cx="329689" cy="271435"/>
              </a:xfrm>
              <a:custGeom>
                <a:avLst/>
                <a:gdLst>
                  <a:gd name="T0" fmla="*/ 109 w 109"/>
                  <a:gd name="T1" fmla="*/ 78 h 90"/>
                  <a:gd name="T2" fmla="*/ 97 w 109"/>
                  <a:gd name="T3" fmla="*/ 90 h 90"/>
                  <a:gd name="T4" fmla="*/ 12 w 109"/>
                  <a:gd name="T5" fmla="*/ 90 h 90"/>
                  <a:gd name="T6" fmla="*/ 0 w 109"/>
                  <a:gd name="T7" fmla="*/ 78 h 90"/>
                  <a:gd name="T8" fmla="*/ 0 w 109"/>
                  <a:gd name="T9" fmla="*/ 56 h 90"/>
                  <a:gd name="T10" fmla="*/ 2 w 109"/>
                  <a:gd name="T11" fmla="*/ 51 h 90"/>
                  <a:gd name="T12" fmla="*/ 15 w 109"/>
                  <a:gd name="T13" fmla="*/ 8 h 90"/>
                  <a:gd name="T14" fmla="*/ 27 w 109"/>
                  <a:gd name="T15" fmla="*/ 0 h 90"/>
                  <a:gd name="T16" fmla="*/ 82 w 109"/>
                  <a:gd name="T17" fmla="*/ 0 h 90"/>
                  <a:gd name="T18" fmla="*/ 94 w 109"/>
                  <a:gd name="T19" fmla="*/ 8 h 90"/>
                  <a:gd name="T20" fmla="*/ 107 w 109"/>
                  <a:gd name="T21" fmla="*/ 51 h 90"/>
                  <a:gd name="T22" fmla="*/ 109 w 109"/>
                  <a:gd name="T23" fmla="*/ 56 h 90"/>
                  <a:gd name="T24" fmla="*/ 109 w 109"/>
                  <a:gd name="T25" fmla="*/ 78 h 90"/>
                  <a:gd name="T26" fmla="*/ 100 w 109"/>
                  <a:gd name="T27" fmla="*/ 56 h 90"/>
                  <a:gd name="T28" fmla="*/ 97 w 109"/>
                  <a:gd name="T29" fmla="*/ 54 h 90"/>
                  <a:gd name="T30" fmla="*/ 12 w 109"/>
                  <a:gd name="T31" fmla="*/ 54 h 90"/>
                  <a:gd name="T32" fmla="*/ 9 w 109"/>
                  <a:gd name="T33" fmla="*/ 56 h 90"/>
                  <a:gd name="T34" fmla="*/ 9 w 109"/>
                  <a:gd name="T35" fmla="*/ 78 h 90"/>
                  <a:gd name="T36" fmla="*/ 12 w 109"/>
                  <a:gd name="T37" fmla="*/ 81 h 90"/>
                  <a:gd name="T38" fmla="*/ 97 w 109"/>
                  <a:gd name="T39" fmla="*/ 81 h 90"/>
                  <a:gd name="T40" fmla="*/ 100 w 109"/>
                  <a:gd name="T41" fmla="*/ 78 h 90"/>
                  <a:gd name="T42" fmla="*/ 100 w 109"/>
                  <a:gd name="T43" fmla="*/ 56 h 90"/>
                  <a:gd name="T44" fmla="*/ 96 w 109"/>
                  <a:gd name="T45" fmla="*/ 45 h 90"/>
                  <a:gd name="T46" fmla="*/ 85 w 109"/>
                  <a:gd name="T47" fmla="*/ 11 h 90"/>
                  <a:gd name="T48" fmla="*/ 82 w 109"/>
                  <a:gd name="T49" fmla="*/ 9 h 90"/>
                  <a:gd name="T50" fmla="*/ 27 w 109"/>
                  <a:gd name="T51" fmla="*/ 9 h 90"/>
                  <a:gd name="T52" fmla="*/ 24 w 109"/>
                  <a:gd name="T53" fmla="*/ 11 h 90"/>
                  <a:gd name="T54" fmla="*/ 13 w 109"/>
                  <a:gd name="T55" fmla="*/ 45 h 90"/>
                  <a:gd name="T56" fmla="*/ 96 w 109"/>
                  <a:gd name="T57" fmla="*/ 45 h 90"/>
                  <a:gd name="T58" fmla="*/ 68 w 109"/>
                  <a:gd name="T59" fmla="*/ 73 h 90"/>
                  <a:gd name="T60" fmla="*/ 62 w 109"/>
                  <a:gd name="T61" fmla="*/ 67 h 90"/>
                  <a:gd name="T62" fmla="*/ 68 w 109"/>
                  <a:gd name="T63" fmla="*/ 62 h 90"/>
                  <a:gd name="T64" fmla="*/ 74 w 109"/>
                  <a:gd name="T65" fmla="*/ 67 h 90"/>
                  <a:gd name="T66" fmla="*/ 68 w 109"/>
                  <a:gd name="T67" fmla="*/ 73 h 90"/>
                  <a:gd name="T68" fmla="*/ 86 w 109"/>
                  <a:gd name="T69" fmla="*/ 73 h 90"/>
                  <a:gd name="T70" fmla="*/ 80 w 109"/>
                  <a:gd name="T71" fmla="*/ 67 h 90"/>
                  <a:gd name="T72" fmla="*/ 86 w 109"/>
                  <a:gd name="T73" fmla="*/ 62 h 90"/>
                  <a:gd name="T74" fmla="*/ 92 w 109"/>
                  <a:gd name="T75" fmla="*/ 67 h 90"/>
                  <a:gd name="T76" fmla="*/ 86 w 109"/>
                  <a:gd name="T77" fmla="*/ 73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9" h="90">
                    <a:moveTo>
                      <a:pt x="109" y="78"/>
                    </a:moveTo>
                    <a:cubicBezTo>
                      <a:pt x="109" y="85"/>
                      <a:pt x="104" y="90"/>
                      <a:pt x="97" y="90"/>
                    </a:cubicBezTo>
                    <a:cubicBezTo>
                      <a:pt x="12" y="90"/>
                      <a:pt x="12" y="90"/>
                      <a:pt x="12" y="90"/>
                    </a:cubicBezTo>
                    <a:cubicBezTo>
                      <a:pt x="6" y="90"/>
                      <a:pt x="0" y="85"/>
                      <a:pt x="0" y="78"/>
                    </a:cubicBezTo>
                    <a:cubicBezTo>
                      <a:pt x="0" y="56"/>
                      <a:pt x="0" y="56"/>
                      <a:pt x="0" y="56"/>
                    </a:cubicBezTo>
                    <a:cubicBezTo>
                      <a:pt x="0" y="54"/>
                      <a:pt x="1" y="52"/>
                      <a:pt x="2" y="51"/>
                    </a:cubicBezTo>
                    <a:cubicBezTo>
                      <a:pt x="15" y="8"/>
                      <a:pt x="15" y="8"/>
                      <a:pt x="15" y="8"/>
                    </a:cubicBezTo>
                    <a:cubicBezTo>
                      <a:pt x="17" y="3"/>
                      <a:pt x="22" y="0"/>
                      <a:pt x="27" y="0"/>
                    </a:cubicBezTo>
                    <a:cubicBezTo>
                      <a:pt x="82" y="0"/>
                      <a:pt x="82" y="0"/>
                      <a:pt x="82" y="0"/>
                    </a:cubicBezTo>
                    <a:cubicBezTo>
                      <a:pt x="87" y="0"/>
                      <a:pt x="92" y="3"/>
                      <a:pt x="94" y="8"/>
                    </a:cubicBezTo>
                    <a:cubicBezTo>
                      <a:pt x="107" y="51"/>
                      <a:pt x="107" y="51"/>
                      <a:pt x="107" y="51"/>
                    </a:cubicBezTo>
                    <a:cubicBezTo>
                      <a:pt x="108" y="52"/>
                      <a:pt x="109" y="54"/>
                      <a:pt x="109" y="56"/>
                    </a:cubicBezTo>
                    <a:lnTo>
                      <a:pt x="109" y="78"/>
                    </a:lnTo>
                    <a:close/>
                    <a:moveTo>
                      <a:pt x="100" y="56"/>
                    </a:moveTo>
                    <a:cubicBezTo>
                      <a:pt x="100" y="55"/>
                      <a:pt x="99" y="54"/>
                      <a:pt x="97" y="54"/>
                    </a:cubicBezTo>
                    <a:cubicBezTo>
                      <a:pt x="12" y="54"/>
                      <a:pt x="12" y="54"/>
                      <a:pt x="12" y="54"/>
                    </a:cubicBezTo>
                    <a:cubicBezTo>
                      <a:pt x="11" y="54"/>
                      <a:pt x="9" y="55"/>
                      <a:pt x="9" y="56"/>
                    </a:cubicBezTo>
                    <a:cubicBezTo>
                      <a:pt x="9" y="78"/>
                      <a:pt x="9" y="78"/>
                      <a:pt x="9" y="78"/>
                    </a:cubicBezTo>
                    <a:cubicBezTo>
                      <a:pt x="9" y="80"/>
                      <a:pt x="11" y="81"/>
                      <a:pt x="12" y="81"/>
                    </a:cubicBezTo>
                    <a:cubicBezTo>
                      <a:pt x="97" y="81"/>
                      <a:pt x="97" y="81"/>
                      <a:pt x="97" y="81"/>
                    </a:cubicBezTo>
                    <a:cubicBezTo>
                      <a:pt x="99" y="81"/>
                      <a:pt x="100" y="80"/>
                      <a:pt x="100" y="78"/>
                    </a:cubicBezTo>
                    <a:lnTo>
                      <a:pt x="100" y="56"/>
                    </a:lnTo>
                    <a:close/>
                    <a:moveTo>
                      <a:pt x="96" y="45"/>
                    </a:moveTo>
                    <a:cubicBezTo>
                      <a:pt x="85" y="11"/>
                      <a:pt x="85" y="11"/>
                      <a:pt x="85" y="11"/>
                    </a:cubicBezTo>
                    <a:cubicBezTo>
                      <a:pt x="85" y="9"/>
                      <a:pt x="83" y="9"/>
                      <a:pt x="82" y="9"/>
                    </a:cubicBezTo>
                    <a:cubicBezTo>
                      <a:pt x="27" y="9"/>
                      <a:pt x="27" y="9"/>
                      <a:pt x="27" y="9"/>
                    </a:cubicBezTo>
                    <a:cubicBezTo>
                      <a:pt x="26" y="9"/>
                      <a:pt x="24" y="9"/>
                      <a:pt x="24" y="11"/>
                    </a:cubicBezTo>
                    <a:cubicBezTo>
                      <a:pt x="13" y="45"/>
                      <a:pt x="13" y="45"/>
                      <a:pt x="13" y="45"/>
                    </a:cubicBezTo>
                    <a:lnTo>
                      <a:pt x="96" y="45"/>
                    </a:lnTo>
                    <a:close/>
                    <a:moveTo>
                      <a:pt x="68" y="73"/>
                    </a:moveTo>
                    <a:cubicBezTo>
                      <a:pt x="65" y="73"/>
                      <a:pt x="62" y="70"/>
                      <a:pt x="62" y="67"/>
                    </a:cubicBezTo>
                    <a:cubicBezTo>
                      <a:pt x="62" y="64"/>
                      <a:pt x="65" y="62"/>
                      <a:pt x="68" y="62"/>
                    </a:cubicBezTo>
                    <a:cubicBezTo>
                      <a:pt x="71" y="62"/>
                      <a:pt x="74" y="64"/>
                      <a:pt x="74" y="67"/>
                    </a:cubicBezTo>
                    <a:cubicBezTo>
                      <a:pt x="74" y="70"/>
                      <a:pt x="71" y="73"/>
                      <a:pt x="68" y="73"/>
                    </a:cubicBezTo>
                    <a:close/>
                    <a:moveTo>
                      <a:pt x="86" y="73"/>
                    </a:moveTo>
                    <a:cubicBezTo>
                      <a:pt x="83" y="73"/>
                      <a:pt x="80" y="70"/>
                      <a:pt x="80" y="67"/>
                    </a:cubicBezTo>
                    <a:cubicBezTo>
                      <a:pt x="80" y="64"/>
                      <a:pt x="83" y="62"/>
                      <a:pt x="86" y="62"/>
                    </a:cubicBezTo>
                    <a:cubicBezTo>
                      <a:pt x="89" y="62"/>
                      <a:pt x="92" y="64"/>
                      <a:pt x="92" y="67"/>
                    </a:cubicBezTo>
                    <a:cubicBezTo>
                      <a:pt x="92" y="70"/>
                      <a:pt x="89" y="73"/>
                      <a:pt x="86" y="73"/>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2" name="Freeform 110">
                <a:extLst>
                  <a:ext uri="{FF2B5EF4-FFF2-40B4-BE49-F238E27FC236}">
                    <a16:creationId xmlns:a16="http://schemas.microsoft.com/office/drawing/2014/main" id="{2C354631-DA10-4302-9936-272F1FD0C1C7}"/>
                  </a:ext>
                </a:extLst>
              </p:cNvPr>
              <p:cNvSpPr>
                <a:spLocks noEditPoints="1"/>
              </p:cNvSpPr>
              <p:nvPr/>
            </p:nvSpPr>
            <p:spPr bwMode="auto">
              <a:xfrm>
                <a:off x="9063933" y="11498138"/>
                <a:ext cx="410250" cy="409338"/>
              </a:xfrm>
              <a:custGeom>
                <a:avLst/>
                <a:gdLst>
                  <a:gd name="T0" fmla="*/ 154 w 162"/>
                  <a:gd name="T1" fmla="*/ 139 h 162"/>
                  <a:gd name="T2" fmla="*/ 139 w 162"/>
                  <a:gd name="T3" fmla="*/ 154 h 162"/>
                  <a:gd name="T4" fmla="*/ 119 w 162"/>
                  <a:gd name="T5" fmla="*/ 162 h 162"/>
                  <a:gd name="T6" fmla="*/ 99 w 162"/>
                  <a:gd name="T7" fmla="*/ 154 h 162"/>
                  <a:gd name="T8" fmla="*/ 79 w 162"/>
                  <a:gd name="T9" fmla="*/ 133 h 162"/>
                  <a:gd name="T10" fmla="*/ 70 w 162"/>
                  <a:gd name="T11" fmla="*/ 113 h 162"/>
                  <a:gd name="T12" fmla="*/ 79 w 162"/>
                  <a:gd name="T13" fmla="*/ 92 h 162"/>
                  <a:gd name="T14" fmla="*/ 70 w 162"/>
                  <a:gd name="T15" fmla="*/ 83 h 162"/>
                  <a:gd name="T16" fmla="*/ 50 w 162"/>
                  <a:gd name="T17" fmla="*/ 92 h 162"/>
                  <a:gd name="T18" fmla="*/ 29 w 162"/>
                  <a:gd name="T19" fmla="*/ 84 h 162"/>
                  <a:gd name="T20" fmla="*/ 9 w 162"/>
                  <a:gd name="T21" fmla="*/ 63 h 162"/>
                  <a:gd name="T22" fmla="*/ 0 w 162"/>
                  <a:gd name="T23" fmla="*/ 43 h 162"/>
                  <a:gd name="T24" fmla="*/ 9 w 162"/>
                  <a:gd name="T25" fmla="*/ 23 h 162"/>
                  <a:gd name="T26" fmla="*/ 23 w 162"/>
                  <a:gd name="T27" fmla="*/ 8 h 162"/>
                  <a:gd name="T28" fmla="*/ 44 w 162"/>
                  <a:gd name="T29" fmla="*/ 0 h 162"/>
                  <a:gd name="T30" fmla="*/ 64 w 162"/>
                  <a:gd name="T31" fmla="*/ 8 h 162"/>
                  <a:gd name="T32" fmla="*/ 84 w 162"/>
                  <a:gd name="T33" fmla="*/ 29 h 162"/>
                  <a:gd name="T34" fmla="*/ 93 w 162"/>
                  <a:gd name="T35" fmla="*/ 49 h 162"/>
                  <a:gd name="T36" fmla="*/ 84 w 162"/>
                  <a:gd name="T37" fmla="*/ 70 h 162"/>
                  <a:gd name="T38" fmla="*/ 93 w 162"/>
                  <a:gd name="T39" fmla="*/ 79 h 162"/>
                  <a:gd name="T40" fmla="*/ 113 w 162"/>
                  <a:gd name="T41" fmla="*/ 70 h 162"/>
                  <a:gd name="T42" fmla="*/ 133 w 162"/>
                  <a:gd name="T43" fmla="*/ 78 h 162"/>
                  <a:gd name="T44" fmla="*/ 154 w 162"/>
                  <a:gd name="T45" fmla="*/ 99 h 162"/>
                  <a:gd name="T46" fmla="*/ 162 w 162"/>
                  <a:gd name="T47" fmla="*/ 119 h 162"/>
                  <a:gd name="T48" fmla="*/ 154 w 162"/>
                  <a:gd name="T49" fmla="*/ 139 h 162"/>
                  <a:gd name="T50" fmla="*/ 71 w 162"/>
                  <a:gd name="T51" fmla="*/ 42 h 162"/>
                  <a:gd name="T52" fmla="*/ 50 w 162"/>
                  <a:gd name="T53" fmla="*/ 22 h 162"/>
                  <a:gd name="T54" fmla="*/ 44 w 162"/>
                  <a:gd name="T55" fmla="*/ 19 h 162"/>
                  <a:gd name="T56" fmla="*/ 37 w 162"/>
                  <a:gd name="T57" fmla="*/ 22 h 162"/>
                  <a:gd name="T58" fmla="*/ 22 w 162"/>
                  <a:gd name="T59" fmla="*/ 36 h 162"/>
                  <a:gd name="T60" fmla="*/ 20 w 162"/>
                  <a:gd name="T61" fmla="*/ 43 h 162"/>
                  <a:gd name="T62" fmla="*/ 22 w 162"/>
                  <a:gd name="T63" fmla="*/ 50 h 162"/>
                  <a:gd name="T64" fmla="*/ 43 w 162"/>
                  <a:gd name="T65" fmla="*/ 70 h 162"/>
                  <a:gd name="T66" fmla="*/ 50 w 162"/>
                  <a:gd name="T67" fmla="*/ 73 h 162"/>
                  <a:gd name="T68" fmla="*/ 57 w 162"/>
                  <a:gd name="T69" fmla="*/ 70 h 162"/>
                  <a:gd name="T70" fmla="*/ 50 w 162"/>
                  <a:gd name="T71" fmla="*/ 59 h 162"/>
                  <a:gd name="T72" fmla="*/ 59 w 162"/>
                  <a:gd name="T73" fmla="*/ 49 h 162"/>
                  <a:gd name="T74" fmla="*/ 70 w 162"/>
                  <a:gd name="T75" fmla="*/ 56 h 162"/>
                  <a:gd name="T76" fmla="*/ 74 w 162"/>
                  <a:gd name="T77" fmla="*/ 49 h 162"/>
                  <a:gd name="T78" fmla="*/ 71 w 162"/>
                  <a:gd name="T79" fmla="*/ 42 h 162"/>
                  <a:gd name="T80" fmla="*/ 141 w 162"/>
                  <a:gd name="T81" fmla="*/ 112 h 162"/>
                  <a:gd name="T82" fmla="*/ 120 w 162"/>
                  <a:gd name="T83" fmla="*/ 92 h 162"/>
                  <a:gd name="T84" fmla="*/ 113 w 162"/>
                  <a:gd name="T85" fmla="*/ 89 h 162"/>
                  <a:gd name="T86" fmla="*/ 106 w 162"/>
                  <a:gd name="T87" fmla="*/ 92 h 162"/>
                  <a:gd name="T88" fmla="*/ 113 w 162"/>
                  <a:gd name="T89" fmla="*/ 103 h 162"/>
                  <a:gd name="T90" fmla="*/ 104 w 162"/>
                  <a:gd name="T91" fmla="*/ 113 h 162"/>
                  <a:gd name="T92" fmla="*/ 93 w 162"/>
                  <a:gd name="T93" fmla="*/ 106 h 162"/>
                  <a:gd name="T94" fmla="*/ 89 w 162"/>
                  <a:gd name="T95" fmla="*/ 113 h 162"/>
                  <a:gd name="T96" fmla="*/ 92 w 162"/>
                  <a:gd name="T97" fmla="*/ 120 h 162"/>
                  <a:gd name="T98" fmla="*/ 112 w 162"/>
                  <a:gd name="T99" fmla="*/ 140 h 162"/>
                  <a:gd name="T100" fmla="*/ 119 w 162"/>
                  <a:gd name="T101" fmla="*/ 143 h 162"/>
                  <a:gd name="T102" fmla="*/ 126 w 162"/>
                  <a:gd name="T103" fmla="*/ 140 h 162"/>
                  <a:gd name="T104" fmla="*/ 141 w 162"/>
                  <a:gd name="T105" fmla="*/ 126 h 162"/>
                  <a:gd name="T106" fmla="*/ 143 w 162"/>
                  <a:gd name="T107" fmla="*/ 119 h 162"/>
                  <a:gd name="T108" fmla="*/ 141 w 162"/>
                  <a:gd name="T109" fmla="*/ 112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2" h="162">
                    <a:moveTo>
                      <a:pt x="154" y="139"/>
                    </a:moveTo>
                    <a:cubicBezTo>
                      <a:pt x="139" y="154"/>
                      <a:pt x="139" y="154"/>
                      <a:pt x="139" y="154"/>
                    </a:cubicBezTo>
                    <a:cubicBezTo>
                      <a:pt x="134" y="159"/>
                      <a:pt x="127" y="162"/>
                      <a:pt x="119" y="162"/>
                    </a:cubicBezTo>
                    <a:cubicBezTo>
                      <a:pt x="112" y="162"/>
                      <a:pt x="104" y="159"/>
                      <a:pt x="99" y="154"/>
                    </a:cubicBezTo>
                    <a:cubicBezTo>
                      <a:pt x="79" y="133"/>
                      <a:pt x="79" y="133"/>
                      <a:pt x="79" y="133"/>
                    </a:cubicBezTo>
                    <a:cubicBezTo>
                      <a:pt x="73" y="128"/>
                      <a:pt x="70" y="120"/>
                      <a:pt x="70" y="113"/>
                    </a:cubicBezTo>
                    <a:cubicBezTo>
                      <a:pt x="70" y="105"/>
                      <a:pt x="73" y="98"/>
                      <a:pt x="79" y="92"/>
                    </a:cubicBezTo>
                    <a:cubicBezTo>
                      <a:pt x="70" y="83"/>
                      <a:pt x="70" y="83"/>
                      <a:pt x="70" y="83"/>
                    </a:cubicBezTo>
                    <a:cubicBezTo>
                      <a:pt x="65" y="89"/>
                      <a:pt x="58" y="92"/>
                      <a:pt x="50" y="92"/>
                    </a:cubicBezTo>
                    <a:cubicBezTo>
                      <a:pt x="42" y="92"/>
                      <a:pt x="35" y="89"/>
                      <a:pt x="29" y="84"/>
                    </a:cubicBezTo>
                    <a:cubicBezTo>
                      <a:pt x="9" y="63"/>
                      <a:pt x="9" y="63"/>
                      <a:pt x="9" y="63"/>
                    </a:cubicBezTo>
                    <a:cubicBezTo>
                      <a:pt x="3" y="58"/>
                      <a:pt x="0" y="51"/>
                      <a:pt x="0" y="43"/>
                    </a:cubicBezTo>
                    <a:cubicBezTo>
                      <a:pt x="0" y="35"/>
                      <a:pt x="4" y="28"/>
                      <a:pt x="9" y="23"/>
                    </a:cubicBezTo>
                    <a:cubicBezTo>
                      <a:pt x="23" y="8"/>
                      <a:pt x="23" y="8"/>
                      <a:pt x="23" y="8"/>
                    </a:cubicBezTo>
                    <a:cubicBezTo>
                      <a:pt x="29" y="3"/>
                      <a:pt x="36" y="0"/>
                      <a:pt x="44" y="0"/>
                    </a:cubicBezTo>
                    <a:cubicBezTo>
                      <a:pt x="51" y="0"/>
                      <a:pt x="59" y="3"/>
                      <a:pt x="64" y="8"/>
                    </a:cubicBezTo>
                    <a:cubicBezTo>
                      <a:pt x="84" y="29"/>
                      <a:pt x="84" y="29"/>
                      <a:pt x="84" y="29"/>
                    </a:cubicBezTo>
                    <a:cubicBezTo>
                      <a:pt x="90" y="34"/>
                      <a:pt x="93" y="42"/>
                      <a:pt x="93" y="49"/>
                    </a:cubicBezTo>
                    <a:cubicBezTo>
                      <a:pt x="93" y="57"/>
                      <a:pt x="89" y="64"/>
                      <a:pt x="84" y="70"/>
                    </a:cubicBezTo>
                    <a:cubicBezTo>
                      <a:pt x="93" y="79"/>
                      <a:pt x="93" y="79"/>
                      <a:pt x="93" y="79"/>
                    </a:cubicBezTo>
                    <a:cubicBezTo>
                      <a:pt x="98" y="73"/>
                      <a:pt x="105" y="70"/>
                      <a:pt x="113" y="70"/>
                    </a:cubicBezTo>
                    <a:cubicBezTo>
                      <a:pt x="121" y="70"/>
                      <a:pt x="128" y="73"/>
                      <a:pt x="133" y="78"/>
                    </a:cubicBezTo>
                    <a:cubicBezTo>
                      <a:pt x="154" y="99"/>
                      <a:pt x="154" y="99"/>
                      <a:pt x="154" y="99"/>
                    </a:cubicBezTo>
                    <a:cubicBezTo>
                      <a:pt x="160" y="104"/>
                      <a:pt x="162" y="111"/>
                      <a:pt x="162" y="119"/>
                    </a:cubicBezTo>
                    <a:cubicBezTo>
                      <a:pt x="162" y="127"/>
                      <a:pt x="159" y="134"/>
                      <a:pt x="154" y="139"/>
                    </a:cubicBezTo>
                    <a:close/>
                    <a:moveTo>
                      <a:pt x="71" y="42"/>
                    </a:moveTo>
                    <a:cubicBezTo>
                      <a:pt x="50" y="22"/>
                      <a:pt x="50" y="22"/>
                      <a:pt x="50" y="22"/>
                    </a:cubicBezTo>
                    <a:cubicBezTo>
                      <a:pt x="49" y="20"/>
                      <a:pt x="46" y="19"/>
                      <a:pt x="44" y="19"/>
                    </a:cubicBezTo>
                    <a:cubicBezTo>
                      <a:pt x="41" y="19"/>
                      <a:pt x="39" y="20"/>
                      <a:pt x="37" y="22"/>
                    </a:cubicBezTo>
                    <a:cubicBezTo>
                      <a:pt x="22" y="36"/>
                      <a:pt x="22" y="36"/>
                      <a:pt x="22" y="36"/>
                    </a:cubicBezTo>
                    <a:cubicBezTo>
                      <a:pt x="20" y="38"/>
                      <a:pt x="20" y="40"/>
                      <a:pt x="20" y="43"/>
                    </a:cubicBezTo>
                    <a:cubicBezTo>
                      <a:pt x="20" y="45"/>
                      <a:pt x="20" y="48"/>
                      <a:pt x="22" y="50"/>
                    </a:cubicBezTo>
                    <a:cubicBezTo>
                      <a:pt x="43" y="70"/>
                      <a:pt x="43" y="70"/>
                      <a:pt x="43" y="70"/>
                    </a:cubicBezTo>
                    <a:cubicBezTo>
                      <a:pt x="45" y="72"/>
                      <a:pt x="47" y="73"/>
                      <a:pt x="50" y="73"/>
                    </a:cubicBezTo>
                    <a:cubicBezTo>
                      <a:pt x="53" y="73"/>
                      <a:pt x="55" y="72"/>
                      <a:pt x="57" y="70"/>
                    </a:cubicBezTo>
                    <a:cubicBezTo>
                      <a:pt x="54" y="67"/>
                      <a:pt x="50" y="64"/>
                      <a:pt x="50" y="59"/>
                    </a:cubicBezTo>
                    <a:cubicBezTo>
                      <a:pt x="50" y="53"/>
                      <a:pt x="54" y="49"/>
                      <a:pt x="59" y="49"/>
                    </a:cubicBezTo>
                    <a:cubicBezTo>
                      <a:pt x="64" y="49"/>
                      <a:pt x="67" y="53"/>
                      <a:pt x="70" y="56"/>
                    </a:cubicBezTo>
                    <a:cubicBezTo>
                      <a:pt x="72" y="54"/>
                      <a:pt x="74" y="52"/>
                      <a:pt x="74" y="49"/>
                    </a:cubicBezTo>
                    <a:cubicBezTo>
                      <a:pt x="74" y="47"/>
                      <a:pt x="73" y="44"/>
                      <a:pt x="71" y="42"/>
                    </a:cubicBezTo>
                    <a:close/>
                    <a:moveTo>
                      <a:pt x="141" y="112"/>
                    </a:moveTo>
                    <a:cubicBezTo>
                      <a:pt x="120" y="92"/>
                      <a:pt x="120" y="92"/>
                      <a:pt x="120" y="92"/>
                    </a:cubicBezTo>
                    <a:cubicBezTo>
                      <a:pt x="118" y="90"/>
                      <a:pt x="116" y="89"/>
                      <a:pt x="113" y="89"/>
                    </a:cubicBezTo>
                    <a:cubicBezTo>
                      <a:pt x="110" y="89"/>
                      <a:pt x="108" y="90"/>
                      <a:pt x="106" y="92"/>
                    </a:cubicBezTo>
                    <a:cubicBezTo>
                      <a:pt x="109" y="95"/>
                      <a:pt x="113" y="98"/>
                      <a:pt x="113" y="103"/>
                    </a:cubicBezTo>
                    <a:cubicBezTo>
                      <a:pt x="113" y="108"/>
                      <a:pt x="109" y="113"/>
                      <a:pt x="104" y="113"/>
                    </a:cubicBezTo>
                    <a:cubicBezTo>
                      <a:pt x="99" y="113"/>
                      <a:pt x="96" y="109"/>
                      <a:pt x="93" y="106"/>
                    </a:cubicBezTo>
                    <a:cubicBezTo>
                      <a:pt x="90" y="108"/>
                      <a:pt x="89" y="110"/>
                      <a:pt x="89" y="113"/>
                    </a:cubicBezTo>
                    <a:cubicBezTo>
                      <a:pt x="89" y="115"/>
                      <a:pt x="90" y="118"/>
                      <a:pt x="92" y="120"/>
                    </a:cubicBezTo>
                    <a:cubicBezTo>
                      <a:pt x="112" y="140"/>
                      <a:pt x="112" y="140"/>
                      <a:pt x="112" y="140"/>
                    </a:cubicBezTo>
                    <a:cubicBezTo>
                      <a:pt x="114" y="142"/>
                      <a:pt x="117" y="143"/>
                      <a:pt x="119" y="143"/>
                    </a:cubicBezTo>
                    <a:cubicBezTo>
                      <a:pt x="122" y="143"/>
                      <a:pt x="124" y="142"/>
                      <a:pt x="126" y="140"/>
                    </a:cubicBezTo>
                    <a:cubicBezTo>
                      <a:pt x="141" y="126"/>
                      <a:pt x="141" y="126"/>
                      <a:pt x="141" y="126"/>
                    </a:cubicBezTo>
                    <a:cubicBezTo>
                      <a:pt x="142" y="124"/>
                      <a:pt x="143" y="122"/>
                      <a:pt x="143" y="119"/>
                    </a:cubicBezTo>
                    <a:cubicBezTo>
                      <a:pt x="143" y="117"/>
                      <a:pt x="142" y="114"/>
                      <a:pt x="141" y="112"/>
                    </a:cubicBezTo>
                    <a:close/>
                  </a:path>
                </a:pathLst>
              </a:custGeom>
              <a:solidFill>
                <a:srgbClr val="50E6FF"/>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4" name="Freeform 138">
                <a:extLst>
                  <a:ext uri="{FF2B5EF4-FFF2-40B4-BE49-F238E27FC236}">
                    <a16:creationId xmlns:a16="http://schemas.microsoft.com/office/drawing/2014/main" id="{F1A00645-88F0-4230-9A5C-9563B0DB0891}"/>
                  </a:ext>
                </a:extLst>
              </p:cNvPr>
              <p:cNvSpPr>
                <a:spLocks noEditPoints="1"/>
              </p:cNvSpPr>
              <p:nvPr/>
            </p:nvSpPr>
            <p:spPr bwMode="auto">
              <a:xfrm>
                <a:off x="9068652" y="10963921"/>
                <a:ext cx="400813" cy="269307"/>
              </a:xfrm>
              <a:custGeom>
                <a:avLst/>
                <a:gdLst>
                  <a:gd name="T0" fmla="*/ 95 w 110"/>
                  <a:gd name="T1" fmla="*/ 21 h 74"/>
                  <a:gd name="T2" fmla="*/ 90 w 110"/>
                  <a:gd name="T3" fmla="*/ 33 h 74"/>
                  <a:gd name="T4" fmla="*/ 99 w 110"/>
                  <a:gd name="T5" fmla="*/ 63 h 74"/>
                  <a:gd name="T6" fmla="*/ 99 w 110"/>
                  <a:gd name="T7" fmla="*/ 68 h 74"/>
                  <a:gd name="T8" fmla="*/ 104 w 110"/>
                  <a:gd name="T9" fmla="*/ 74 h 74"/>
                  <a:gd name="T10" fmla="*/ 104 w 110"/>
                  <a:gd name="T11" fmla="*/ 74 h 74"/>
                  <a:gd name="T12" fmla="*/ 110 w 110"/>
                  <a:gd name="T13" fmla="*/ 69 h 74"/>
                  <a:gd name="T14" fmla="*/ 110 w 110"/>
                  <a:gd name="T15" fmla="*/ 63 h 74"/>
                  <a:gd name="T16" fmla="*/ 95 w 110"/>
                  <a:gd name="T17" fmla="*/ 21 h 74"/>
                  <a:gd name="T18" fmla="*/ 55 w 110"/>
                  <a:gd name="T19" fmla="*/ 15 h 74"/>
                  <a:gd name="T20" fmla="*/ 62 w 110"/>
                  <a:gd name="T21" fmla="*/ 15 h 74"/>
                  <a:gd name="T22" fmla="*/ 70 w 110"/>
                  <a:gd name="T23" fmla="*/ 6 h 74"/>
                  <a:gd name="T24" fmla="*/ 55 w 110"/>
                  <a:gd name="T25" fmla="*/ 4 h 74"/>
                  <a:gd name="T26" fmla="*/ 0 w 110"/>
                  <a:gd name="T27" fmla="*/ 63 h 74"/>
                  <a:gd name="T28" fmla="*/ 1 w 110"/>
                  <a:gd name="T29" fmla="*/ 69 h 74"/>
                  <a:gd name="T30" fmla="*/ 7 w 110"/>
                  <a:gd name="T31" fmla="*/ 74 h 74"/>
                  <a:gd name="T32" fmla="*/ 12 w 110"/>
                  <a:gd name="T33" fmla="*/ 68 h 74"/>
                  <a:gd name="T34" fmla="*/ 11 w 110"/>
                  <a:gd name="T35" fmla="*/ 63 h 74"/>
                  <a:gd name="T36" fmla="*/ 55 w 110"/>
                  <a:gd name="T37" fmla="*/ 15 h 74"/>
                  <a:gd name="T38" fmla="*/ 45 w 110"/>
                  <a:gd name="T39" fmla="*/ 56 h 74"/>
                  <a:gd name="T40" fmla="*/ 49 w 110"/>
                  <a:gd name="T41" fmla="*/ 71 h 74"/>
                  <a:gd name="T42" fmla="*/ 64 w 110"/>
                  <a:gd name="T43" fmla="*/ 67 h 74"/>
                  <a:gd name="T44" fmla="*/ 89 w 110"/>
                  <a:gd name="T45" fmla="*/ 1 h 74"/>
                  <a:gd name="T46" fmla="*/ 45 w 110"/>
                  <a:gd name="T47" fmla="*/ 5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74">
                    <a:moveTo>
                      <a:pt x="95" y="21"/>
                    </a:moveTo>
                    <a:cubicBezTo>
                      <a:pt x="93" y="26"/>
                      <a:pt x="92" y="30"/>
                      <a:pt x="90" y="33"/>
                    </a:cubicBezTo>
                    <a:cubicBezTo>
                      <a:pt x="96" y="41"/>
                      <a:pt x="99" y="51"/>
                      <a:pt x="99" y="63"/>
                    </a:cubicBezTo>
                    <a:cubicBezTo>
                      <a:pt x="99" y="64"/>
                      <a:pt x="99" y="66"/>
                      <a:pt x="99" y="68"/>
                    </a:cubicBezTo>
                    <a:cubicBezTo>
                      <a:pt x="98" y="71"/>
                      <a:pt x="101" y="73"/>
                      <a:pt x="104" y="74"/>
                    </a:cubicBezTo>
                    <a:cubicBezTo>
                      <a:pt x="104" y="74"/>
                      <a:pt x="104" y="74"/>
                      <a:pt x="104" y="74"/>
                    </a:cubicBezTo>
                    <a:cubicBezTo>
                      <a:pt x="107" y="74"/>
                      <a:pt x="109" y="72"/>
                      <a:pt x="110" y="69"/>
                    </a:cubicBezTo>
                    <a:cubicBezTo>
                      <a:pt x="110" y="67"/>
                      <a:pt x="110" y="65"/>
                      <a:pt x="110" y="63"/>
                    </a:cubicBezTo>
                    <a:cubicBezTo>
                      <a:pt x="110" y="46"/>
                      <a:pt x="104" y="32"/>
                      <a:pt x="95" y="21"/>
                    </a:cubicBezTo>
                    <a:close/>
                    <a:moveTo>
                      <a:pt x="55" y="15"/>
                    </a:moveTo>
                    <a:cubicBezTo>
                      <a:pt x="58" y="15"/>
                      <a:pt x="60" y="15"/>
                      <a:pt x="62" y="15"/>
                    </a:cubicBezTo>
                    <a:cubicBezTo>
                      <a:pt x="65" y="12"/>
                      <a:pt x="67" y="9"/>
                      <a:pt x="70" y="6"/>
                    </a:cubicBezTo>
                    <a:cubicBezTo>
                      <a:pt x="65" y="4"/>
                      <a:pt x="60" y="4"/>
                      <a:pt x="55" y="4"/>
                    </a:cubicBezTo>
                    <a:cubicBezTo>
                      <a:pt x="25" y="4"/>
                      <a:pt x="0" y="30"/>
                      <a:pt x="0" y="63"/>
                    </a:cubicBezTo>
                    <a:cubicBezTo>
                      <a:pt x="0" y="65"/>
                      <a:pt x="1" y="67"/>
                      <a:pt x="1" y="69"/>
                    </a:cubicBezTo>
                    <a:cubicBezTo>
                      <a:pt x="1" y="72"/>
                      <a:pt x="4" y="74"/>
                      <a:pt x="7" y="74"/>
                    </a:cubicBezTo>
                    <a:cubicBezTo>
                      <a:pt x="10" y="73"/>
                      <a:pt x="12" y="71"/>
                      <a:pt x="12" y="68"/>
                    </a:cubicBezTo>
                    <a:cubicBezTo>
                      <a:pt x="11" y="66"/>
                      <a:pt x="11" y="64"/>
                      <a:pt x="11" y="63"/>
                    </a:cubicBezTo>
                    <a:cubicBezTo>
                      <a:pt x="11" y="36"/>
                      <a:pt x="31" y="15"/>
                      <a:pt x="55" y="15"/>
                    </a:cubicBezTo>
                    <a:close/>
                    <a:moveTo>
                      <a:pt x="45" y="56"/>
                    </a:moveTo>
                    <a:cubicBezTo>
                      <a:pt x="41" y="63"/>
                      <a:pt x="44" y="68"/>
                      <a:pt x="49" y="71"/>
                    </a:cubicBezTo>
                    <a:cubicBezTo>
                      <a:pt x="54" y="74"/>
                      <a:pt x="60" y="74"/>
                      <a:pt x="64" y="67"/>
                    </a:cubicBezTo>
                    <a:cubicBezTo>
                      <a:pt x="68" y="61"/>
                      <a:pt x="92" y="2"/>
                      <a:pt x="89" y="1"/>
                    </a:cubicBezTo>
                    <a:cubicBezTo>
                      <a:pt x="87" y="0"/>
                      <a:pt x="49" y="50"/>
                      <a:pt x="45" y="56"/>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8" name="Freeform 143">
                <a:extLst>
                  <a:ext uri="{FF2B5EF4-FFF2-40B4-BE49-F238E27FC236}">
                    <a16:creationId xmlns:a16="http://schemas.microsoft.com/office/drawing/2014/main" id="{6B917B37-C2EB-4703-9E7C-961D89640662}"/>
                  </a:ext>
                </a:extLst>
              </p:cNvPr>
              <p:cNvSpPr>
                <a:spLocks noEditPoints="1"/>
              </p:cNvSpPr>
              <p:nvPr/>
            </p:nvSpPr>
            <p:spPr bwMode="auto">
              <a:xfrm>
                <a:off x="9101522" y="15951976"/>
                <a:ext cx="335073" cy="332587"/>
              </a:xfrm>
              <a:custGeom>
                <a:avLst/>
                <a:gdLst>
                  <a:gd name="T0" fmla="*/ 122 w 132"/>
                  <a:gd name="T1" fmla="*/ 132 h 132"/>
                  <a:gd name="T2" fmla="*/ 114 w 132"/>
                  <a:gd name="T3" fmla="*/ 129 h 132"/>
                  <a:gd name="T4" fmla="*/ 87 w 132"/>
                  <a:gd name="T5" fmla="*/ 102 h 132"/>
                  <a:gd name="T6" fmla="*/ 56 w 132"/>
                  <a:gd name="T7" fmla="*/ 112 h 132"/>
                  <a:gd name="T8" fmla="*/ 0 w 132"/>
                  <a:gd name="T9" fmla="*/ 56 h 132"/>
                  <a:gd name="T10" fmla="*/ 56 w 132"/>
                  <a:gd name="T11" fmla="*/ 0 h 132"/>
                  <a:gd name="T12" fmla="*/ 111 w 132"/>
                  <a:gd name="T13" fmla="*/ 56 h 132"/>
                  <a:gd name="T14" fmla="*/ 102 w 132"/>
                  <a:gd name="T15" fmla="*/ 88 h 132"/>
                  <a:gd name="T16" fmla="*/ 129 w 132"/>
                  <a:gd name="T17" fmla="*/ 115 h 132"/>
                  <a:gd name="T18" fmla="*/ 132 w 132"/>
                  <a:gd name="T19" fmla="*/ 122 h 132"/>
                  <a:gd name="T20" fmla="*/ 122 w 132"/>
                  <a:gd name="T21" fmla="*/ 132 h 132"/>
                  <a:gd name="T22" fmla="*/ 56 w 132"/>
                  <a:gd name="T23" fmla="*/ 21 h 132"/>
                  <a:gd name="T24" fmla="*/ 20 w 132"/>
                  <a:gd name="T25" fmla="*/ 56 h 132"/>
                  <a:gd name="T26" fmla="*/ 56 w 132"/>
                  <a:gd name="T27" fmla="*/ 92 h 132"/>
                  <a:gd name="T28" fmla="*/ 91 w 132"/>
                  <a:gd name="T29" fmla="*/ 56 h 132"/>
                  <a:gd name="T30" fmla="*/ 56 w 132"/>
                  <a:gd name="T31" fmla="*/ 2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2" h="132">
                    <a:moveTo>
                      <a:pt x="122" y="132"/>
                    </a:moveTo>
                    <a:cubicBezTo>
                      <a:pt x="119" y="132"/>
                      <a:pt x="116" y="131"/>
                      <a:pt x="114" y="129"/>
                    </a:cubicBezTo>
                    <a:cubicBezTo>
                      <a:pt x="87" y="102"/>
                      <a:pt x="87" y="102"/>
                      <a:pt x="87" y="102"/>
                    </a:cubicBezTo>
                    <a:cubicBezTo>
                      <a:pt x="78" y="109"/>
                      <a:pt x="67" y="112"/>
                      <a:pt x="56" y="112"/>
                    </a:cubicBezTo>
                    <a:cubicBezTo>
                      <a:pt x="25" y="112"/>
                      <a:pt x="0" y="87"/>
                      <a:pt x="0" y="56"/>
                    </a:cubicBezTo>
                    <a:cubicBezTo>
                      <a:pt x="0" y="25"/>
                      <a:pt x="25" y="0"/>
                      <a:pt x="56" y="0"/>
                    </a:cubicBezTo>
                    <a:cubicBezTo>
                      <a:pt x="86" y="0"/>
                      <a:pt x="111" y="25"/>
                      <a:pt x="111" y="56"/>
                    </a:cubicBezTo>
                    <a:cubicBezTo>
                      <a:pt x="111" y="68"/>
                      <a:pt x="108" y="79"/>
                      <a:pt x="102" y="88"/>
                    </a:cubicBezTo>
                    <a:cubicBezTo>
                      <a:pt x="129" y="115"/>
                      <a:pt x="129" y="115"/>
                      <a:pt x="129" y="115"/>
                    </a:cubicBezTo>
                    <a:cubicBezTo>
                      <a:pt x="131" y="117"/>
                      <a:pt x="132" y="120"/>
                      <a:pt x="132" y="122"/>
                    </a:cubicBezTo>
                    <a:cubicBezTo>
                      <a:pt x="132" y="128"/>
                      <a:pt x="127" y="132"/>
                      <a:pt x="122" y="132"/>
                    </a:cubicBezTo>
                    <a:close/>
                    <a:moveTo>
                      <a:pt x="56" y="21"/>
                    </a:moveTo>
                    <a:cubicBezTo>
                      <a:pt x="36" y="21"/>
                      <a:pt x="20" y="37"/>
                      <a:pt x="20" y="56"/>
                    </a:cubicBezTo>
                    <a:cubicBezTo>
                      <a:pt x="20" y="76"/>
                      <a:pt x="36" y="92"/>
                      <a:pt x="56" y="92"/>
                    </a:cubicBezTo>
                    <a:cubicBezTo>
                      <a:pt x="75" y="92"/>
                      <a:pt x="91" y="76"/>
                      <a:pt x="91" y="56"/>
                    </a:cubicBezTo>
                    <a:cubicBezTo>
                      <a:pt x="91" y="37"/>
                      <a:pt x="75" y="21"/>
                      <a:pt x="56" y="21"/>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3" name="Freeform 264">
                <a:extLst>
                  <a:ext uri="{FF2B5EF4-FFF2-40B4-BE49-F238E27FC236}">
                    <a16:creationId xmlns:a16="http://schemas.microsoft.com/office/drawing/2014/main" id="{9556B4B3-1C70-45DB-81FF-7252A30CC3C4}"/>
                  </a:ext>
                </a:extLst>
              </p:cNvPr>
              <p:cNvSpPr>
                <a:spLocks noEditPoints="1"/>
              </p:cNvSpPr>
              <p:nvPr/>
            </p:nvSpPr>
            <p:spPr bwMode="auto">
              <a:xfrm>
                <a:off x="9010351" y="16608807"/>
                <a:ext cx="517414" cy="466888"/>
              </a:xfrm>
              <a:custGeom>
                <a:avLst/>
                <a:gdLst>
                  <a:gd name="T0" fmla="*/ 53 w 93"/>
                  <a:gd name="T1" fmla="*/ 49 h 85"/>
                  <a:gd name="T2" fmla="*/ 56 w 93"/>
                  <a:gd name="T3" fmla="*/ 60 h 85"/>
                  <a:gd name="T4" fmla="*/ 47 w 93"/>
                  <a:gd name="T5" fmla="*/ 67 h 85"/>
                  <a:gd name="T6" fmla="*/ 37 w 93"/>
                  <a:gd name="T7" fmla="*/ 72 h 85"/>
                  <a:gd name="T8" fmla="*/ 25 w 93"/>
                  <a:gd name="T9" fmla="*/ 72 h 85"/>
                  <a:gd name="T10" fmla="*/ 14 w 93"/>
                  <a:gd name="T11" fmla="*/ 67 h 85"/>
                  <a:gd name="T12" fmla="*/ 5 w 93"/>
                  <a:gd name="T13" fmla="*/ 60 h 85"/>
                  <a:gd name="T14" fmla="*/ 8 w 93"/>
                  <a:gd name="T15" fmla="*/ 49 h 85"/>
                  <a:gd name="T16" fmla="*/ 0 w 93"/>
                  <a:gd name="T17" fmla="*/ 38 h 85"/>
                  <a:gd name="T18" fmla="*/ 10 w 93"/>
                  <a:gd name="T19" fmla="*/ 31 h 85"/>
                  <a:gd name="T20" fmla="*/ 6 w 93"/>
                  <a:gd name="T21" fmla="*/ 24 h 85"/>
                  <a:gd name="T22" fmla="*/ 20 w 93"/>
                  <a:gd name="T23" fmla="*/ 21 h 85"/>
                  <a:gd name="T24" fmla="*/ 26 w 93"/>
                  <a:gd name="T25" fmla="*/ 11 h 85"/>
                  <a:gd name="T26" fmla="*/ 38 w 93"/>
                  <a:gd name="T27" fmla="*/ 20 h 85"/>
                  <a:gd name="T28" fmla="*/ 48 w 93"/>
                  <a:gd name="T29" fmla="*/ 17 h 85"/>
                  <a:gd name="T30" fmla="*/ 56 w 93"/>
                  <a:gd name="T31" fmla="*/ 26 h 85"/>
                  <a:gd name="T32" fmla="*/ 61 w 93"/>
                  <a:gd name="T33" fmla="*/ 36 h 85"/>
                  <a:gd name="T34" fmla="*/ 31 w 93"/>
                  <a:gd name="T35" fmla="*/ 30 h 85"/>
                  <a:gd name="T36" fmla="*/ 43 w 93"/>
                  <a:gd name="T37" fmla="*/ 42 h 85"/>
                  <a:gd name="T38" fmla="*/ 86 w 93"/>
                  <a:gd name="T39" fmla="*/ 22 h 85"/>
                  <a:gd name="T40" fmla="*/ 86 w 93"/>
                  <a:gd name="T41" fmla="*/ 32 h 85"/>
                  <a:gd name="T42" fmla="*/ 74 w 93"/>
                  <a:gd name="T43" fmla="*/ 30 h 85"/>
                  <a:gd name="T44" fmla="*/ 62 w 93"/>
                  <a:gd name="T45" fmla="*/ 32 h 85"/>
                  <a:gd name="T46" fmla="*/ 63 w 93"/>
                  <a:gd name="T47" fmla="*/ 22 h 85"/>
                  <a:gd name="T48" fmla="*/ 63 w 93"/>
                  <a:gd name="T49" fmla="*/ 13 h 85"/>
                  <a:gd name="T50" fmla="*/ 62 w 93"/>
                  <a:gd name="T51" fmla="*/ 3 h 85"/>
                  <a:gd name="T52" fmla="*/ 74 w 93"/>
                  <a:gd name="T53" fmla="*/ 5 h 85"/>
                  <a:gd name="T54" fmla="*/ 80 w 93"/>
                  <a:gd name="T55" fmla="*/ 0 h 85"/>
                  <a:gd name="T56" fmla="*/ 84 w 93"/>
                  <a:gd name="T57" fmla="*/ 10 h 85"/>
                  <a:gd name="T58" fmla="*/ 93 w 93"/>
                  <a:gd name="T59" fmla="*/ 21 h 85"/>
                  <a:gd name="T60" fmla="*/ 84 w 93"/>
                  <a:gd name="T61" fmla="*/ 74 h 85"/>
                  <a:gd name="T62" fmla="*/ 80 w 93"/>
                  <a:gd name="T63" fmla="*/ 85 h 85"/>
                  <a:gd name="T64" fmla="*/ 73 w 93"/>
                  <a:gd name="T65" fmla="*/ 79 h 85"/>
                  <a:gd name="T66" fmla="*/ 62 w 93"/>
                  <a:gd name="T67" fmla="*/ 81 h 85"/>
                  <a:gd name="T68" fmla="*/ 56 w 93"/>
                  <a:gd name="T69" fmla="*/ 70 h 85"/>
                  <a:gd name="T70" fmla="*/ 64 w 93"/>
                  <a:gd name="T71" fmla="*/ 60 h 85"/>
                  <a:gd name="T72" fmla="*/ 68 w 93"/>
                  <a:gd name="T73" fmla="*/ 49 h 85"/>
                  <a:gd name="T74" fmla="*/ 76 w 93"/>
                  <a:gd name="T75" fmla="*/ 55 h 85"/>
                  <a:gd name="T76" fmla="*/ 86 w 93"/>
                  <a:gd name="T77" fmla="*/ 53 h 85"/>
                  <a:gd name="T78" fmla="*/ 86 w 93"/>
                  <a:gd name="T79" fmla="*/ 62 h 85"/>
                  <a:gd name="T80" fmla="*/ 74 w 93"/>
                  <a:gd name="T81" fmla="*/ 11 h 85"/>
                  <a:gd name="T82" fmla="*/ 80 w 93"/>
                  <a:gd name="T83" fmla="*/ 17 h 85"/>
                  <a:gd name="T84" fmla="*/ 68 w 93"/>
                  <a:gd name="T85" fmla="*/ 67 h 85"/>
                  <a:gd name="T86" fmla="*/ 74 w 93"/>
                  <a:gd name="T8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3" h="85">
                    <a:moveTo>
                      <a:pt x="62" y="47"/>
                    </a:moveTo>
                    <a:cubicBezTo>
                      <a:pt x="62" y="47"/>
                      <a:pt x="61" y="48"/>
                      <a:pt x="61" y="48"/>
                    </a:cubicBezTo>
                    <a:cubicBezTo>
                      <a:pt x="53" y="49"/>
                      <a:pt x="53" y="49"/>
                      <a:pt x="53" y="49"/>
                    </a:cubicBezTo>
                    <a:cubicBezTo>
                      <a:pt x="53" y="51"/>
                      <a:pt x="52" y="52"/>
                      <a:pt x="52" y="53"/>
                    </a:cubicBezTo>
                    <a:cubicBezTo>
                      <a:pt x="53" y="55"/>
                      <a:pt x="54" y="57"/>
                      <a:pt x="56" y="59"/>
                    </a:cubicBezTo>
                    <a:cubicBezTo>
                      <a:pt x="56" y="59"/>
                      <a:pt x="56" y="59"/>
                      <a:pt x="56" y="60"/>
                    </a:cubicBezTo>
                    <a:cubicBezTo>
                      <a:pt x="56" y="60"/>
                      <a:pt x="56" y="60"/>
                      <a:pt x="56" y="60"/>
                    </a:cubicBezTo>
                    <a:cubicBezTo>
                      <a:pt x="55" y="62"/>
                      <a:pt x="50" y="68"/>
                      <a:pt x="48" y="68"/>
                    </a:cubicBezTo>
                    <a:cubicBezTo>
                      <a:pt x="48" y="68"/>
                      <a:pt x="47" y="68"/>
                      <a:pt x="47" y="67"/>
                    </a:cubicBezTo>
                    <a:cubicBezTo>
                      <a:pt x="42" y="63"/>
                      <a:pt x="42" y="63"/>
                      <a:pt x="42" y="63"/>
                    </a:cubicBezTo>
                    <a:cubicBezTo>
                      <a:pt x="40" y="64"/>
                      <a:pt x="39" y="64"/>
                      <a:pt x="38" y="65"/>
                    </a:cubicBezTo>
                    <a:cubicBezTo>
                      <a:pt x="38" y="67"/>
                      <a:pt x="37" y="70"/>
                      <a:pt x="37" y="72"/>
                    </a:cubicBezTo>
                    <a:cubicBezTo>
                      <a:pt x="37" y="73"/>
                      <a:pt x="36" y="73"/>
                      <a:pt x="35" y="73"/>
                    </a:cubicBezTo>
                    <a:cubicBezTo>
                      <a:pt x="26" y="73"/>
                      <a:pt x="26" y="73"/>
                      <a:pt x="26" y="73"/>
                    </a:cubicBezTo>
                    <a:cubicBezTo>
                      <a:pt x="26" y="73"/>
                      <a:pt x="25" y="73"/>
                      <a:pt x="25" y="72"/>
                    </a:cubicBezTo>
                    <a:cubicBezTo>
                      <a:pt x="24" y="65"/>
                      <a:pt x="24" y="65"/>
                      <a:pt x="24" y="65"/>
                    </a:cubicBezTo>
                    <a:cubicBezTo>
                      <a:pt x="22" y="64"/>
                      <a:pt x="21" y="64"/>
                      <a:pt x="20" y="63"/>
                    </a:cubicBezTo>
                    <a:cubicBezTo>
                      <a:pt x="14" y="67"/>
                      <a:pt x="14" y="67"/>
                      <a:pt x="14" y="67"/>
                    </a:cubicBezTo>
                    <a:cubicBezTo>
                      <a:pt x="13" y="68"/>
                      <a:pt x="13" y="68"/>
                      <a:pt x="13" y="68"/>
                    </a:cubicBezTo>
                    <a:cubicBezTo>
                      <a:pt x="13" y="68"/>
                      <a:pt x="13" y="68"/>
                      <a:pt x="12" y="67"/>
                    </a:cubicBezTo>
                    <a:cubicBezTo>
                      <a:pt x="11" y="66"/>
                      <a:pt x="5" y="61"/>
                      <a:pt x="5" y="60"/>
                    </a:cubicBezTo>
                    <a:cubicBezTo>
                      <a:pt x="6" y="59"/>
                      <a:pt x="6" y="59"/>
                      <a:pt x="6" y="59"/>
                    </a:cubicBezTo>
                    <a:cubicBezTo>
                      <a:pt x="7" y="57"/>
                      <a:pt x="9" y="55"/>
                      <a:pt x="10" y="53"/>
                    </a:cubicBezTo>
                    <a:cubicBezTo>
                      <a:pt x="9" y="52"/>
                      <a:pt x="9" y="51"/>
                      <a:pt x="8" y="49"/>
                    </a:cubicBezTo>
                    <a:cubicBezTo>
                      <a:pt x="1" y="48"/>
                      <a:pt x="1" y="48"/>
                      <a:pt x="1" y="48"/>
                    </a:cubicBezTo>
                    <a:cubicBezTo>
                      <a:pt x="0" y="48"/>
                      <a:pt x="0" y="47"/>
                      <a:pt x="0" y="47"/>
                    </a:cubicBezTo>
                    <a:cubicBezTo>
                      <a:pt x="0" y="38"/>
                      <a:pt x="0" y="38"/>
                      <a:pt x="0" y="38"/>
                    </a:cubicBezTo>
                    <a:cubicBezTo>
                      <a:pt x="0" y="37"/>
                      <a:pt x="0" y="36"/>
                      <a:pt x="1" y="36"/>
                    </a:cubicBezTo>
                    <a:cubicBezTo>
                      <a:pt x="8" y="35"/>
                      <a:pt x="8" y="35"/>
                      <a:pt x="8" y="35"/>
                    </a:cubicBezTo>
                    <a:cubicBezTo>
                      <a:pt x="9" y="34"/>
                      <a:pt x="9" y="33"/>
                      <a:pt x="10" y="31"/>
                    </a:cubicBezTo>
                    <a:cubicBezTo>
                      <a:pt x="9" y="29"/>
                      <a:pt x="7" y="28"/>
                      <a:pt x="6" y="26"/>
                    </a:cubicBezTo>
                    <a:cubicBezTo>
                      <a:pt x="5" y="25"/>
                      <a:pt x="5" y="25"/>
                      <a:pt x="5" y="25"/>
                    </a:cubicBezTo>
                    <a:cubicBezTo>
                      <a:pt x="6" y="24"/>
                      <a:pt x="6" y="24"/>
                      <a:pt x="6" y="24"/>
                    </a:cubicBezTo>
                    <a:cubicBezTo>
                      <a:pt x="7" y="23"/>
                      <a:pt x="12" y="17"/>
                      <a:pt x="13" y="17"/>
                    </a:cubicBezTo>
                    <a:cubicBezTo>
                      <a:pt x="14" y="17"/>
                      <a:pt x="14" y="17"/>
                      <a:pt x="14" y="17"/>
                    </a:cubicBezTo>
                    <a:cubicBezTo>
                      <a:pt x="20" y="21"/>
                      <a:pt x="20" y="21"/>
                      <a:pt x="20" y="21"/>
                    </a:cubicBezTo>
                    <a:cubicBezTo>
                      <a:pt x="21" y="21"/>
                      <a:pt x="22" y="20"/>
                      <a:pt x="24" y="20"/>
                    </a:cubicBezTo>
                    <a:cubicBezTo>
                      <a:pt x="24" y="17"/>
                      <a:pt x="24" y="15"/>
                      <a:pt x="25" y="12"/>
                    </a:cubicBezTo>
                    <a:cubicBezTo>
                      <a:pt x="25" y="12"/>
                      <a:pt x="26" y="11"/>
                      <a:pt x="26" y="11"/>
                    </a:cubicBezTo>
                    <a:cubicBezTo>
                      <a:pt x="35" y="11"/>
                      <a:pt x="35" y="11"/>
                      <a:pt x="35" y="11"/>
                    </a:cubicBezTo>
                    <a:cubicBezTo>
                      <a:pt x="36" y="11"/>
                      <a:pt x="37" y="12"/>
                      <a:pt x="37" y="12"/>
                    </a:cubicBezTo>
                    <a:cubicBezTo>
                      <a:pt x="38" y="20"/>
                      <a:pt x="38" y="20"/>
                      <a:pt x="38" y="20"/>
                    </a:cubicBezTo>
                    <a:cubicBezTo>
                      <a:pt x="39" y="20"/>
                      <a:pt x="40" y="21"/>
                      <a:pt x="41" y="21"/>
                    </a:cubicBezTo>
                    <a:cubicBezTo>
                      <a:pt x="47" y="17"/>
                      <a:pt x="47" y="17"/>
                      <a:pt x="47" y="17"/>
                    </a:cubicBezTo>
                    <a:cubicBezTo>
                      <a:pt x="48" y="17"/>
                      <a:pt x="48" y="17"/>
                      <a:pt x="48" y="17"/>
                    </a:cubicBezTo>
                    <a:cubicBezTo>
                      <a:pt x="49" y="17"/>
                      <a:pt x="49" y="17"/>
                      <a:pt x="49" y="17"/>
                    </a:cubicBezTo>
                    <a:cubicBezTo>
                      <a:pt x="50" y="18"/>
                      <a:pt x="56" y="23"/>
                      <a:pt x="56" y="25"/>
                    </a:cubicBezTo>
                    <a:cubicBezTo>
                      <a:pt x="56" y="26"/>
                      <a:pt x="56" y="26"/>
                      <a:pt x="56" y="26"/>
                    </a:cubicBezTo>
                    <a:cubicBezTo>
                      <a:pt x="54" y="28"/>
                      <a:pt x="53" y="29"/>
                      <a:pt x="52" y="31"/>
                    </a:cubicBezTo>
                    <a:cubicBezTo>
                      <a:pt x="52" y="33"/>
                      <a:pt x="53" y="34"/>
                      <a:pt x="53" y="35"/>
                    </a:cubicBezTo>
                    <a:cubicBezTo>
                      <a:pt x="61" y="36"/>
                      <a:pt x="61" y="36"/>
                      <a:pt x="61" y="36"/>
                    </a:cubicBezTo>
                    <a:cubicBezTo>
                      <a:pt x="61" y="36"/>
                      <a:pt x="62" y="37"/>
                      <a:pt x="62" y="38"/>
                    </a:cubicBezTo>
                    <a:lnTo>
                      <a:pt x="62" y="47"/>
                    </a:lnTo>
                    <a:close/>
                    <a:moveTo>
                      <a:pt x="31" y="30"/>
                    </a:moveTo>
                    <a:cubicBezTo>
                      <a:pt x="24" y="30"/>
                      <a:pt x="18" y="35"/>
                      <a:pt x="18" y="42"/>
                    </a:cubicBezTo>
                    <a:cubicBezTo>
                      <a:pt x="18" y="49"/>
                      <a:pt x="24" y="55"/>
                      <a:pt x="31" y="55"/>
                    </a:cubicBezTo>
                    <a:cubicBezTo>
                      <a:pt x="38" y="55"/>
                      <a:pt x="43" y="49"/>
                      <a:pt x="43" y="42"/>
                    </a:cubicBezTo>
                    <a:cubicBezTo>
                      <a:pt x="43" y="35"/>
                      <a:pt x="38" y="30"/>
                      <a:pt x="31" y="30"/>
                    </a:cubicBezTo>
                    <a:close/>
                    <a:moveTo>
                      <a:pt x="93" y="21"/>
                    </a:moveTo>
                    <a:cubicBezTo>
                      <a:pt x="93" y="22"/>
                      <a:pt x="87" y="22"/>
                      <a:pt x="86" y="22"/>
                    </a:cubicBezTo>
                    <a:cubicBezTo>
                      <a:pt x="85" y="23"/>
                      <a:pt x="85" y="24"/>
                      <a:pt x="84" y="25"/>
                    </a:cubicBezTo>
                    <a:cubicBezTo>
                      <a:pt x="85" y="26"/>
                      <a:pt x="87" y="31"/>
                      <a:pt x="87" y="31"/>
                    </a:cubicBezTo>
                    <a:cubicBezTo>
                      <a:pt x="86" y="32"/>
                      <a:pt x="86" y="32"/>
                      <a:pt x="86" y="32"/>
                    </a:cubicBezTo>
                    <a:cubicBezTo>
                      <a:pt x="86" y="32"/>
                      <a:pt x="81" y="35"/>
                      <a:pt x="80" y="35"/>
                    </a:cubicBezTo>
                    <a:cubicBezTo>
                      <a:pt x="80" y="35"/>
                      <a:pt x="76" y="30"/>
                      <a:pt x="76" y="30"/>
                    </a:cubicBezTo>
                    <a:cubicBezTo>
                      <a:pt x="75" y="30"/>
                      <a:pt x="75" y="30"/>
                      <a:pt x="74" y="30"/>
                    </a:cubicBezTo>
                    <a:cubicBezTo>
                      <a:pt x="74" y="30"/>
                      <a:pt x="73" y="30"/>
                      <a:pt x="73" y="30"/>
                    </a:cubicBezTo>
                    <a:cubicBezTo>
                      <a:pt x="72" y="30"/>
                      <a:pt x="69" y="35"/>
                      <a:pt x="68" y="35"/>
                    </a:cubicBezTo>
                    <a:cubicBezTo>
                      <a:pt x="68" y="35"/>
                      <a:pt x="63" y="32"/>
                      <a:pt x="62" y="32"/>
                    </a:cubicBezTo>
                    <a:cubicBezTo>
                      <a:pt x="62" y="31"/>
                      <a:pt x="62" y="31"/>
                      <a:pt x="62" y="31"/>
                    </a:cubicBezTo>
                    <a:cubicBezTo>
                      <a:pt x="62" y="31"/>
                      <a:pt x="64" y="26"/>
                      <a:pt x="64" y="25"/>
                    </a:cubicBezTo>
                    <a:cubicBezTo>
                      <a:pt x="64" y="24"/>
                      <a:pt x="63" y="23"/>
                      <a:pt x="63" y="22"/>
                    </a:cubicBezTo>
                    <a:cubicBezTo>
                      <a:pt x="62" y="22"/>
                      <a:pt x="56" y="22"/>
                      <a:pt x="56" y="21"/>
                    </a:cubicBezTo>
                    <a:cubicBezTo>
                      <a:pt x="56" y="14"/>
                      <a:pt x="56" y="14"/>
                      <a:pt x="56" y="14"/>
                    </a:cubicBezTo>
                    <a:cubicBezTo>
                      <a:pt x="56" y="13"/>
                      <a:pt x="62" y="13"/>
                      <a:pt x="63" y="13"/>
                    </a:cubicBezTo>
                    <a:cubicBezTo>
                      <a:pt x="63" y="12"/>
                      <a:pt x="64" y="11"/>
                      <a:pt x="64" y="10"/>
                    </a:cubicBezTo>
                    <a:cubicBezTo>
                      <a:pt x="64" y="9"/>
                      <a:pt x="62" y="4"/>
                      <a:pt x="62" y="3"/>
                    </a:cubicBezTo>
                    <a:cubicBezTo>
                      <a:pt x="62" y="3"/>
                      <a:pt x="62" y="3"/>
                      <a:pt x="62" y="3"/>
                    </a:cubicBezTo>
                    <a:cubicBezTo>
                      <a:pt x="63" y="3"/>
                      <a:pt x="68" y="0"/>
                      <a:pt x="68" y="0"/>
                    </a:cubicBezTo>
                    <a:cubicBezTo>
                      <a:pt x="69" y="0"/>
                      <a:pt x="72" y="4"/>
                      <a:pt x="73" y="5"/>
                    </a:cubicBezTo>
                    <a:cubicBezTo>
                      <a:pt x="73" y="5"/>
                      <a:pt x="74" y="5"/>
                      <a:pt x="74" y="5"/>
                    </a:cubicBezTo>
                    <a:cubicBezTo>
                      <a:pt x="75" y="5"/>
                      <a:pt x="75" y="5"/>
                      <a:pt x="76" y="5"/>
                    </a:cubicBezTo>
                    <a:cubicBezTo>
                      <a:pt x="77" y="3"/>
                      <a:pt x="78" y="1"/>
                      <a:pt x="80" y="0"/>
                    </a:cubicBezTo>
                    <a:cubicBezTo>
                      <a:pt x="80" y="0"/>
                      <a:pt x="80" y="0"/>
                      <a:pt x="80" y="0"/>
                    </a:cubicBezTo>
                    <a:cubicBezTo>
                      <a:pt x="81" y="0"/>
                      <a:pt x="86" y="3"/>
                      <a:pt x="86" y="3"/>
                    </a:cubicBezTo>
                    <a:cubicBezTo>
                      <a:pt x="87" y="3"/>
                      <a:pt x="87" y="3"/>
                      <a:pt x="87" y="3"/>
                    </a:cubicBezTo>
                    <a:cubicBezTo>
                      <a:pt x="87" y="4"/>
                      <a:pt x="85" y="9"/>
                      <a:pt x="84" y="10"/>
                    </a:cubicBezTo>
                    <a:cubicBezTo>
                      <a:pt x="85" y="11"/>
                      <a:pt x="85" y="12"/>
                      <a:pt x="86" y="13"/>
                    </a:cubicBezTo>
                    <a:cubicBezTo>
                      <a:pt x="87" y="13"/>
                      <a:pt x="93" y="13"/>
                      <a:pt x="93" y="14"/>
                    </a:cubicBezTo>
                    <a:lnTo>
                      <a:pt x="93" y="21"/>
                    </a:lnTo>
                    <a:close/>
                    <a:moveTo>
                      <a:pt x="93" y="70"/>
                    </a:moveTo>
                    <a:cubicBezTo>
                      <a:pt x="93" y="71"/>
                      <a:pt x="87" y="72"/>
                      <a:pt x="86" y="72"/>
                    </a:cubicBezTo>
                    <a:cubicBezTo>
                      <a:pt x="85" y="73"/>
                      <a:pt x="85" y="74"/>
                      <a:pt x="84" y="74"/>
                    </a:cubicBezTo>
                    <a:cubicBezTo>
                      <a:pt x="85" y="75"/>
                      <a:pt x="87" y="80"/>
                      <a:pt x="87" y="81"/>
                    </a:cubicBezTo>
                    <a:cubicBezTo>
                      <a:pt x="86" y="81"/>
                      <a:pt x="86" y="81"/>
                      <a:pt x="86" y="81"/>
                    </a:cubicBezTo>
                    <a:cubicBezTo>
                      <a:pt x="86" y="82"/>
                      <a:pt x="81" y="85"/>
                      <a:pt x="80" y="85"/>
                    </a:cubicBezTo>
                    <a:cubicBezTo>
                      <a:pt x="80" y="85"/>
                      <a:pt x="76" y="80"/>
                      <a:pt x="76" y="79"/>
                    </a:cubicBezTo>
                    <a:cubicBezTo>
                      <a:pt x="75" y="79"/>
                      <a:pt x="75" y="79"/>
                      <a:pt x="74" y="79"/>
                    </a:cubicBezTo>
                    <a:cubicBezTo>
                      <a:pt x="74" y="79"/>
                      <a:pt x="73" y="79"/>
                      <a:pt x="73" y="79"/>
                    </a:cubicBezTo>
                    <a:cubicBezTo>
                      <a:pt x="72" y="80"/>
                      <a:pt x="69" y="85"/>
                      <a:pt x="68" y="85"/>
                    </a:cubicBezTo>
                    <a:cubicBezTo>
                      <a:pt x="68" y="85"/>
                      <a:pt x="63" y="82"/>
                      <a:pt x="62" y="81"/>
                    </a:cubicBezTo>
                    <a:cubicBezTo>
                      <a:pt x="62" y="81"/>
                      <a:pt x="62" y="81"/>
                      <a:pt x="62" y="81"/>
                    </a:cubicBezTo>
                    <a:cubicBezTo>
                      <a:pt x="62" y="80"/>
                      <a:pt x="64" y="75"/>
                      <a:pt x="64" y="74"/>
                    </a:cubicBezTo>
                    <a:cubicBezTo>
                      <a:pt x="64" y="74"/>
                      <a:pt x="63" y="73"/>
                      <a:pt x="63" y="72"/>
                    </a:cubicBezTo>
                    <a:cubicBezTo>
                      <a:pt x="62" y="72"/>
                      <a:pt x="56" y="71"/>
                      <a:pt x="56" y="70"/>
                    </a:cubicBezTo>
                    <a:cubicBezTo>
                      <a:pt x="56" y="64"/>
                      <a:pt x="56" y="64"/>
                      <a:pt x="56" y="64"/>
                    </a:cubicBezTo>
                    <a:cubicBezTo>
                      <a:pt x="56" y="63"/>
                      <a:pt x="62" y="62"/>
                      <a:pt x="63" y="62"/>
                    </a:cubicBezTo>
                    <a:cubicBezTo>
                      <a:pt x="63" y="61"/>
                      <a:pt x="64" y="60"/>
                      <a:pt x="64" y="60"/>
                    </a:cubicBezTo>
                    <a:cubicBezTo>
                      <a:pt x="64" y="59"/>
                      <a:pt x="62" y="54"/>
                      <a:pt x="62" y="53"/>
                    </a:cubicBezTo>
                    <a:cubicBezTo>
                      <a:pt x="62" y="53"/>
                      <a:pt x="62" y="53"/>
                      <a:pt x="62" y="53"/>
                    </a:cubicBezTo>
                    <a:cubicBezTo>
                      <a:pt x="63" y="52"/>
                      <a:pt x="68" y="49"/>
                      <a:pt x="68" y="49"/>
                    </a:cubicBezTo>
                    <a:cubicBezTo>
                      <a:pt x="69" y="49"/>
                      <a:pt x="72" y="54"/>
                      <a:pt x="73" y="55"/>
                    </a:cubicBezTo>
                    <a:cubicBezTo>
                      <a:pt x="73" y="55"/>
                      <a:pt x="74" y="55"/>
                      <a:pt x="74" y="55"/>
                    </a:cubicBezTo>
                    <a:cubicBezTo>
                      <a:pt x="75" y="55"/>
                      <a:pt x="75" y="55"/>
                      <a:pt x="76" y="55"/>
                    </a:cubicBezTo>
                    <a:cubicBezTo>
                      <a:pt x="77" y="53"/>
                      <a:pt x="78" y="51"/>
                      <a:pt x="80" y="49"/>
                    </a:cubicBezTo>
                    <a:cubicBezTo>
                      <a:pt x="80" y="49"/>
                      <a:pt x="80" y="49"/>
                      <a:pt x="80" y="49"/>
                    </a:cubicBezTo>
                    <a:cubicBezTo>
                      <a:pt x="81" y="49"/>
                      <a:pt x="86" y="52"/>
                      <a:pt x="86" y="53"/>
                    </a:cubicBezTo>
                    <a:cubicBezTo>
                      <a:pt x="87" y="53"/>
                      <a:pt x="87" y="53"/>
                      <a:pt x="87" y="53"/>
                    </a:cubicBezTo>
                    <a:cubicBezTo>
                      <a:pt x="87" y="54"/>
                      <a:pt x="85" y="59"/>
                      <a:pt x="84" y="60"/>
                    </a:cubicBezTo>
                    <a:cubicBezTo>
                      <a:pt x="85" y="60"/>
                      <a:pt x="85" y="61"/>
                      <a:pt x="86" y="62"/>
                    </a:cubicBezTo>
                    <a:cubicBezTo>
                      <a:pt x="87" y="62"/>
                      <a:pt x="93" y="63"/>
                      <a:pt x="93" y="64"/>
                    </a:cubicBezTo>
                    <a:lnTo>
                      <a:pt x="93" y="70"/>
                    </a:lnTo>
                    <a:close/>
                    <a:moveTo>
                      <a:pt x="74" y="11"/>
                    </a:moveTo>
                    <a:cubicBezTo>
                      <a:pt x="71" y="11"/>
                      <a:pt x="68" y="14"/>
                      <a:pt x="68" y="17"/>
                    </a:cubicBezTo>
                    <a:cubicBezTo>
                      <a:pt x="68" y="21"/>
                      <a:pt x="71" y="24"/>
                      <a:pt x="74" y="24"/>
                    </a:cubicBezTo>
                    <a:cubicBezTo>
                      <a:pt x="78" y="24"/>
                      <a:pt x="80" y="21"/>
                      <a:pt x="80" y="17"/>
                    </a:cubicBezTo>
                    <a:cubicBezTo>
                      <a:pt x="80" y="14"/>
                      <a:pt x="78" y="11"/>
                      <a:pt x="74" y="11"/>
                    </a:cubicBezTo>
                    <a:close/>
                    <a:moveTo>
                      <a:pt x="74" y="61"/>
                    </a:moveTo>
                    <a:cubicBezTo>
                      <a:pt x="71" y="61"/>
                      <a:pt x="68" y="64"/>
                      <a:pt x="68" y="67"/>
                    </a:cubicBezTo>
                    <a:cubicBezTo>
                      <a:pt x="68" y="70"/>
                      <a:pt x="71" y="73"/>
                      <a:pt x="74" y="73"/>
                    </a:cubicBezTo>
                    <a:cubicBezTo>
                      <a:pt x="78" y="73"/>
                      <a:pt x="80" y="70"/>
                      <a:pt x="80" y="67"/>
                    </a:cubicBezTo>
                    <a:cubicBezTo>
                      <a:pt x="80" y="64"/>
                      <a:pt x="78" y="61"/>
                      <a:pt x="74" y="61"/>
                    </a:cubicBezTo>
                    <a:close/>
                  </a:path>
                </a:pathLst>
              </a:custGeom>
              <a:solidFill>
                <a:srgbClr val="50E6FF"/>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6" name="Freeform 267">
                <a:extLst>
                  <a:ext uri="{FF2B5EF4-FFF2-40B4-BE49-F238E27FC236}">
                    <a16:creationId xmlns:a16="http://schemas.microsoft.com/office/drawing/2014/main" id="{00EEC0C8-B5A5-453B-BD8F-3BC603310D0E}"/>
                  </a:ext>
                </a:extLst>
              </p:cNvPr>
              <p:cNvSpPr>
                <a:spLocks noEditPoints="1"/>
              </p:cNvSpPr>
              <p:nvPr/>
            </p:nvSpPr>
            <p:spPr bwMode="auto">
              <a:xfrm>
                <a:off x="9041974" y="7874794"/>
                <a:ext cx="454169" cy="512673"/>
              </a:xfrm>
              <a:custGeom>
                <a:avLst/>
                <a:gdLst>
                  <a:gd name="T0" fmla="*/ 81 w 86"/>
                  <a:gd name="T1" fmla="*/ 59 h 98"/>
                  <a:gd name="T2" fmla="*/ 81 w 86"/>
                  <a:gd name="T3" fmla="*/ 15 h 98"/>
                  <a:gd name="T4" fmla="*/ 86 w 86"/>
                  <a:gd name="T5" fmla="*/ 10 h 98"/>
                  <a:gd name="T6" fmla="*/ 81 w 86"/>
                  <a:gd name="T7" fmla="*/ 5 h 98"/>
                  <a:gd name="T8" fmla="*/ 45 w 86"/>
                  <a:gd name="T9" fmla="*/ 5 h 98"/>
                  <a:gd name="T10" fmla="*/ 43 w 86"/>
                  <a:gd name="T11" fmla="*/ 0 h 98"/>
                  <a:gd name="T12" fmla="*/ 42 w 86"/>
                  <a:gd name="T13" fmla="*/ 0 h 98"/>
                  <a:gd name="T14" fmla="*/ 40 w 86"/>
                  <a:gd name="T15" fmla="*/ 5 h 98"/>
                  <a:gd name="T16" fmla="*/ 5 w 86"/>
                  <a:gd name="T17" fmla="*/ 5 h 98"/>
                  <a:gd name="T18" fmla="*/ 0 w 86"/>
                  <a:gd name="T19" fmla="*/ 10 h 98"/>
                  <a:gd name="T20" fmla="*/ 5 w 86"/>
                  <a:gd name="T21" fmla="*/ 15 h 98"/>
                  <a:gd name="T22" fmla="*/ 5 w 86"/>
                  <a:gd name="T23" fmla="*/ 59 h 98"/>
                  <a:gd name="T24" fmla="*/ 0 w 86"/>
                  <a:gd name="T25" fmla="*/ 64 h 98"/>
                  <a:gd name="T26" fmla="*/ 5 w 86"/>
                  <a:gd name="T27" fmla="*/ 69 h 98"/>
                  <a:gd name="T28" fmla="*/ 39 w 86"/>
                  <a:gd name="T29" fmla="*/ 69 h 98"/>
                  <a:gd name="T30" fmla="*/ 39 w 86"/>
                  <a:gd name="T31" fmla="*/ 75 h 98"/>
                  <a:gd name="T32" fmla="*/ 21 w 86"/>
                  <a:gd name="T33" fmla="*/ 86 h 98"/>
                  <a:gd name="T34" fmla="*/ 23 w 86"/>
                  <a:gd name="T35" fmla="*/ 89 h 98"/>
                  <a:gd name="T36" fmla="*/ 39 w 86"/>
                  <a:gd name="T37" fmla="*/ 82 h 98"/>
                  <a:gd name="T38" fmla="*/ 39 w 86"/>
                  <a:gd name="T39" fmla="*/ 95 h 98"/>
                  <a:gd name="T40" fmla="*/ 42 w 86"/>
                  <a:gd name="T41" fmla="*/ 98 h 98"/>
                  <a:gd name="T42" fmla="*/ 46 w 86"/>
                  <a:gd name="T43" fmla="*/ 95 h 98"/>
                  <a:gd name="T44" fmla="*/ 46 w 86"/>
                  <a:gd name="T45" fmla="*/ 82 h 98"/>
                  <a:gd name="T46" fmla="*/ 62 w 86"/>
                  <a:gd name="T47" fmla="*/ 89 h 98"/>
                  <a:gd name="T48" fmla="*/ 64 w 86"/>
                  <a:gd name="T49" fmla="*/ 86 h 98"/>
                  <a:gd name="T50" fmla="*/ 46 w 86"/>
                  <a:gd name="T51" fmla="*/ 75 h 98"/>
                  <a:gd name="T52" fmla="*/ 46 w 86"/>
                  <a:gd name="T53" fmla="*/ 69 h 98"/>
                  <a:gd name="T54" fmla="*/ 81 w 86"/>
                  <a:gd name="T55" fmla="*/ 69 h 98"/>
                  <a:gd name="T56" fmla="*/ 86 w 86"/>
                  <a:gd name="T57" fmla="*/ 64 h 98"/>
                  <a:gd name="T58" fmla="*/ 81 w 86"/>
                  <a:gd name="T59" fmla="*/ 59 h 98"/>
                  <a:gd name="T60" fmla="*/ 75 w 86"/>
                  <a:gd name="T61" fmla="*/ 59 h 98"/>
                  <a:gd name="T62" fmla="*/ 11 w 86"/>
                  <a:gd name="T63" fmla="*/ 59 h 98"/>
                  <a:gd name="T64" fmla="*/ 11 w 86"/>
                  <a:gd name="T65" fmla="*/ 15 h 98"/>
                  <a:gd name="T66" fmla="*/ 75 w 86"/>
                  <a:gd name="T67" fmla="*/ 15 h 98"/>
                  <a:gd name="T68" fmla="*/ 75 w 86"/>
                  <a:gd name="T69" fmla="*/ 59 h 98"/>
                  <a:gd name="T70" fmla="*/ 54 w 86"/>
                  <a:gd name="T71" fmla="*/ 23 h 98"/>
                  <a:gd name="T72" fmla="*/ 45 w 86"/>
                  <a:gd name="T73" fmla="*/ 23 h 98"/>
                  <a:gd name="T74" fmla="*/ 45 w 86"/>
                  <a:gd name="T75" fmla="*/ 52 h 98"/>
                  <a:gd name="T76" fmla="*/ 54 w 86"/>
                  <a:gd name="T77" fmla="*/ 52 h 98"/>
                  <a:gd name="T78" fmla="*/ 54 w 86"/>
                  <a:gd name="T79" fmla="*/ 23 h 98"/>
                  <a:gd name="T80" fmla="*/ 67 w 86"/>
                  <a:gd name="T81" fmla="*/ 37 h 98"/>
                  <a:gd name="T82" fmla="*/ 58 w 86"/>
                  <a:gd name="T83" fmla="*/ 37 h 98"/>
                  <a:gd name="T84" fmla="*/ 58 w 86"/>
                  <a:gd name="T85" fmla="*/ 52 h 98"/>
                  <a:gd name="T86" fmla="*/ 67 w 86"/>
                  <a:gd name="T87" fmla="*/ 52 h 98"/>
                  <a:gd name="T88" fmla="*/ 67 w 86"/>
                  <a:gd name="T89" fmla="*/ 37 h 98"/>
                  <a:gd name="T90" fmla="*/ 28 w 86"/>
                  <a:gd name="T91" fmla="*/ 42 h 98"/>
                  <a:gd name="T92" fmla="*/ 19 w 86"/>
                  <a:gd name="T93" fmla="*/ 42 h 98"/>
                  <a:gd name="T94" fmla="*/ 19 w 86"/>
                  <a:gd name="T95" fmla="*/ 52 h 98"/>
                  <a:gd name="T96" fmla="*/ 28 w 86"/>
                  <a:gd name="T97" fmla="*/ 52 h 98"/>
                  <a:gd name="T98" fmla="*/ 28 w 86"/>
                  <a:gd name="T99" fmla="*/ 42 h 98"/>
                  <a:gd name="T100" fmla="*/ 41 w 86"/>
                  <a:gd name="T101" fmla="*/ 32 h 98"/>
                  <a:gd name="T102" fmla="*/ 32 w 86"/>
                  <a:gd name="T103" fmla="*/ 32 h 98"/>
                  <a:gd name="T104" fmla="*/ 32 w 86"/>
                  <a:gd name="T105" fmla="*/ 52 h 98"/>
                  <a:gd name="T106" fmla="*/ 41 w 86"/>
                  <a:gd name="T107" fmla="*/ 52 h 98"/>
                  <a:gd name="T108" fmla="*/ 41 w 86"/>
                  <a:gd name="T109" fmla="*/ 3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6" h="98">
                    <a:moveTo>
                      <a:pt x="81" y="59"/>
                    </a:moveTo>
                    <a:cubicBezTo>
                      <a:pt x="81" y="15"/>
                      <a:pt x="81" y="15"/>
                      <a:pt x="81" y="15"/>
                    </a:cubicBezTo>
                    <a:cubicBezTo>
                      <a:pt x="84" y="15"/>
                      <a:pt x="86" y="13"/>
                      <a:pt x="86" y="10"/>
                    </a:cubicBezTo>
                    <a:cubicBezTo>
                      <a:pt x="86" y="7"/>
                      <a:pt x="84" y="5"/>
                      <a:pt x="81" y="5"/>
                    </a:cubicBezTo>
                    <a:cubicBezTo>
                      <a:pt x="45" y="5"/>
                      <a:pt x="45" y="5"/>
                      <a:pt x="45" y="5"/>
                    </a:cubicBezTo>
                    <a:cubicBezTo>
                      <a:pt x="43" y="0"/>
                      <a:pt x="43" y="0"/>
                      <a:pt x="43" y="0"/>
                    </a:cubicBezTo>
                    <a:cubicBezTo>
                      <a:pt x="42" y="0"/>
                      <a:pt x="42" y="0"/>
                      <a:pt x="42" y="0"/>
                    </a:cubicBezTo>
                    <a:cubicBezTo>
                      <a:pt x="40" y="5"/>
                      <a:pt x="40" y="5"/>
                      <a:pt x="40" y="5"/>
                    </a:cubicBezTo>
                    <a:cubicBezTo>
                      <a:pt x="5" y="5"/>
                      <a:pt x="5" y="5"/>
                      <a:pt x="5" y="5"/>
                    </a:cubicBezTo>
                    <a:cubicBezTo>
                      <a:pt x="2" y="5"/>
                      <a:pt x="0" y="7"/>
                      <a:pt x="0" y="10"/>
                    </a:cubicBezTo>
                    <a:cubicBezTo>
                      <a:pt x="0" y="12"/>
                      <a:pt x="2" y="14"/>
                      <a:pt x="5" y="15"/>
                    </a:cubicBezTo>
                    <a:cubicBezTo>
                      <a:pt x="5" y="59"/>
                      <a:pt x="5" y="59"/>
                      <a:pt x="5" y="59"/>
                    </a:cubicBezTo>
                    <a:cubicBezTo>
                      <a:pt x="2" y="59"/>
                      <a:pt x="0" y="61"/>
                      <a:pt x="0" y="64"/>
                    </a:cubicBezTo>
                    <a:cubicBezTo>
                      <a:pt x="0" y="67"/>
                      <a:pt x="2" y="69"/>
                      <a:pt x="5" y="69"/>
                    </a:cubicBezTo>
                    <a:cubicBezTo>
                      <a:pt x="39" y="69"/>
                      <a:pt x="39" y="69"/>
                      <a:pt x="39" y="69"/>
                    </a:cubicBezTo>
                    <a:cubicBezTo>
                      <a:pt x="39" y="75"/>
                      <a:pt x="39" y="75"/>
                      <a:pt x="39" y="75"/>
                    </a:cubicBezTo>
                    <a:cubicBezTo>
                      <a:pt x="21" y="86"/>
                      <a:pt x="21" y="86"/>
                      <a:pt x="21" y="86"/>
                    </a:cubicBezTo>
                    <a:cubicBezTo>
                      <a:pt x="23" y="89"/>
                      <a:pt x="23" y="89"/>
                      <a:pt x="23" y="89"/>
                    </a:cubicBezTo>
                    <a:cubicBezTo>
                      <a:pt x="39" y="82"/>
                      <a:pt x="39" y="82"/>
                      <a:pt x="39" y="82"/>
                    </a:cubicBezTo>
                    <a:cubicBezTo>
                      <a:pt x="39" y="95"/>
                      <a:pt x="39" y="95"/>
                      <a:pt x="39" y="95"/>
                    </a:cubicBezTo>
                    <a:cubicBezTo>
                      <a:pt x="39" y="97"/>
                      <a:pt x="40" y="98"/>
                      <a:pt x="42" y="98"/>
                    </a:cubicBezTo>
                    <a:cubicBezTo>
                      <a:pt x="44" y="98"/>
                      <a:pt x="46" y="97"/>
                      <a:pt x="46" y="95"/>
                    </a:cubicBezTo>
                    <a:cubicBezTo>
                      <a:pt x="46" y="82"/>
                      <a:pt x="46" y="82"/>
                      <a:pt x="46" y="82"/>
                    </a:cubicBezTo>
                    <a:cubicBezTo>
                      <a:pt x="62" y="89"/>
                      <a:pt x="62" y="89"/>
                      <a:pt x="62" y="89"/>
                    </a:cubicBezTo>
                    <a:cubicBezTo>
                      <a:pt x="64" y="86"/>
                      <a:pt x="64" y="86"/>
                      <a:pt x="64" y="86"/>
                    </a:cubicBezTo>
                    <a:cubicBezTo>
                      <a:pt x="46" y="75"/>
                      <a:pt x="46" y="75"/>
                      <a:pt x="46" y="75"/>
                    </a:cubicBezTo>
                    <a:cubicBezTo>
                      <a:pt x="46" y="69"/>
                      <a:pt x="46" y="69"/>
                      <a:pt x="46" y="69"/>
                    </a:cubicBezTo>
                    <a:cubicBezTo>
                      <a:pt x="81" y="69"/>
                      <a:pt x="81" y="69"/>
                      <a:pt x="81" y="69"/>
                    </a:cubicBezTo>
                    <a:cubicBezTo>
                      <a:pt x="84" y="69"/>
                      <a:pt x="86" y="67"/>
                      <a:pt x="86" y="64"/>
                    </a:cubicBezTo>
                    <a:cubicBezTo>
                      <a:pt x="86" y="61"/>
                      <a:pt x="84" y="59"/>
                      <a:pt x="81" y="59"/>
                    </a:cubicBezTo>
                    <a:close/>
                    <a:moveTo>
                      <a:pt x="75" y="59"/>
                    </a:moveTo>
                    <a:cubicBezTo>
                      <a:pt x="11" y="59"/>
                      <a:pt x="11" y="59"/>
                      <a:pt x="11" y="59"/>
                    </a:cubicBezTo>
                    <a:cubicBezTo>
                      <a:pt x="11" y="15"/>
                      <a:pt x="11" y="15"/>
                      <a:pt x="11" y="15"/>
                    </a:cubicBezTo>
                    <a:cubicBezTo>
                      <a:pt x="75" y="15"/>
                      <a:pt x="75" y="15"/>
                      <a:pt x="75" y="15"/>
                    </a:cubicBezTo>
                    <a:lnTo>
                      <a:pt x="75" y="59"/>
                    </a:lnTo>
                    <a:close/>
                    <a:moveTo>
                      <a:pt x="54" y="23"/>
                    </a:moveTo>
                    <a:cubicBezTo>
                      <a:pt x="45" y="23"/>
                      <a:pt x="45" y="23"/>
                      <a:pt x="45" y="23"/>
                    </a:cubicBezTo>
                    <a:cubicBezTo>
                      <a:pt x="45" y="52"/>
                      <a:pt x="45" y="52"/>
                      <a:pt x="45" y="52"/>
                    </a:cubicBezTo>
                    <a:cubicBezTo>
                      <a:pt x="54" y="52"/>
                      <a:pt x="54" y="52"/>
                      <a:pt x="54" y="52"/>
                    </a:cubicBezTo>
                    <a:lnTo>
                      <a:pt x="54" y="23"/>
                    </a:lnTo>
                    <a:close/>
                    <a:moveTo>
                      <a:pt x="67" y="37"/>
                    </a:moveTo>
                    <a:cubicBezTo>
                      <a:pt x="58" y="37"/>
                      <a:pt x="58" y="37"/>
                      <a:pt x="58" y="37"/>
                    </a:cubicBezTo>
                    <a:cubicBezTo>
                      <a:pt x="58" y="52"/>
                      <a:pt x="58" y="52"/>
                      <a:pt x="58" y="52"/>
                    </a:cubicBezTo>
                    <a:cubicBezTo>
                      <a:pt x="67" y="52"/>
                      <a:pt x="67" y="52"/>
                      <a:pt x="67" y="52"/>
                    </a:cubicBezTo>
                    <a:lnTo>
                      <a:pt x="67" y="37"/>
                    </a:lnTo>
                    <a:close/>
                    <a:moveTo>
                      <a:pt x="28" y="42"/>
                    </a:moveTo>
                    <a:cubicBezTo>
                      <a:pt x="19" y="42"/>
                      <a:pt x="19" y="42"/>
                      <a:pt x="19" y="42"/>
                    </a:cubicBezTo>
                    <a:cubicBezTo>
                      <a:pt x="19" y="52"/>
                      <a:pt x="19" y="52"/>
                      <a:pt x="19" y="52"/>
                    </a:cubicBezTo>
                    <a:cubicBezTo>
                      <a:pt x="28" y="52"/>
                      <a:pt x="28" y="52"/>
                      <a:pt x="28" y="52"/>
                    </a:cubicBezTo>
                    <a:lnTo>
                      <a:pt x="28" y="42"/>
                    </a:lnTo>
                    <a:close/>
                    <a:moveTo>
                      <a:pt x="41" y="32"/>
                    </a:moveTo>
                    <a:cubicBezTo>
                      <a:pt x="32" y="32"/>
                      <a:pt x="32" y="32"/>
                      <a:pt x="32" y="32"/>
                    </a:cubicBezTo>
                    <a:cubicBezTo>
                      <a:pt x="32" y="52"/>
                      <a:pt x="32" y="52"/>
                      <a:pt x="32" y="52"/>
                    </a:cubicBezTo>
                    <a:cubicBezTo>
                      <a:pt x="41" y="52"/>
                      <a:pt x="41" y="52"/>
                      <a:pt x="41" y="52"/>
                    </a:cubicBezTo>
                    <a:lnTo>
                      <a:pt x="41" y="32"/>
                    </a:lnTo>
                    <a:close/>
                  </a:path>
                </a:pathLst>
              </a:custGeom>
              <a:solidFill>
                <a:srgbClr val="50E6FF"/>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5" name="Freeform 278">
                <a:extLst>
                  <a:ext uri="{FF2B5EF4-FFF2-40B4-BE49-F238E27FC236}">
                    <a16:creationId xmlns:a16="http://schemas.microsoft.com/office/drawing/2014/main" id="{D61DD9CE-9763-41D2-B58A-FB3DCA0B62BF}"/>
                  </a:ext>
                </a:extLst>
              </p:cNvPr>
              <p:cNvSpPr>
                <a:spLocks noEditPoints="1"/>
              </p:cNvSpPr>
              <p:nvPr/>
            </p:nvSpPr>
            <p:spPr bwMode="auto">
              <a:xfrm>
                <a:off x="9114537" y="10322451"/>
                <a:ext cx="309043" cy="355700"/>
              </a:xfrm>
              <a:custGeom>
                <a:avLst/>
                <a:gdLst>
                  <a:gd name="T0" fmla="*/ 79 w 79"/>
                  <a:gd name="T1" fmla="*/ 13 h 92"/>
                  <a:gd name="T2" fmla="*/ 79 w 79"/>
                  <a:gd name="T3" fmla="*/ 19 h 92"/>
                  <a:gd name="T4" fmla="*/ 40 w 79"/>
                  <a:gd name="T5" fmla="*/ 33 h 92"/>
                  <a:gd name="T6" fmla="*/ 0 w 79"/>
                  <a:gd name="T7" fmla="*/ 19 h 92"/>
                  <a:gd name="T8" fmla="*/ 0 w 79"/>
                  <a:gd name="T9" fmla="*/ 13 h 92"/>
                  <a:gd name="T10" fmla="*/ 40 w 79"/>
                  <a:gd name="T11" fmla="*/ 0 h 92"/>
                  <a:gd name="T12" fmla="*/ 79 w 79"/>
                  <a:gd name="T13" fmla="*/ 13 h 92"/>
                  <a:gd name="T14" fmla="*/ 79 w 79"/>
                  <a:gd name="T15" fmla="*/ 30 h 92"/>
                  <a:gd name="T16" fmla="*/ 79 w 79"/>
                  <a:gd name="T17" fmla="*/ 39 h 92"/>
                  <a:gd name="T18" fmla="*/ 40 w 79"/>
                  <a:gd name="T19" fmla="*/ 53 h 92"/>
                  <a:gd name="T20" fmla="*/ 0 w 79"/>
                  <a:gd name="T21" fmla="*/ 39 h 92"/>
                  <a:gd name="T22" fmla="*/ 0 w 79"/>
                  <a:gd name="T23" fmla="*/ 30 h 92"/>
                  <a:gd name="T24" fmla="*/ 40 w 79"/>
                  <a:gd name="T25" fmla="*/ 39 h 92"/>
                  <a:gd name="T26" fmla="*/ 79 w 79"/>
                  <a:gd name="T27" fmla="*/ 30 h 92"/>
                  <a:gd name="T28" fmla="*/ 79 w 79"/>
                  <a:gd name="T29" fmla="*/ 50 h 92"/>
                  <a:gd name="T30" fmla="*/ 79 w 79"/>
                  <a:gd name="T31" fmla="*/ 59 h 92"/>
                  <a:gd name="T32" fmla="*/ 40 w 79"/>
                  <a:gd name="T33" fmla="*/ 72 h 92"/>
                  <a:gd name="T34" fmla="*/ 0 w 79"/>
                  <a:gd name="T35" fmla="*/ 59 h 92"/>
                  <a:gd name="T36" fmla="*/ 0 w 79"/>
                  <a:gd name="T37" fmla="*/ 50 h 92"/>
                  <a:gd name="T38" fmla="*/ 40 w 79"/>
                  <a:gd name="T39" fmla="*/ 59 h 92"/>
                  <a:gd name="T40" fmla="*/ 79 w 79"/>
                  <a:gd name="T41" fmla="*/ 50 h 92"/>
                  <a:gd name="T42" fmla="*/ 79 w 79"/>
                  <a:gd name="T43" fmla="*/ 70 h 92"/>
                  <a:gd name="T44" fmla="*/ 79 w 79"/>
                  <a:gd name="T45" fmla="*/ 79 h 92"/>
                  <a:gd name="T46" fmla="*/ 40 w 79"/>
                  <a:gd name="T47" fmla="*/ 92 h 92"/>
                  <a:gd name="T48" fmla="*/ 0 w 79"/>
                  <a:gd name="T49" fmla="*/ 79 h 92"/>
                  <a:gd name="T50" fmla="*/ 0 w 79"/>
                  <a:gd name="T51" fmla="*/ 70 h 92"/>
                  <a:gd name="T52" fmla="*/ 40 w 79"/>
                  <a:gd name="T53" fmla="*/ 79 h 92"/>
                  <a:gd name="T54" fmla="*/ 79 w 79"/>
                  <a:gd name="T55" fmla="*/ 7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9" h="92">
                    <a:moveTo>
                      <a:pt x="79" y="13"/>
                    </a:moveTo>
                    <a:cubicBezTo>
                      <a:pt x="79" y="19"/>
                      <a:pt x="79" y="19"/>
                      <a:pt x="79" y="19"/>
                    </a:cubicBezTo>
                    <a:cubicBezTo>
                      <a:pt x="79" y="27"/>
                      <a:pt x="61" y="33"/>
                      <a:pt x="40" y="33"/>
                    </a:cubicBezTo>
                    <a:cubicBezTo>
                      <a:pt x="18" y="33"/>
                      <a:pt x="0" y="27"/>
                      <a:pt x="0" y="19"/>
                    </a:cubicBezTo>
                    <a:cubicBezTo>
                      <a:pt x="0" y="13"/>
                      <a:pt x="0" y="13"/>
                      <a:pt x="0" y="13"/>
                    </a:cubicBezTo>
                    <a:cubicBezTo>
                      <a:pt x="0" y="5"/>
                      <a:pt x="18" y="0"/>
                      <a:pt x="40" y="0"/>
                    </a:cubicBezTo>
                    <a:cubicBezTo>
                      <a:pt x="61" y="0"/>
                      <a:pt x="79" y="5"/>
                      <a:pt x="79" y="13"/>
                    </a:cubicBezTo>
                    <a:close/>
                    <a:moveTo>
                      <a:pt x="79" y="30"/>
                    </a:moveTo>
                    <a:cubicBezTo>
                      <a:pt x="79" y="39"/>
                      <a:pt x="79" y="39"/>
                      <a:pt x="79" y="39"/>
                    </a:cubicBezTo>
                    <a:cubicBezTo>
                      <a:pt x="79" y="47"/>
                      <a:pt x="61" y="53"/>
                      <a:pt x="40" y="53"/>
                    </a:cubicBezTo>
                    <a:cubicBezTo>
                      <a:pt x="18" y="53"/>
                      <a:pt x="0" y="47"/>
                      <a:pt x="0" y="39"/>
                    </a:cubicBezTo>
                    <a:cubicBezTo>
                      <a:pt x="0" y="30"/>
                      <a:pt x="0" y="30"/>
                      <a:pt x="0" y="30"/>
                    </a:cubicBezTo>
                    <a:cubicBezTo>
                      <a:pt x="8" y="37"/>
                      <a:pt x="24" y="39"/>
                      <a:pt x="40" y="39"/>
                    </a:cubicBezTo>
                    <a:cubicBezTo>
                      <a:pt x="55" y="39"/>
                      <a:pt x="71" y="37"/>
                      <a:pt x="79" y="30"/>
                    </a:cubicBezTo>
                    <a:close/>
                    <a:moveTo>
                      <a:pt x="79" y="50"/>
                    </a:moveTo>
                    <a:cubicBezTo>
                      <a:pt x="79" y="59"/>
                      <a:pt x="79" y="59"/>
                      <a:pt x="79" y="59"/>
                    </a:cubicBezTo>
                    <a:cubicBezTo>
                      <a:pt x="79" y="67"/>
                      <a:pt x="61" y="72"/>
                      <a:pt x="40" y="72"/>
                    </a:cubicBezTo>
                    <a:cubicBezTo>
                      <a:pt x="18" y="72"/>
                      <a:pt x="0" y="67"/>
                      <a:pt x="0" y="59"/>
                    </a:cubicBezTo>
                    <a:cubicBezTo>
                      <a:pt x="0" y="50"/>
                      <a:pt x="0" y="50"/>
                      <a:pt x="0" y="50"/>
                    </a:cubicBezTo>
                    <a:cubicBezTo>
                      <a:pt x="8" y="56"/>
                      <a:pt x="24" y="59"/>
                      <a:pt x="40" y="59"/>
                    </a:cubicBezTo>
                    <a:cubicBezTo>
                      <a:pt x="55" y="59"/>
                      <a:pt x="71" y="56"/>
                      <a:pt x="79" y="50"/>
                    </a:cubicBezTo>
                    <a:close/>
                    <a:moveTo>
                      <a:pt x="79" y="70"/>
                    </a:moveTo>
                    <a:cubicBezTo>
                      <a:pt x="79" y="79"/>
                      <a:pt x="79" y="79"/>
                      <a:pt x="79" y="79"/>
                    </a:cubicBezTo>
                    <a:cubicBezTo>
                      <a:pt x="79" y="86"/>
                      <a:pt x="61" y="92"/>
                      <a:pt x="40" y="92"/>
                    </a:cubicBezTo>
                    <a:cubicBezTo>
                      <a:pt x="18" y="92"/>
                      <a:pt x="0" y="86"/>
                      <a:pt x="0" y="79"/>
                    </a:cubicBezTo>
                    <a:cubicBezTo>
                      <a:pt x="0" y="70"/>
                      <a:pt x="0" y="70"/>
                      <a:pt x="0" y="70"/>
                    </a:cubicBezTo>
                    <a:cubicBezTo>
                      <a:pt x="8" y="76"/>
                      <a:pt x="24" y="79"/>
                      <a:pt x="40" y="79"/>
                    </a:cubicBezTo>
                    <a:cubicBezTo>
                      <a:pt x="55" y="79"/>
                      <a:pt x="71" y="76"/>
                      <a:pt x="79" y="70"/>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84" name="Freeform 354">
                <a:extLst>
                  <a:ext uri="{FF2B5EF4-FFF2-40B4-BE49-F238E27FC236}">
                    <a16:creationId xmlns:a16="http://schemas.microsoft.com/office/drawing/2014/main" id="{53D2B437-BA2E-4384-AB81-CD8FE4AA790C}"/>
                  </a:ext>
                </a:extLst>
              </p:cNvPr>
              <p:cNvSpPr>
                <a:spLocks noEditPoints="1"/>
              </p:cNvSpPr>
              <p:nvPr/>
            </p:nvSpPr>
            <p:spPr bwMode="auto">
              <a:xfrm>
                <a:off x="9121927" y="9596911"/>
                <a:ext cx="294263" cy="364568"/>
              </a:xfrm>
              <a:custGeom>
                <a:avLst/>
                <a:gdLst>
                  <a:gd name="T0" fmla="*/ 93 w 115"/>
                  <a:gd name="T1" fmla="*/ 47 h 145"/>
                  <a:gd name="T2" fmla="*/ 74 w 115"/>
                  <a:gd name="T3" fmla="*/ 44 h 145"/>
                  <a:gd name="T4" fmla="*/ 64 w 115"/>
                  <a:gd name="T5" fmla="*/ 26 h 145"/>
                  <a:gd name="T6" fmla="*/ 89 w 115"/>
                  <a:gd name="T7" fmla="*/ 21 h 145"/>
                  <a:gd name="T8" fmla="*/ 93 w 115"/>
                  <a:gd name="T9" fmla="*/ 47 h 145"/>
                  <a:gd name="T10" fmla="*/ 112 w 115"/>
                  <a:gd name="T11" fmla="*/ 36 h 145"/>
                  <a:gd name="T12" fmla="*/ 68 w 115"/>
                  <a:gd name="T13" fmla="*/ 4 h 145"/>
                  <a:gd name="T14" fmla="*/ 34 w 115"/>
                  <a:gd name="T15" fmla="*/ 46 h 145"/>
                  <a:gd name="T16" fmla="*/ 39 w 115"/>
                  <a:gd name="T17" fmla="*/ 63 h 145"/>
                  <a:gd name="T18" fmla="*/ 2 w 115"/>
                  <a:gd name="T19" fmla="*/ 119 h 145"/>
                  <a:gd name="T20" fmla="*/ 0 w 115"/>
                  <a:gd name="T21" fmla="*/ 127 h 145"/>
                  <a:gd name="T22" fmla="*/ 2 w 115"/>
                  <a:gd name="T23" fmla="*/ 141 h 145"/>
                  <a:gd name="T24" fmla="*/ 8 w 115"/>
                  <a:gd name="T25" fmla="*/ 145 h 145"/>
                  <a:gd name="T26" fmla="*/ 18 w 115"/>
                  <a:gd name="T27" fmla="*/ 143 h 145"/>
                  <a:gd name="T28" fmla="*/ 25 w 115"/>
                  <a:gd name="T29" fmla="*/ 138 h 145"/>
                  <a:gd name="T30" fmla="*/ 40 w 115"/>
                  <a:gd name="T31" fmla="*/ 114 h 145"/>
                  <a:gd name="T32" fmla="*/ 40 w 115"/>
                  <a:gd name="T33" fmla="*/ 114 h 145"/>
                  <a:gd name="T34" fmla="*/ 50 w 115"/>
                  <a:gd name="T35" fmla="*/ 112 h 145"/>
                  <a:gd name="T36" fmla="*/ 67 w 115"/>
                  <a:gd name="T37" fmla="*/ 84 h 145"/>
                  <a:gd name="T38" fmla="*/ 86 w 115"/>
                  <a:gd name="T39" fmla="*/ 84 h 145"/>
                  <a:gd name="T40" fmla="*/ 112 w 115"/>
                  <a:gd name="T41" fmla="*/ 36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5" h="145">
                    <a:moveTo>
                      <a:pt x="93" y="47"/>
                    </a:moveTo>
                    <a:cubicBezTo>
                      <a:pt x="88" y="56"/>
                      <a:pt x="82" y="50"/>
                      <a:pt x="74" y="44"/>
                    </a:cubicBezTo>
                    <a:cubicBezTo>
                      <a:pt x="66" y="38"/>
                      <a:pt x="59" y="34"/>
                      <a:pt x="64" y="26"/>
                    </a:cubicBezTo>
                    <a:cubicBezTo>
                      <a:pt x="70" y="17"/>
                      <a:pt x="81" y="15"/>
                      <a:pt x="89" y="21"/>
                    </a:cubicBezTo>
                    <a:cubicBezTo>
                      <a:pt x="97" y="27"/>
                      <a:pt x="99" y="39"/>
                      <a:pt x="93" y="47"/>
                    </a:cubicBezTo>
                    <a:close/>
                    <a:moveTo>
                      <a:pt x="112" y="36"/>
                    </a:moveTo>
                    <a:cubicBezTo>
                      <a:pt x="108" y="15"/>
                      <a:pt x="88" y="0"/>
                      <a:pt x="68" y="4"/>
                    </a:cubicBezTo>
                    <a:cubicBezTo>
                      <a:pt x="47" y="8"/>
                      <a:pt x="30" y="24"/>
                      <a:pt x="34" y="46"/>
                    </a:cubicBezTo>
                    <a:cubicBezTo>
                      <a:pt x="34" y="51"/>
                      <a:pt x="37" y="58"/>
                      <a:pt x="39" y="63"/>
                    </a:cubicBezTo>
                    <a:cubicBezTo>
                      <a:pt x="2" y="119"/>
                      <a:pt x="2" y="119"/>
                      <a:pt x="2" y="119"/>
                    </a:cubicBezTo>
                    <a:cubicBezTo>
                      <a:pt x="0" y="121"/>
                      <a:pt x="0" y="124"/>
                      <a:pt x="0" y="127"/>
                    </a:cubicBezTo>
                    <a:cubicBezTo>
                      <a:pt x="2" y="141"/>
                      <a:pt x="2" y="141"/>
                      <a:pt x="2" y="141"/>
                    </a:cubicBezTo>
                    <a:cubicBezTo>
                      <a:pt x="3" y="144"/>
                      <a:pt x="5" y="145"/>
                      <a:pt x="8" y="145"/>
                    </a:cubicBezTo>
                    <a:cubicBezTo>
                      <a:pt x="18" y="143"/>
                      <a:pt x="18" y="143"/>
                      <a:pt x="18" y="143"/>
                    </a:cubicBezTo>
                    <a:cubicBezTo>
                      <a:pt x="21" y="142"/>
                      <a:pt x="24" y="140"/>
                      <a:pt x="25" y="138"/>
                    </a:cubicBezTo>
                    <a:cubicBezTo>
                      <a:pt x="40" y="114"/>
                      <a:pt x="40" y="114"/>
                      <a:pt x="40" y="114"/>
                    </a:cubicBezTo>
                    <a:cubicBezTo>
                      <a:pt x="40" y="114"/>
                      <a:pt x="40" y="114"/>
                      <a:pt x="40" y="114"/>
                    </a:cubicBezTo>
                    <a:cubicBezTo>
                      <a:pt x="50" y="112"/>
                      <a:pt x="50" y="112"/>
                      <a:pt x="50" y="112"/>
                    </a:cubicBezTo>
                    <a:cubicBezTo>
                      <a:pt x="67" y="84"/>
                      <a:pt x="67" y="84"/>
                      <a:pt x="67" y="84"/>
                    </a:cubicBezTo>
                    <a:cubicBezTo>
                      <a:pt x="73" y="85"/>
                      <a:pt x="81" y="85"/>
                      <a:pt x="86" y="84"/>
                    </a:cubicBezTo>
                    <a:cubicBezTo>
                      <a:pt x="106" y="80"/>
                      <a:pt x="115" y="58"/>
                      <a:pt x="112" y="36"/>
                    </a:cubicBezTo>
                    <a:close/>
                  </a:path>
                </a:pathLst>
              </a:custGeom>
              <a:solidFill>
                <a:srgbClr val="50E6FF"/>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4" name="Freeform 370">
                <a:extLst>
                  <a:ext uri="{FF2B5EF4-FFF2-40B4-BE49-F238E27FC236}">
                    <a16:creationId xmlns:a16="http://schemas.microsoft.com/office/drawing/2014/main" id="{A95AAAD0-9538-44D6-BBF0-AC5AED52A288}"/>
                  </a:ext>
                </a:extLst>
              </p:cNvPr>
              <p:cNvSpPr>
                <a:spLocks noEditPoints="1"/>
              </p:cNvSpPr>
              <p:nvPr/>
            </p:nvSpPr>
            <p:spPr bwMode="auto">
              <a:xfrm>
                <a:off x="9023491" y="7057068"/>
                <a:ext cx="491135" cy="487491"/>
              </a:xfrm>
              <a:custGeom>
                <a:avLst/>
                <a:gdLst>
                  <a:gd name="T0" fmla="*/ 57 w 65"/>
                  <a:gd name="T1" fmla="*/ 61 h 65"/>
                  <a:gd name="T2" fmla="*/ 52 w 65"/>
                  <a:gd name="T3" fmla="*/ 57 h 65"/>
                  <a:gd name="T4" fmla="*/ 57 w 65"/>
                  <a:gd name="T5" fmla="*/ 52 h 65"/>
                  <a:gd name="T6" fmla="*/ 62 w 65"/>
                  <a:gd name="T7" fmla="*/ 57 h 65"/>
                  <a:gd name="T8" fmla="*/ 57 w 65"/>
                  <a:gd name="T9" fmla="*/ 61 h 65"/>
                  <a:gd name="T10" fmla="*/ 37 w 65"/>
                  <a:gd name="T11" fmla="*/ 57 h 65"/>
                  <a:gd name="T12" fmla="*/ 33 w 65"/>
                  <a:gd name="T13" fmla="*/ 61 h 65"/>
                  <a:gd name="T14" fmla="*/ 28 w 65"/>
                  <a:gd name="T15" fmla="*/ 57 h 65"/>
                  <a:gd name="T16" fmla="*/ 33 w 65"/>
                  <a:gd name="T17" fmla="*/ 52 h 65"/>
                  <a:gd name="T18" fmla="*/ 37 w 65"/>
                  <a:gd name="T19" fmla="*/ 57 h 65"/>
                  <a:gd name="T20" fmla="*/ 28 w 65"/>
                  <a:gd name="T21" fmla="*/ 8 h 65"/>
                  <a:gd name="T22" fmla="*/ 33 w 65"/>
                  <a:gd name="T23" fmla="*/ 3 h 65"/>
                  <a:gd name="T24" fmla="*/ 37 w 65"/>
                  <a:gd name="T25" fmla="*/ 8 h 65"/>
                  <a:gd name="T26" fmla="*/ 33 w 65"/>
                  <a:gd name="T27" fmla="*/ 13 h 65"/>
                  <a:gd name="T28" fmla="*/ 28 w 65"/>
                  <a:gd name="T29" fmla="*/ 8 h 65"/>
                  <a:gd name="T30" fmla="*/ 13 w 65"/>
                  <a:gd name="T31" fmla="*/ 57 h 65"/>
                  <a:gd name="T32" fmla="*/ 8 w 65"/>
                  <a:gd name="T33" fmla="*/ 61 h 65"/>
                  <a:gd name="T34" fmla="*/ 4 w 65"/>
                  <a:gd name="T35" fmla="*/ 57 h 65"/>
                  <a:gd name="T36" fmla="*/ 8 w 65"/>
                  <a:gd name="T37" fmla="*/ 52 h 65"/>
                  <a:gd name="T38" fmla="*/ 13 w 65"/>
                  <a:gd name="T39" fmla="*/ 57 h 65"/>
                  <a:gd name="T40" fmla="*/ 60 w 65"/>
                  <a:gd name="T41" fmla="*/ 49 h 65"/>
                  <a:gd name="T42" fmla="*/ 60 w 65"/>
                  <a:gd name="T43" fmla="*/ 41 h 65"/>
                  <a:gd name="T44" fmla="*/ 48 w 65"/>
                  <a:gd name="T45" fmla="*/ 29 h 65"/>
                  <a:gd name="T46" fmla="*/ 41 w 65"/>
                  <a:gd name="T47" fmla="*/ 29 h 65"/>
                  <a:gd name="T48" fmla="*/ 36 w 65"/>
                  <a:gd name="T49" fmla="*/ 25 h 65"/>
                  <a:gd name="T50" fmla="*/ 36 w 65"/>
                  <a:gd name="T51" fmla="*/ 16 h 65"/>
                  <a:gd name="T52" fmla="*/ 41 w 65"/>
                  <a:gd name="T53" fmla="*/ 8 h 65"/>
                  <a:gd name="T54" fmla="*/ 33 w 65"/>
                  <a:gd name="T55" fmla="*/ 0 h 65"/>
                  <a:gd name="T56" fmla="*/ 24 w 65"/>
                  <a:gd name="T57" fmla="*/ 8 h 65"/>
                  <a:gd name="T58" fmla="*/ 29 w 65"/>
                  <a:gd name="T59" fmla="*/ 16 h 65"/>
                  <a:gd name="T60" fmla="*/ 29 w 65"/>
                  <a:gd name="T61" fmla="*/ 25 h 65"/>
                  <a:gd name="T62" fmla="*/ 24 w 65"/>
                  <a:gd name="T63" fmla="*/ 29 h 65"/>
                  <a:gd name="T64" fmla="*/ 17 w 65"/>
                  <a:gd name="T65" fmla="*/ 29 h 65"/>
                  <a:gd name="T66" fmla="*/ 5 w 65"/>
                  <a:gd name="T67" fmla="*/ 41 h 65"/>
                  <a:gd name="T68" fmla="*/ 5 w 65"/>
                  <a:gd name="T69" fmla="*/ 49 h 65"/>
                  <a:gd name="T70" fmla="*/ 0 w 65"/>
                  <a:gd name="T71" fmla="*/ 57 h 65"/>
                  <a:gd name="T72" fmla="*/ 8 w 65"/>
                  <a:gd name="T73" fmla="*/ 65 h 65"/>
                  <a:gd name="T74" fmla="*/ 17 w 65"/>
                  <a:gd name="T75" fmla="*/ 57 h 65"/>
                  <a:gd name="T76" fmla="*/ 12 w 65"/>
                  <a:gd name="T77" fmla="*/ 49 h 65"/>
                  <a:gd name="T78" fmla="*/ 12 w 65"/>
                  <a:gd name="T79" fmla="*/ 41 h 65"/>
                  <a:gd name="T80" fmla="*/ 17 w 65"/>
                  <a:gd name="T81" fmla="*/ 36 h 65"/>
                  <a:gd name="T82" fmla="*/ 24 w 65"/>
                  <a:gd name="T83" fmla="*/ 36 h 65"/>
                  <a:gd name="T84" fmla="*/ 29 w 65"/>
                  <a:gd name="T85" fmla="*/ 35 h 65"/>
                  <a:gd name="T86" fmla="*/ 29 w 65"/>
                  <a:gd name="T87" fmla="*/ 49 h 65"/>
                  <a:gd name="T88" fmla="*/ 24 w 65"/>
                  <a:gd name="T89" fmla="*/ 57 h 65"/>
                  <a:gd name="T90" fmla="*/ 33 w 65"/>
                  <a:gd name="T91" fmla="*/ 65 h 65"/>
                  <a:gd name="T92" fmla="*/ 41 w 65"/>
                  <a:gd name="T93" fmla="*/ 57 h 65"/>
                  <a:gd name="T94" fmla="*/ 36 w 65"/>
                  <a:gd name="T95" fmla="*/ 49 h 65"/>
                  <a:gd name="T96" fmla="*/ 36 w 65"/>
                  <a:gd name="T97" fmla="*/ 35 h 65"/>
                  <a:gd name="T98" fmla="*/ 41 w 65"/>
                  <a:gd name="T99" fmla="*/ 36 h 65"/>
                  <a:gd name="T100" fmla="*/ 48 w 65"/>
                  <a:gd name="T101" fmla="*/ 36 h 65"/>
                  <a:gd name="T102" fmla="*/ 54 w 65"/>
                  <a:gd name="T103" fmla="*/ 41 h 65"/>
                  <a:gd name="T104" fmla="*/ 54 w 65"/>
                  <a:gd name="T105" fmla="*/ 49 h 65"/>
                  <a:gd name="T106" fmla="*/ 49 w 65"/>
                  <a:gd name="T107" fmla="*/ 57 h 65"/>
                  <a:gd name="T108" fmla="*/ 57 w 65"/>
                  <a:gd name="T109" fmla="*/ 65 h 65"/>
                  <a:gd name="T110" fmla="*/ 65 w 65"/>
                  <a:gd name="T111" fmla="*/ 57 h 65"/>
                  <a:gd name="T112" fmla="*/ 60 w 65"/>
                  <a:gd name="T113" fmla="*/ 4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5" h="65">
                    <a:moveTo>
                      <a:pt x="57" y="61"/>
                    </a:moveTo>
                    <a:cubicBezTo>
                      <a:pt x="54" y="61"/>
                      <a:pt x="52" y="59"/>
                      <a:pt x="52" y="57"/>
                    </a:cubicBezTo>
                    <a:cubicBezTo>
                      <a:pt x="52" y="54"/>
                      <a:pt x="54" y="52"/>
                      <a:pt x="57" y="52"/>
                    </a:cubicBezTo>
                    <a:cubicBezTo>
                      <a:pt x="60" y="52"/>
                      <a:pt x="62" y="54"/>
                      <a:pt x="62" y="57"/>
                    </a:cubicBezTo>
                    <a:cubicBezTo>
                      <a:pt x="62" y="59"/>
                      <a:pt x="60" y="61"/>
                      <a:pt x="57" y="61"/>
                    </a:cubicBezTo>
                    <a:close/>
                    <a:moveTo>
                      <a:pt x="37" y="57"/>
                    </a:moveTo>
                    <a:cubicBezTo>
                      <a:pt x="37" y="59"/>
                      <a:pt x="35" y="61"/>
                      <a:pt x="33" y="61"/>
                    </a:cubicBezTo>
                    <a:cubicBezTo>
                      <a:pt x="30" y="61"/>
                      <a:pt x="28" y="59"/>
                      <a:pt x="28" y="57"/>
                    </a:cubicBezTo>
                    <a:cubicBezTo>
                      <a:pt x="28" y="54"/>
                      <a:pt x="30" y="52"/>
                      <a:pt x="33" y="52"/>
                    </a:cubicBezTo>
                    <a:cubicBezTo>
                      <a:pt x="35" y="52"/>
                      <a:pt x="37" y="54"/>
                      <a:pt x="37" y="57"/>
                    </a:cubicBezTo>
                    <a:close/>
                    <a:moveTo>
                      <a:pt x="28" y="8"/>
                    </a:moveTo>
                    <a:cubicBezTo>
                      <a:pt x="28" y="5"/>
                      <a:pt x="30" y="3"/>
                      <a:pt x="33" y="3"/>
                    </a:cubicBezTo>
                    <a:cubicBezTo>
                      <a:pt x="35" y="3"/>
                      <a:pt x="37" y="5"/>
                      <a:pt x="37" y="8"/>
                    </a:cubicBezTo>
                    <a:cubicBezTo>
                      <a:pt x="37" y="11"/>
                      <a:pt x="35" y="13"/>
                      <a:pt x="33" y="13"/>
                    </a:cubicBezTo>
                    <a:cubicBezTo>
                      <a:pt x="30" y="13"/>
                      <a:pt x="28" y="11"/>
                      <a:pt x="28" y="8"/>
                    </a:cubicBezTo>
                    <a:close/>
                    <a:moveTo>
                      <a:pt x="13" y="57"/>
                    </a:moveTo>
                    <a:cubicBezTo>
                      <a:pt x="13" y="59"/>
                      <a:pt x="11" y="61"/>
                      <a:pt x="8" y="61"/>
                    </a:cubicBezTo>
                    <a:cubicBezTo>
                      <a:pt x="6" y="61"/>
                      <a:pt x="4" y="59"/>
                      <a:pt x="4" y="57"/>
                    </a:cubicBezTo>
                    <a:cubicBezTo>
                      <a:pt x="4" y="54"/>
                      <a:pt x="6" y="52"/>
                      <a:pt x="8" y="52"/>
                    </a:cubicBezTo>
                    <a:cubicBezTo>
                      <a:pt x="11" y="52"/>
                      <a:pt x="13" y="54"/>
                      <a:pt x="13" y="57"/>
                    </a:cubicBezTo>
                    <a:close/>
                    <a:moveTo>
                      <a:pt x="60" y="49"/>
                    </a:moveTo>
                    <a:cubicBezTo>
                      <a:pt x="60" y="41"/>
                      <a:pt x="60" y="41"/>
                      <a:pt x="60" y="41"/>
                    </a:cubicBezTo>
                    <a:cubicBezTo>
                      <a:pt x="60" y="36"/>
                      <a:pt x="57" y="29"/>
                      <a:pt x="48" y="29"/>
                    </a:cubicBezTo>
                    <a:cubicBezTo>
                      <a:pt x="41" y="29"/>
                      <a:pt x="41" y="29"/>
                      <a:pt x="41" y="29"/>
                    </a:cubicBezTo>
                    <a:cubicBezTo>
                      <a:pt x="36" y="29"/>
                      <a:pt x="36" y="27"/>
                      <a:pt x="36" y="25"/>
                    </a:cubicBezTo>
                    <a:cubicBezTo>
                      <a:pt x="36" y="16"/>
                      <a:pt x="36" y="16"/>
                      <a:pt x="36" y="16"/>
                    </a:cubicBezTo>
                    <a:cubicBezTo>
                      <a:pt x="39" y="14"/>
                      <a:pt x="41" y="11"/>
                      <a:pt x="41" y="8"/>
                    </a:cubicBezTo>
                    <a:cubicBezTo>
                      <a:pt x="41" y="3"/>
                      <a:pt x="37" y="0"/>
                      <a:pt x="33" y="0"/>
                    </a:cubicBezTo>
                    <a:cubicBezTo>
                      <a:pt x="28" y="0"/>
                      <a:pt x="24" y="3"/>
                      <a:pt x="24" y="8"/>
                    </a:cubicBezTo>
                    <a:cubicBezTo>
                      <a:pt x="24" y="11"/>
                      <a:pt x="26" y="14"/>
                      <a:pt x="29" y="16"/>
                    </a:cubicBezTo>
                    <a:cubicBezTo>
                      <a:pt x="29" y="25"/>
                      <a:pt x="29" y="25"/>
                      <a:pt x="29" y="25"/>
                    </a:cubicBezTo>
                    <a:cubicBezTo>
                      <a:pt x="29" y="26"/>
                      <a:pt x="29" y="29"/>
                      <a:pt x="24" y="29"/>
                    </a:cubicBezTo>
                    <a:cubicBezTo>
                      <a:pt x="17" y="29"/>
                      <a:pt x="17" y="29"/>
                      <a:pt x="17" y="29"/>
                    </a:cubicBezTo>
                    <a:cubicBezTo>
                      <a:pt x="8" y="29"/>
                      <a:pt x="5" y="36"/>
                      <a:pt x="5" y="41"/>
                    </a:cubicBezTo>
                    <a:cubicBezTo>
                      <a:pt x="5" y="49"/>
                      <a:pt x="5" y="49"/>
                      <a:pt x="5" y="49"/>
                    </a:cubicBezTo>
                    <a:cubicBezTo>
                      <a:pt x="2" y="50"/>
                      <a:pt x="0" y="53"/>
                      <a:pt x="0" y="57"/>
                    </a:cubicBezTo>
                    <a:cubicBezTo>
                      <a:pt x="0" y="61"/>
                      <a:pt x="4" y="65"/>
                      <a:pt x="8" y="65"/>
                    </a:cubicBezTo>
                    <a:cubicBezTo>
                      <a:pt x="13" y="65"/>
                      <a:pt x="17" y="61"/>
                      <a:pt x="17" y="57"/>
                    </a:cubicBezTo>
                    <a:cubicBezTo>
                      <a:pt x="17" y="53"/>
                      <a:pt x="15" y="50"/>
                      <a:pt x="12" y="49"/>
                    </a:cubicBezTo>
                    <a:cubicBezTo>
                      <a:pt x="12" y="41"/>
                      <a:pt x="12" y="41"/>
                      <a:pt x="12" y="41"/>
                    </a:cubicBezTo>
                    <a:cubicBezTo>
                      <a:pt x="12" y="40"/>
                      <a:pt x="12" y="36"/>
                      <a:pt x="17" y="36"/>
                    </a:cubicBezTo>
                    <a:cubicBezTo>
                      <a:pt x="24" y="36"/>
                      <a:pt x="24" y="36"/>
                      <a:pt x="24" y="36"/>
                    </a:cubicBezTo>
                    <a:cubicBezTo>
                      <a:pt x="26" y="36"/>
                      <a:pt x="28" y="35"/>
                      <a:pt x="29" y="35"/>
                    </a:cubicBezTo>
                    <a:cubicBezTo>
                      <a:pt x="29" y="49"/>
                      <a:pt x="29" y="49"/>
                      <a:pt x="29" y="49"/>
                    </a:cubicBezTo>
                    <a:cubicBezTo>
                      <a:pt x="26" y="50"/>
                      <a:pt x="24" y="53"/>
                      <a:pt x="24" y="57"/>
                    </a:cubicBezTo>
                    <a:cubicBezTo>
                      <a:pt x="24" y="61"/>
                      <a:pt x="28" y="65"/>
                      <a:pt x="33" y="65"/>
                    </a:cubicBezTo>
                    <a:cubicBezTo>
                      <a:pt x="37" y="65"/>
                      <a:pt x="41" y="61"/>
                      <a:pt x="41" y="57"/>
                    </a:cubicBezTo>
                    <a:cubicBezTo>
                      <a:pt x="41" y="53"/>
                      <a:pt x="39" y="50"/>
                      <a:pt x="36" y="49"/>
                    </a:cubicBezTo>
                    <a:cubicBezTo>
                      <a:pt x="36" y="35"/>
                      <a:pt x="36" y="35"/>
                      <a:pt x="36" y="35"/>
                    </a:cubicBezTo>
                    <a:cubicBezTo>
                      <a:pt x="37" y="35"/>
                      <a:pt x="39" y="36"/>
                      <a:pt x="41" y="36"/>
                    </a:cubicBezTo>
                    <a:cubicBezTo>
                      <a:pt x="48" y="36"/>
                      <a:pt x="48" y="36"/>
                      <a:pt x="48" y="36"/>
                    </a:cubicBezTo>
                    <a:cubicBezTo>
                      <a:pt x="53" y="36"/>
                      <a:pt x="54" y="40"/>
                      <a:pt x="54" y="41"/>
                    </a:cubicBezTo>
                    <a:cubicBezTo>
                      <a:pt x="54" y="49"/>
                      <a:pt x="54" y="49"/>
                      <a:pt x="54" y="49"/>
                    </a:cubicBezTo>
                    <a:cubicBezTo>
                      <a:pt x="51" y="50"/>
                      <a:pt x="49" y="53"/>
                      <a:pt x="49" y="57"/>
                    </a:cubicBezTo>
                    <a:cubicBezTo>
                      <a:pt x="49" y="61"/>
                      <a:pt x="52" y="65"/>
                      <a:pt x="57" y="65"/>
                    </a:cubicBezTo>
                    <a:cubicBezTo>
                      <a:pt x="62" y="65"/>
                      <a:pt x="65" y="61"/>
                      <a:pt x="65" y="57"/>
                    </a:cubicBezTo>
                    <a:cubicBezTo>
                      <a:pt x="65" y="53"/>
                      <a:pt x="63" y="50"/>
                      <a:pt x="60" y="49"/>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00" name="Freeform 376">
                <a:extLst>
                  <a:ext uri="{FF2B5EF4-FFF2-40B4-BE49-F238E27FC236}">
                    <a16:creationId xmlns:a16="http://schemas.microsoft.com/office/drawing/2014/main" id="{080877BD-5084-49B8-8D9D-11C64C095CF7}"/>
                  </a:ext>
                </a:extLst>
              </p:cNvPr>
              <p:cNvSpPr>
                <a:spLocks noEditPoints="1"/>
              </p:cNvSpPr>
              <p:nvPr/>
            </p:nvSpPr>
            <p:spPr bwMode="auto">
              <a:xfrm>
                <a:off x="9141521" y="12954102"/>
                <a:ext cx="255075" cy="405092"/>
              </a:xfrm>
              <a:custGeom>
                <a:avLst/>
                <a:gdLst>
                  <a:gd name="T0" fmla="*/ 27 w 55"/>
                  <a:gd name="T1" fmla="*/ 44 h 88"/>
                  <a:gd name="T2" fmla="*/ 12 w 55"/>
                  <a:gd name="T3" fmla="*/ 28 h 88"/>
                  <a:gd name="T4" fmla="*/ 27 w 55"/>
                  <a:gd name="T5" fmla="*/ 12 h 88"/>
                  <a:gd name="T6" fmla="*/ 43 w 55"/>
                  <a:gd name="T7" fmla="*/ 28 h 88"/>
                  <a:gd name="T8" fmla="*/ 27 w 55"/>
                  <a:gd name="T9" fmla="*/ 44 h 88"/>
                  <a:gd name="T10" fmla="*/ 27 w 55"/>
                  <a:gd name="T11" fmla="*/ 0 h 88"/>
                  <a:gd name="T12" fmla="*/ 0 w 55"/>
                  <a:gd name="T13" fmla="*/ 28 h 88"/>
                  <a:gd name="T14" fmla="*/ 27 w 55"/>
                  <a:gd name="T15" fmla="*/ 88 h 88"/>
                  <a:gd name="T16" fmla="*/ 55 w 55"/>
                  <a:gd name="T17" fmla="*/ 28 h 88"/>
                  <a:gd name="T18" fmla="*/ 27 w 55"/>
                  <a:gd name="T19"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88">
                    <a:moveTo>
                      <a:pt x="27" y="44"/>
                    </a:moveTo>
                    <a:cubicBezTo>
                      <a:pt x="19" y="44"/>
                      <a:pt x="12" y="37"/>
                      <a:pt x="12" y="28"/>
                    </a:cubicBezTo>
                    <a:cubicBezTo>
                      <a:pt x="12" y="19"/>
                      <a:pt x="19" y="12"/>
                      <a:pt x="27" y="12"/>
                    </a:cubicBezTo>
                    <a:cubicBezTo>
                      <a:pt x="36" y="12"/>
                      <a:pt x="43" y="19"/>
                      <a:pt x="43" y="28"/>
                    </a:cubicBezTo>
                    <a:cubicBezTo>
                      <a:pt x="43" y="37"/>
                      <a:pt x="36" y="44"/>
                      <a:pt x="27" y="44"/>
                    </a:cubicBezTo>
                    <a:close/>
                    <a:moveTo>
                      <a:pt x="27" y="0"/>
                    </a:moveTo>
                    <a:cubicBezTo>
                      <a:pt x="12" y="0"/>
                      <a:pt x="0" y="13"/>
                      <a:pt x="0" y="28"/>
                    </a:cubicBezTo>
                    <a:cubicBezTo>
                      <a:pt x="0" y="54"/>
                      <a:pt x="27" y="88"/>
                      <a:pt x="27" y="88"/>
                    </a:cubicBezTo>
                    <a:cubicBezTo>
                      <a:pt x="27" y="88"/>
                      <a:pt x="55" y="54"/>
                      <a:pt x="55" y="28"/>
                    </a:cubicBezTo>
                    <a:cubicBezTo>
                      <a:pt x="55" y="13"/>
                      <a:pt x="43" y="0"/>
                      <a:pt x="27" y="0"/>
                    </a:cubicBezTo>
                    <a:close/>
                  </a:path>
                </a:pathLst>
              </a:custGeom>
              <a:solidFill>
                <a:srgbClr val="50E6FF"/>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366" name="Group 365">
              <a:extLst>
                <a:ext uri="{FF2B5EF4-FFF2-40B4-BE49-F238E27FC236}">
                  <a16:creationId xmlns:a16="http://schemas.microsoft.com/office/drawing/2014/main" id="{C3D8FCE7-BCF1-C842-8353-71A4D007A9AB}"/>
                </a:ext>
              </a:extLst>
            </p:cNvPr>
            <p:cNvGrpSpPr/>
            <p:nvPr/>
          </p:nvGrpSpPr>
          <p:grpSpPr>
            <a:xfrm>
              <a:off x="13693188" y="-6195484"/>
              <a:ext cx="517414" cy="10018627"/>
              <a:chOff x="9010351" y="7057068"/>
              <a:chExt cx="517414" cy="10018627"/>
            </a:xfrm>
          </p:grpSpPr>
          <p:sp>
            <p:nvSpPr>
              <p:cNvPr id="367" name="Freeform 292">
                <a:extLst>
                  <a:ext uri="{FF2B5EF4-FFF2-40B4-BE49-F238E27FC236}">
                    <a16:creationId xmlns:a16="http://schemas.microsoft.com/office/drawing/2014/main" id="{ADC11AEE-3CA8-EC43-B169-D8D8E107E0BC}"/>
                  </a:ext>
                </a:extLst>
              </p:cNvPr>
              <p:cNvSpPr>
                <a:spLocks/>
              </p:cNvSpPr>
              <p:nvPr/>
            </p:nvSpPr>
            <p:spPr bwMode="auto">
              <a:xfrm>
                <a:off x="9033645" y="12165264"/>
                <a:ext cx="470827" cy="304181"/>
              </a:xfrm>
              <a:custGeom>
                <a:avLst/>
                <a:gdLst>
                  <a:gd name="T0" fmla="*/ 108 w 143"/>
                  <a:gd name="T1" fmla="*/ 26 h 93"/>
                  <a:gd name="T2" fmla="*/ 103 w 143"/>
                  <a:gd name="T3" fmla="*/ 26 h 93"/>
                  <a:gd name="T4" fmla="*/ 66 w 143"/>
                  <a:gd name="T5" fmla="*/ 0 h 93"/>
                  <a:gd name="T6" fmla="*/ 28 w 143"/>
                  <a:gd name="T7" fmla="*/ 37 h 93"/>
                  <a:gd name="T8" fmla="*/ 29 w 143"/>
                  <a:gd name="T9" fmla="*/ 42 h 93"/>
                  <a:gd name="T10" fmla="*/ 25 w 143"/>
                  <a:gd name="T11" fmla="*/ 42 h 93"/>
                  <a:gd name="T12" fmla="*/ 0 w 143"/>
                  <a:gd name="T13" fmla="*/ 68 h 93"/>
                  <a:gd name="T14" fmla="*/ 25 w 143"/>
                  <a:gd name="T15" fmla="*/ 93 h 93"/>
                  <a:gd name="T16" fmla="*/ 61 w 143"/>
                  <a:gd name="T17" fmla="*/ 93 h 93"/>
                  <a:gd name="T18" fmla="*/ 61 w 143"/>
                  <a:gd name="T19" fmla="*/ 66 h 93"/>
                  <a:gd name="T20" fmla="*/ 46 w 143"/>
                  <a:gd name="T21" fmla="*/ 66 h 93"/>
                  <a:gd name="T22" fmla="*/ 71 w 143"/>
                  <a:gd name="T23" fmla="*/ 33 h 93"/>
                  <a:gd name="T24" fmla="*/ 96 w 143"/>
                  <a:gd name="T25" fmla="*/ 66 h 93"/>
                  <a:gd name="T26" fmla="*/ 81 w 143"/>
                  <a:gd name="T27" fmla="*/ 66 h 93"/>
                  <a:gd name="T28" fmla="*/ 81 w 143"/>
                  <a:gd name="T29" fmla="*/ 93 h 93"/>
                  <a:gd name="T30" fmla="*/ 108 w 143"/>
                  <a:gd name="T31" fmla="*/ 93 h 93"/>
                  <a:gd name="T32" fmla="*/ 143 w 143"/>
                  <a:gd name="T33" fmla="*/ 59 h 93"/>
                  <a:gd name="T34" fmla="*/ 108 w 143"/>
                  <a:gd name="T35" fmla="*/ 26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3" h="93">
                    <a:moveTo>
                      <a:pt x="108" y="26"/>
                    </a:moveTo>
                    <a:cubicBezTo>
                      <a:pt x="106" y="26"/>
                      <a:pt x="105" y="26"/>
                      <a:pt x="103" y="26"/>
                    </a:cubicBezTo>
                    <a:cubicBezTo>
                      <a:pt x="98" y="11"/>
                      <a:pt x="83" y="0"/>
                      <a:pt x="66" y="0"/>
                    </a:cubicBezTo>
                    <a:cubicBezTo>
                      <a:pt x="45" y="0"/>
                      <a:pt x="28" y="17"/>
                      <a:pt x="28" y="37"/>
                    </a:cubicBezTo>
                    <a:cubicBezTo>
                      <a:pt x="28" y="39"/>
                      <a:pt x="28" y="41"/>
                      <a:pt x="29" y="42"/>
                    </a:cubicBezTo>
                    <a:cubicBezTo>
                      <a:pt x="28" y="42"/>
                      <a:pt x="27" y="42"/>
                      <a:pt x="25" y="42"/>
                    </a:cubicBezTo>
                    <a:cubicBezTo>
                      <a:pt x="11" y="42"/>
                      <a:pt x="0" y="54"/>
                      <a:pt x="0" y="68"/>
                    </a:cubicBezTo>
                    <a:cubicBezTo>
                      <a:pt x="0" y="82"/>
                      <a:pt x="11" y="93"/>
                      <a:pt x="25" y="93"/>
                    </a:cubicBezTo>
                    <a:cubicBezTo>
                      <a:pt x="61" y="93"/>
                      <a:pt x="61" y="93"/>
                      <a:pt x="61" y="93"/>
                    </a:cubicBezTo>
                    <a:cubicBezTo>
                      <a:pt x="61" y="66"/>
                      <a:pt x="61" y="66"/>
                      <a:pt x="61" y="66"/>
                    </a:cubicBezTo>
                    <a:cubicBezTo>
                      <a:pt x="46" y="66"/>
                      <a:pt x="46" y="66"/>
                      <a:pt x="46" y="66"/>
                    </a:cubicBezTo>
                    <a:cubicBezTo>
                      <a:pt x="71" y="33"/>
                      <a:pt x="71" y="33"/>
                      <a:pt x="71" y="33"/>
                    </a:cubicBezTo>
                    <a:cubicBezTo>
                      <a:pt x="96" y="66"/>
                      <a:pt x="96" y="66"/>
                      <a:pt x="96" y="66"/>
                    </a:cubicBezTo>
                    <a:cubicBezTo>
                      <a:pt x="81" y="66"/>
                      <a:pt x="81" y="66"/>
                      <a:pt x="81" y="66"/>
                    </a:cubicBezTo>
                    <a:cubicBezTo>
                      <a:pt x="81" y="93"/>
                      <a:pt x="81" y="93"/>
                      <a:pt x="81" y="93"/>
                    </a:cubicBezTo>
                    <a:cubicBezTo>
                      <a:pt x="108" y="93"/>
                      <a:pt x="108" y="93"/>
                      <a:pt x="108" y="93"/>
                    </a:cubicBezTo>
                    <a:cubicBezTo>
                      <a:pt x="127" y="93"/>
                      <a:pt x="143" y="78"/>
                      <a:pt x="143" y="59"/>
                    </a:cubicBezTo>
                    <a:cubicBezTo>
                      <a:pt x="143" y="41"/>
                      <a:pt x="127" y="26"/>
                      <a:pt x="108" y="26"/>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8" name="Freeform 349">
                <a:extLst>
                  <a:ext uri="{FF2B5EF4-FFF2-40B4-BE49-F238E27FC236}">
                    <a16:creationId xmlns:a16="http://schemas.microsoft.com/office/drawing/2014/main" id="{12AE987B-3361-C545-9DED-FCEF32BF8C4B}"/>
                  </a:ext>
                </a:extLst>
              </p:cNvPr>
              <p:cNvSpPr>
                <a:spLocks noEditPoints="1"/>
              </p:cNvSpPr>
              <p:nvPr/>
            </p:nvSpPr>
            <p:spPr bwMode="auto">
              <a:xfrm>
                <a:off x="9049260" y="14098796"/>
                <a:ext cx="439597" cy="303649"/>
              </a:xfrm>
              <a:custGeom>
                <a:avLst/>
                <a:gdLst>
                  <a:gd name="T0" fmla="*/ 145 w 145"/>
                  <a:gd name="T1" fmla="*/ 86 h 100"/>
                  <a:gd name="T2" fmla="*/ 131 w 145"/>
                  <a:gd name="T3" fmla="*/ 100 h 100"/>
                  <a:gd name="T4" fmla="*/ 13 w 145"/>
                  <a:gd name="T5" fmla="*/ 100 h 100"/>
                  <a:gd name="T6" fmla="*/ 0 w 145"/>
                  <a:gd name="T7" fmla="*/ 86 h 100"/>
                  <a:gd name="T8" fmla="*/ 0 w 145"/>
                  <a:gd name="T9" fmla="*/ 9 h 100"/>
                  <a:gd name="T10" fmla="*/ 18 w 145"/>
                  <a:gd name="T11" fmla="*/ 9 h 100"/>
                  <a:gd name="T12" fmla="*/ 18 w 145"/>
                  <a:gd name="T13" fmla="*/ 0 h 100"/>
                  <a:gd name="T14" fmla="*/ 145 w 145"/>
                  <a:gd name="T15" fmla="*/ 0 h 100"/>
                  <a:gd name="T16" fmla="*/ 145 w 145"/>
                  <a:gd name="T17" fmla="*/ 86 h 100"/>
                  <a:gd name="T18" fmla="*/ 18 w 145"/>
                  <a:gd name="T19" fmla="*/ 19 h 100"/>
                  <a:gd name="T20" fmla="*/ 9 w 145"/>
                  <a:gd name="T21" fmla="*/ 19 h 100"/>
                  <a:gd name="T22" fmla="*/ 9 w 145"/>
                  <a:gd name="T23" fmla="*/ 86 h 100"/>
                  <a:gd name="T24" fmla="*/ 13 w 145"/>
                  <a:gd name="T25" fmla="*/ 91 h 100"/>
                  <a:gd name="T26" fmla="*/ 18 w 145"/>
                  <a:gd name="T27" fmla="*/ 86 h 100"/>
                  <a:gd name="T28" fmla="*/ 18 w 145"/>
                  <a:gd name="T29" fmla="*/ 19 h 100"/>
                  <a:gd name="T30" fmla="*/ 135 w 145"/>
                  <a:gd name="T31" fmla="*/ 9 h 100"/>
                  <a:gd name="T32" fmla="*/ 27 w 145"/>
                  <a:gd name="T33" fmla="*/ 9 h 100"/>
                  <a:gd name="T34" fmla="*/ 27 w 145"/>
                  <a:gd name="T35" fmla="*/ 86 h 100"/>
                  <a:gd name="T36" fmla="*/ 26 w 145"/>
                  <a:gd name="T37" fmla="*/ 91 h 100"/>
                  <a:gd name="T38" fmla="*/ 131 w 145"/>
                  <a:gd name="T39" fmla="*/ 91 h 100"/>
                  <a:gd name="T40" fmla="*/ 135 w 145"/>
                  <a:gd name="T41" fmla="*/ 86 h 100"/>
                  <a:gd name="T42" fmla="*/ 135 w 145"/>
                  <a:gd name="T43" fmla="*/ 9 h 100"/>
                  <a:gd name="T44" fmla="*/ 81 w 145"/>
                  <a:gd name="T45" fmla="*/ 64 h 100"/>
                  <a:gd name="T46" fmla="*/ 36 w 145"/>
                  <a:gd name="T47" fmla="*/ 64 h 100"/>
                  <a:gd name="T48" fmla="*/ 36 w 145"/>
                  <a:gd name="T49" fmla="*/ 19 h 100"/>
                  <a:gd name="T50" fmla="*/ 81 w 145"/>
                  <a:gd name="T51" fmla="*/ 19 h 100"/>
                  <a:gd name="T52" fmla="*/ 81 w 145"/>
                  <a:gd name="T53" fmla="*/ 64 h 100"/>
                  <a:gd name="T54" fmla="*/ 81 w 145"/>
                  <a:gd name="T55" fmla="*/ 82 h 100"/>
                  <a:gd name="T56" fmla="*/ 36 w 145"/>
                  <a:gd name="T57" fmla="*/ 82 h 100"/>
                  <a:gd name="T58" fmla="*/ 36 w 145"/>
                  <a:gd name="T59" fmla="*/ 73 h 100"/>
                  <a:gd name="T60" fmla="*/ 81 w 145"/>
                  <a:gd name="T61" fmla="*/ 73 h 100"/>
                  <a:gd name="T62" fmla="*/ 81 w 145"/>
                  <a:gd name="T63" fmla="*/ 82 h 100"/>
                  <a:gd name="T64" fmla="*/ 45 w 145"/>
                  <a:gd name="T65" fmla="*/ 28 h 100"/>
                  <a:gd name="T66" fmla="*/ 45 w 145"/>
                  <a:gd name="T67" fmla="*/ 55 h 100"/>
                  <a:gd name="T68" fmla="*/ 72 w 145"/>
                  <a:gd name="T69" fmla="*/ 55 h 100"/>
                  <a:gd name="T70" fmla="*/ 72 w 145"/>
                  <a:gd name="T71" fmla="*/ 28 h 100"/>
                  <a:gd name="T72" fmla="*/ 45 w 145"/>
                  <a:gd name="T73" fmla="*/ 28 h 100"/>
                  <a:gd name="T74" fmla="*/ 126 w 145"/>
                  <a:gd name="T75" fmla="*/ 28 h 100"/>
                  <a:gd name="T76" fmla="*/ 90 w 145"/>
                  <a:gd name="T77" fmla="*/ 28 h 100"/>
                  <a:gd name="T78" fmla="*/ 90 w 145"/>
                  <a:gd name="T79" fmla="*/ 19 h 100"/>
                  <a:gd name="T80" fmla="*/ 126 w 145"/>
                  <a:gd name="T81" fmla="*/ 19 h 100"/>
                  <a:gd name="T82" fmla="*/ 126 w 145"/>
                  <a:gd name="T83" fmla="*/ 28 h 100"/>
                  <a:gd name="T84" fmla="*/ 126 w 145"/>
                  <a:gd name="T85" fmla="*/ 46 h 100"/>
                  <a:gd name="T86" fmla="*/ 90 w 145"/>
                  <a:gd name="T87" fmla="*/ 46 h 100"/>
                  <a:gd name="T88" fmla="*/ 90 w 145"/>
                  <a:gd name="T89" fmla="*/ 37 h 100"/>
                  <a:gd name="T90" fmla="*/ 126 w 145"/>
                  <a:gd name="T91" fmla="*/ 37 h 100"/>
                  <a:gd name="T92" fmla="*/ 126 w 145"/>
                  <a:gd name="T93" fmla="*/ 46 h 100"/>
                  <a:gd name="T94" fmla="*/ 126 w 145"/>
                  <a:gd name="T95" fmla="*/ 64 h 100"/>
                  <a:gd name="T96" fmla="*/ 90 w 145"/>
                  <a:gd name="T97" fmla="*/ 64 h 100"/>
                  <a:gd name="T98" fmla="*/ 90 w 145"/>
                  <a:gd name="T99" fmla="*/ 55 h 100"/>
                  <a:gd name="T100" fmla="*/ 126 w 145"/>
                  <a:gd name="T101" fmla="*/ 55 h 100"/>
                  <a:gd name="T102" fmla="*/ 126 w 145"/>
                  <a:gd name="T103" fmla="*/ 64 h 100"/>
                  <a:gd name="T104" fmla="*/ 126 w 145"/>
                  <a:gd name="T105" fmla="*/ 82 h 100"/>
                  <a:gd name="T106" fmla="*/ 90 w 145"/>
                  <a:gd name="T107" fmla="*/ 82 h 100"/>
                  <a:gd name="T108" fmla="*/ 90 w 145"/>
                  <a:gd name="T109" fmla="*/ 73 h 100"/>
                  <a:gd name="T110" fmla="*/ 126 w 145"/>
                  <a:gd name="T111" fmla="*/ 73 h 100"/>
                  <a:gd name="T112" fmla="*/ 126 w 145"/>
                  <a:gd name="T113" fmla="*/ 8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5" h="100">
                    <a:moveTo>
                      <a:pt x="145" y="86"/>
                    </a:moveTo>
                    <a:cubicBezTo>
                      <a:pt x="145" y="94"/>
                      <a:pt x="138" y="100"/>
                      <a:pt x="131" y="100"/>
                    </a:cubicBezTo>
                    <a:cubicBezTo>
                      <a:pt x="13" y="100"/>
                      <a:pt x="13" y="100"/>
                      <a:pt x="13" y="100"/>
                    </a:cubicBezTo>
                    <a:cubicBezTo>
                      <a:pt x="6" y="100"/>
                      <a:pt x="0" y="94"/>
                      <a:pt x="0" y="86"/>
                    </a:cubicBezTo>
                    <a:cubicBezTo>
                      <a:pt x="0" y="9"/>
                      <a:pt x="0" y="9"/>
                      <a:pt x="0" y="9"/>
                    </a:cubicBezTo>
                    <a:cubicBezTo>
                      <a:pt x="18" y="9"/>
                      <a:pt x="18" y="9"/>
                      <a:pt x="18" y="9"/>
                    </a:cubicBezTo>
                    <a:cubicBezTo>
                      <a:pt x="18" y="0"/>
                      <a:pt x="18" y="0"/>
                      <a:pt x="18" y="0"/>
                    </a:cubicBezTo>
                    <a:cubicBezTo>
                      <a:pt x="145" y="0"/>
                      <a:pt x="145" y="0"/>
                      <a:pt x="145" y="0"/>
                    </a:cubicBezTo>
                    <a:lnTo>
                      <a:pt x="145" y="86"/>
                    </a:lnTo>
                    <a:close/>
                    <a:moveTo>
                      <a:pt x="18" y="19"/>
                    </a:moveTo>
                    <a:cubicBezTo>
                      <a:pt x="9" y="19"/>
                      <a:pt x="9" y="19"/>
                      <a:pt x="9" y="19"/>
                    </a:cubicBezTo>
                    <a:cubicBezTo>
                      <a:pt x="9" y="86"/>
                      <a:pt x="9" y="86"/>
                      <a:pt x="9" y="86"/>
                    </a:cubicBezTo>
                    <a:cubicBezTo>
                      <a:pt x="9" y="89"/>
                      <a:pt x="11" y="91"/>
                      <a:pt x="13" y="91"/>
                    </a:cubicBezTo>
                    <a:cubicBezTo>
                      <a:pt x="16" y="91"/>
                      <a:pt x="18" y="89"/>
                      <a:pt x="18" y="86"/>
                    </a:cubicBezTo>
                    <a:lnTo>
                      <a:pt x="18" y="19"/>
                    </a:lnTo>
                    <a:close/>
                    <a:moveTo>
                      <a:pt x="135" y="9"/>
                    </a:moveTo>
                    <a:cubicBezTo>
                      <a:pt x="27" y="9"/>
                      <a:pt x="27" y="9"/>
                      <a:pt x="27" y="9"/>
                    </a:cubicBezTo>
                    <a:cubicBezTo>
                      <a:pt x="27" y="86"/>
                      <a:pt x="27" y="86"/>
                      <a:pt x="27" y="86"/>
                    </a:cubicBezTo>
                    <a:cubicBezTo>
                      <a:pt x="27" y="88"/>
                      <a:pt x="27" y="89"/>
                      <a:pt x="26" y="91"/>
                    </a:cubicBezTo>
                    <a:cubicBezTo>
                      <a:pt x="131" y="91"/>
                      <a:pt x="131" y="91"/>
                      <a:pt x="131" y="91"/>
                    </a:cubicBezTo>
                    <a:cubicBezTo>
                      <a:pt x="133" y="91"/>
                      <a:pt x="135" y="89"/>
                      <a:pt x="135" y="86"/>
                    </a:cubicBezTo>
                    <a:lnTo>
                      <a:pt x="135" y="9"/>
                    </a:lnTo>
                    <a:close/>
                    <a:moveTo>
                      <a:pt x="81" y="64"/>
                    </a:moveTo>
                    <a:cubicBezTo>
                      <a:pt x="36" y="64"/>
                      <a:pt x="36" y="64"/>
                      <a:pt x="36" y="64"/>
                    </a:cubicBezTo>
                    <a:cubicBezTo>
                      <a:pt x="36" y="19"/>
                      <a:pt x="36" y="19"/>
                      <a:pt x="36" y="19"/>
                    </a:cubicBezTo>
                    <a:cubicBezTo>
                      <a:pt x="81" y="19"/>
                      <a:pt x="81" y="19"/>
                      <a:pt x="81" y="19"/>
                    </a:cubicBezTo>
                    <a:lnTo>
                      <a:pt x="81" y="64"/>
                    </a:lnTo>
                    <a:close/>
                    <a:moveTo>
                      <a:pt x="81" y="82"/>
                    </a:moveTo>
                    <a:cubicBezTo>
                      <a:pt x="36" y="82"/>
                      <a:pt x="36" y="82"/>
                      <a:pt x="36" y="82"/>
                    </a:cubicBezTo>
                    <a:cubicBezTo>
                      <a:pt x="36" y="73"/>
                      <a:pt x="36" y="73"/>
                      <a:pt x="36" y="73"/>
                    </a:cubicBezTo>
                    <a:cubicBezTo>
                      <a:pt x="81" y="73"/>
                      <a:pt x="81" y="73"/>
                      <a:pt x="81" y="73"/>
                    </a:cubicBezTo>
                    <a:lnTo>
                      <a:pt x="81" y="82"/>
                    </a:lnTo>
                    <a:close/>
                    <a:moveTo>
                      <a:pt x="45" y="28"/>
                    </a:moveTo>
                    <a:cubicBezTo>
                      <a:pt x="45" y="55"/>
                      <a:pt x="45" y="55"/>
                      <a:pt x="45" y="55"/>
                    </a:cubicBezTo>
                    <a:cubicBezTo>
                      <a:pt x="72" y="55"/>
                      <a:pt x="72" y="55"/>
                      <a:pt x="72" y="55"/>
                    </a:cubicBezTo>
                    <a:cubicBezTo>
                      <a:pt x="72" y="28"/>
                      <a:pt x="72" y="28"/>
                      <a:pt x="72" y="28"/>
                    </a:cubicBezTo>
                    <a:lnTo>
                      <a:pt x="45" y="28"/>
                    </a:lnTo>
                    <a:close/>
                    <a:moveTo>
                      <a:pt x="126" y="28"/>
                    </a:moveTo>
                    <a:cubicBezTo>
                      <a:pt x="90" y="28"/>
                      <a:pt x="90" y="28"/>
                      <a:pt x="90" y="28"/>
                    </a:cubicBezTo>
                    <a:cubicBezTo>
                      <a:pt x="90" y="19"/>
                      <a:pt x="90" y="19"/>
                      <a:pt x="90" y="19"/>
                    </a:cubicBezTo>
                    <a:cubicBezTo>
                      <a:pt x="126" y="19"/>
                      <a:pt x="126" y="19"/>
                      <a:pt x="126" y="19"/>
                    </a:cubicBezTo>
                    <a:lnTo>
                      <a:pt x="126" y="28"/>
                    </a:lnTo>
                    <a:close/>
                    <a:moveTo>
                      <a:pt x="126" y="46"/>
                    </a:moveTo>
                    <a:cubicBezTo>
                      <a:pt x="90" y="46"/>
                      <a:pt x="90" y="46"/>
                      <a:pt x="90" y="46"/>
                    </a:cubicBezTo>
                    <a:cubicBezTo>
                      <a:pt x="90" y="37"/>
                      <a:pt x="90" y="37"/>
                      <a:pt x="90" y="37"/>
                    </a:cubicBezTo>
                    <a:cubicBezTo>
                      <a:pt x="126" y="37"/>
                      <a:pt x="126" y="37"/>
                      <a:pt x="126" y="37"/>
                    </a:cubicBezTo>
                    <a:lnTo>
                      <a:pt x="126" y="46"/>
                    </a:lnTo>
                    <a:close/>
                    <a:moveTo>
                      <a:pt x="126" y="64"/>
                    </a:moveTo>
                    <a:cubicBezTo>
                      <a:pt x="90" y="64"/>
                      <a:pt x="90" y="64"/>
                      <a:pt x="90" y="64"/>
                    </a:cubicBezTo>
                    <a:cubicBezTo>
                      <a:pt x="90" y="55"/>
                      <a:pt x="90" y="55"/>
                      <a:pt x="90" y="55"/>
                    </a:cubicBezTo>
                    <a:cubicBezTo>
                      <a:pt x="126" y="55"/>
                      <a:pt x="126" y="55"/>
                      <a:pt x="126" y="55"/>
                    </a:cubicBezTo>
                    <a:lnTo>
                      <a:pt x="126" y="64"/>
                    </a:lnTo>
                    <a:close/>
                    <a:moveTo>
                      <a:pt x="126" y="82"/>
                    </a:moveTo>
                    <a:cubicBezTo>
                      <a:pt x="90" y="82"/>
                      <a:pt x="90" y="82"/>
                      <a:pt x="90" y="82"/>
                    </a:cubicBezTo>
                    <a:cubicBezTo>
                      <a:pt x="90" y="73"/>
                      <a:pt x="90" y="73"/>
                      <a:pt x="90" y="73"/>
                    </a:cubicBezTo>
                    <a:cubicBezTo>
                      <a:pt x="126" y="73"/>
                      <a:pt x="126" y="73"/>
                      <a:pt x="126" y="73"/>
                    </a:cubicBezTo>
                    <a:lnTo>
                      <a:pt x="126" y="8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9" name="Freeform 260">
                <a:extLst>
                  <a:ext uri="{FF2B5EF4-FFF2-40B4-BE49-F238E27FC236}">
                    <a16:creationId xmlns:a16="http://schemas.microsoft.com/office/drawing/2014/main" id="{CD096BFA-DDC1-134B-8282-3ABC76915A49}"/>
                  </a:ext>
                </a:extLst>
              </p:cNvPr>
              <p:cNvSpPr>
                <a:spLocks noEditPoints="1"/>
              </p:cNvSpPr>
              <p:nvPr/>
            </p:nvSpPr>
            <p:spPr bwMode="auto">
              <a:xfrm>
                <a:off x="9050988" y="14619123"/>
                <a:ext cx="436141" cy="432906"/>
              </a:xfrm>
              <a:custGeom>
                <a:avLst/>
                <a:gdLst>
                  <a:gd name="T0" fmla="*/ 0 w 185"/>
                  <a:gd name="T1" fmla="*/ 92 h 185"/>
                  <a:gd name="T2" fmla="*/ 123 w 185"/>
                  <a:gd name="T3" fmla="*/ 65 h 185"/>
                  <a:gd name="T4" fmla="*/ 133 w 185"/>
                  <a:gd name="T5" fmla="*/ 59 h 185"/>
                  <a:gd name="T6" fmla="*/ 146 w 185"/>
                  <a:gd name="T7" fmla="*/ 56 h 185"/>
                  <a:gd name="T8" fmla="*/ 143 w 185"/>
                  <a:gd name="T9" fmla="*/ 51 h 185"/>
                  <a:gd name="T10" fmla="*/ 134 w 185"/>
                  <a:gd name="T11" fmla="*/ 43 h 185"/>
                  <a:gd name="T12" fmla="*/ 128 w 185"/>
                  <a:gd name="T13" fmla="*/ 43 h 185"/>
                  <a:gd name="T14" fmla="*/ 123 w 185"/>
                  <a:gd name="T15" fmla="*/ 39 h 185"/>
                  <a:gd name="T16" fmla="*/ 111 w 185"/>
                  <a:gd name="T17" fmla="*/ 35 h 185"/>
                  <a:gd name="T18" fmla="*/ 113 w 185"/>
                  <a:gd name="T19" fmla="*/ 47 h 185"/>
                  <a:gd name="T20" fmla="*/ 108 w 185"/>
                  <a:gd name="T21" fmla="*/ 57 h 185"/>
                  <a:gd name="T22" fmla="*/ 99 w 185"/>
                  <a:gd name="T23" fmla="*/ 50 h 185"/>
                  <a:gd name="T24" fmla="*/ 85 w 185"/>
                  <a:gd name="T25" fmla="*/ 43 h 185"/>
                  <a:gd name="T26" fmla="*/ 89 w 185"/>
                  <a:gd name="T27" fmla="*/ 33 h 185"/>
                  <a:gd name="T28" fmla="*/ 102 w 185"/>
                  <a:gd name="T29" fmla="*/ 28 h 185"/>
                  <a:gd name="T30" fmla="*/ 100 w 185"/>
                  <a:gd name="T31" fmla="*/ 23 h 185"/>
                  <a:gd name="T32" fmla="*/ 91 w 185"/>
                  <a:gd name="T33" fmla="*/ 24 h 185"/>
                  <a:gd name="T34" fmla="*/ 81 w 185"/>
                  <a:gd name="T35" fmla="*/ 18 h 185"/>
                  <a:gd name="T36" fmla="*/ 82 w 185"/>
                  <a:gd name="T37" fmla="*/ 25 h 185"/>
                  <a:gd name="T38" fmla="*/ 76 w 185"/>
                  <a:gd name="T39" fmla="*/ 25 h 185"/>
                  <a:gd name="T40" fmla="*/ 68 w 185"/>
                  <a:gd name="T41" fmla="*/ 19 h 185"/>
                  <a:gd name="T42" fmla="*/ 61 w 185"/>
                  <a:gd name="T43" fmla="*/ 23 h 185"/>
                  <a:gd name="T44" fmla="*/ 69 w 185"/>
                  <a:gd name="T45" fmla="*/ 24 h 185"/>
                  <a:gd name="T46" fmla="*/ 63 w 185"/>
                  <a:gd name="T47" fmla="*/ 28 h 185"/>
                  <a:gd name="T48" fmla="*/ 27 w 185"/>
                  <a:gd name="T49" fmla="*/ 51 h 185"/>
                  <a:gd name="T50" fmla="*/ 32 w 185"/>
                  <a:gd name="T51" fmla="*/ 57 h 185"/>
                  <a:gd name="T52" fmla="*/ 38 w 185"/>
                  <a:gd name="T53" fmla="*/ 65 h 185"/>
                  <a:gd name="T54" fmla="*/ 36 w 185"/>
                  <a:gd name="T55" fmla="*/ 76 h 185"/>
                  <a:gd name="T56" fmla="*/ 43 w 185"/>
                  <a:gd name="T57" fmla="*/ 89 h 185"/>
                  <a:gd name="T58" fmla="*/ 52 w 185"/>
                  <a:gd name="T59" fmla="*/ 103 h 185"/>
                  <a:gd name="T60" fmla="*/ 57 w 185"/>
                  <a:gd name="T61" fmla="*/ 109 h 185"/>
                  <a:gd name="T62" fmla="*/ 51 w 185"/>
                  <a:gd name="T63" fmla="*/ 95 h 185"/>
                  <a:gd name="T64" fmla="*/ 61 w 185"/>
                  <a:gd name="T65" fmla="*/ 108 h 185"/>
                  <a:gd name="T66" fmla="*/ 73 w 185"/>
                  <a:gd name="T67" fmla="*/ 122 h 185"/>
                  <a:gd name="T68" fmla="*/ 89 w 185"/>
                  <a:gd name="T69" fmla="*/ 129 h 185"/>
                  <a:gd name="T70" fmla="*/ 103 w 185"/>
                  <a:gd name="T71" fmla="*/ 140 h 185"/>
                  <a:gd name="T72" fmla="*/ 108 w 185"/>
                  <a:gd name="T73" fmla="*/ 138 h 185"/>
                  <a:gd name="T74" fmla="*/ 102 w 185"/>
                  <a:gd name="T75" fmla="*/ 129 h 185"/>
                  <a:gd name="T76" fmla="*/ 95 w 185"/>
                  <a:gd name="T77" fmla="*/ 126 h 185"/>
                  <a:gd name="T78" fmla="*/ 94 w 185"/>
                  <a:gd name="T79" fmla="*/ 115 h 185"/>
                  <a:gd name="T80" fmla="*/ 83 w 185"/>
                  <a:gd name="T81" fmla="*/ 120 h 185"/>
                  <a:gd name="T82" fmla="*/ 81 w 185"/>
                  <a:gd name="T83" fmla="*/ 101 h 185"/>
                  <a:gd name="T84" fmla="*/ 89 w 185"/>
                  <a:gd name="T85" fmla="*/ 99 h 185"/>
                  <a:gd name="T86" fmla="*/ 95 w 185"/>
                  <a:gd name="T87" fmla="*/ 97 h 185"/>
                  <a:gd name="T88" fmla="*/ 103 w 185"/>
                  <a:gd name="T89" fmla="*/ 101 h 185"/>
                  <a:gd name="T90" fmla="*/ 107 w 185"/>
                  <a:gd name="T91" fmla="*/ 99 h 185"/>
                  <a:gd name="T92" fmla="*/ 113 w 185"/>
                  <a:gd name="T93" fmla="*/ 86 h 185"/>
                  <a:gd name="T94" fmla="*/ 112 w 185"/>
                  <a:gd name="T95" fmla="*/ 82 h 185"/>
                  <a:gd name="T96" fmla="*/ 121 w 185"/>
                  <a:gd name="T97" fmla="*/ 75 h 185"/>
                  <a:gd name="T98" fmla="*/ 128 w 185"/>
                  <a:gd name="T99" fmla="*/ 69 h 185"/>
                  <a:gd name="T100" fmla="*/ 132 w 185"/>
                  <a:gd name="T101" fmla="*/ 63 h 185"/>
                  <a:gd name="T102" fmla="*/ 123 w 185"/>
                  <a:gd name="T103" fmla="*/ 65 h 185"/>
                  <a:gd name="T104" fmla="*/ 142 w 185"/>
                  <a:gd name="T105" fmla="*/ 143 h 185"/>
                  <a:gd name="T106" fmla="*/ 131 w 185"/>
                  <a:gd name="T107" fmla="*/ 138 h 185"/>
                  <a:gd name="T108" fmla="*/ 121 w 185"/>
                  <a:gd name="T109" fmla="*/ 138 h 185"/>
                  <a:gd name="T110" fmla="*/ 114 w 185"/>
                  <a:gd name="T111" fmla="*/ 137 h 185"/>
                  <a:gd name="T112" fmla="*/ 111 w 185"/>
                  <a:gd name="T113" fmla="*/ 147 h 185"/>
                  <a:gd name="T114" fmla="*/ 108 w 185"/>
                  <a:gd name="T115" fmla="*/ 161 h 185"/>
                  <a:gd name="T116" fmla="*/ 148 w 185"/>
                  <a:gd name="T117" fmla="*/ 14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5" h="185">
                    <a:moveTo>
                      <a:pt x="185" y="92"/>
                    </a:moveTo>
                    <a:cubicBezTo>
                      <a:pt x="185" y="143"/>
                      <a:pt x="144" y="185"/>
                      <a:pt x="93" y="185"/>
                    </a:cubicBezTo>
                    <a:cubicBezTo>
                      <a:pt x="42" y="185"/>
                      <a:pt x="0" y="143"/>
                      <a:pt x="0" y="92"/>
                    </a:cubicBezTo>
                    <a:cubicBezTo>
                      <a:pt x="0" y="41"/>
                      <a:pt x="42" y="0"/>
                      <a:pt x="93" y="0"/>
                    </a:cubicBezTo>
                    <a:cubicBezTo>
                      <a:pt x="144" y="0"/>
                      <a:pt x="185" y="41"/>
                      <a:pt x="185" y="92"/>
                    </a:cubicBezTo>
                    <a:close/>
                    <a:moveTo>
                      <a:pt x="123" y="65"/>
                    </a:moveTo>
                    <a:cubicBezTo>
                      <a:pt x="123" y="65"/>
                      <a:pt x="124" y="63"/>
                      <a:pt x="124" y="62"/>
                    </a:cubicBezTo>
                    <a:cubicBezTo>
                      <a:pt x="125" y="61"/>
                      <a:pt x="126" y="61"/>
                      <a:pt x="127" y="60"/>
                    </a:cubicBezTo>
                    <a:cubicBezTo>
                      <a:pt x="129" y="59"/>
                      <a:pt x="131" y="59"/>
                      <a:pt x="133" y="59"/>
                    </a:cubicBezTo>
                    <a:cubicBezTo>
                      <a:pt x="135" y="58"/>
                      <a:pt x="138" y="58"/>
                      <a:pt x="139" y="60"/>
                    </a:cubicBezTo>
                    <a:cubicBezTo>
                      <a:pt x="142" y="57"/>
                      <a:pt x="142" y="57"/>
                      <a:pt x="142" y="57"/>
                    </a:cubicBezTo>
                    <a:cubicBezTo>
                      <a:pt x="143" y="57"/>
                      <a:pt x="145" y="57"/>
                      <a:pt x="146" y="56"/>
                    </a:cubicBezTo>
                    <a:cubicBezTo>
                      <a:pt x="146" y="55"/>
                      <a:pt x="146" y="53"/>
                      <a:pt x="146" y="53"/>
                    </a:cubicBezTo>
                    <a:cubicBezTo>
                      <a:pt x="144" y="53"/>
                      <a:pt x="143" y="51"/>
                      <a:pt x="143" y="50"/>
                    </a:cubicBezTo>
                    <a:cubicBezTo>
                      <a:pt x="143" y="50"/>
                      <a:pt x="143" y="50"/>
                      <a:pt x="143" y="51"/>
                    </a:cubicBezTo>
                    <a:cubicBezTo>
                      <a:pt x="143" y="49"/>
                      <a:pt x="140" y="50"/>
                      <a:pt x="140" y="50"/>
                    </a:cubicBezTo>
                    <a:cubicBezTo>
                      <a:pt x="137" y="49"/>
                      <a:pt x="137" y="47"/>
                      <a:pt x="136" y="45"/>
                    </a:cubicBezTo>
                    <a:cubicBezTo>
                      <a:pt x="136" y="44"/>
                      <a:pt x="135" y="44"/>
                      <a:pt x="134" y="43"/>
                    </a:cubicBezTo>
                    <a:cubicBezTo>
                      <a:pt x="134" y="42"/>
                      <a:pt x="133" y="40"/>
                      <a:pt x="132" y="40"/>
                    </a:cubicBezTo>
                    <a:cubicBezTo>
                      <a:pt x="132" y="40"/>
                      <a:pt x="130" y="43"/>
                      <a:pt x="130" y="43"/>
                    </a:cubicBezTo>
                    <a:cubicBezTo>
                      <a:pt x="129" y="42"/>
                      <a:pt x="128" y="43"/>
                      <a:pt x="128" y="43"/>
                    </a:cubicBezTo>
                    <a:cubicBezTo>
                      <a:pt x="127" y="44"/>
                      <a:pt x="126" y="44"/>
                      <a:pt x="126" y="44"/>
                    </a:cubicBezTo>
                    <a:cubicBezTo>
                      <a:pt x="128" y="43"/>
                      <a:pt x="125" y="42"/>
                      <a:pt x="123" y="42"/>
                    </a:cubicBezTo>
                    <a:cubicBezTo>
                      <a:pt x="125" y="42"/>
                      <a:pt x="124" y="40"/>
                      <a:pt x="123" y="39"/>
                    </a:cubicBezTo>
                    <a:cubicBezTo>
                      <a:pt x="124" y="39"/>
                      <a:pt x="124" y="39"/>
                      <a:pt x="124" y="39"/>
                    </a:cubicBezTo>
                    <a:cubicBezTo>
                      <a:pt x="124" y="38"/>
                      <a:pt x="120" y="37"/>
                      <a:pt x="119" y="36"/>
                    </a:cubicBezTo>
                    <a:cubicBezTo>
                      <a:pt x="118" y="36"/>
                      <a:pt x="112" y="35"/>
                      <a:pt x="111" y="35"/>
                    </a:cubicBezTo>
                    <a:cubicBezTo>
                      <a:pt x="110" y="36"/>
                      <a:pt x="112" y="39"/>
                      <a:pt x="112" y="40"/>
                    </a:cubicBezTo>
                    <a:cubicBezTo>
                      <a:pt x="112" y="41"/>
                      <a:pt x="110" y="42"/>
                      <a:pt x="110" y="43"/>
                    </a:cubicBezTo>
                    <a:cubicBezTo>
                      <a:pt x="110" y="45"/>
                      <a:pt x="114" y="44"/>
                      <a:pt x="113" y="47"/>
                    </a:cubicBezTo>
                    <a:cubicBezTo>
                      <a:pt x="112" y="49"/>
                      <a:pt x="110" y="49"/>
                      <a:pt x="109" y="51"/>
                    </a:cubicBezTo>
                    <a:cubicBezTo>
                      <a:pt x="108" y="52"/>
                      <a:pt x="109" y="54"/>
                      <a:pt x="110" y="55"/>
                    </a:cubicBezTo>
                    <a:cubicBezTo>
                      <a:pt x="111" y="55"/>
                      <a:pt x="109" y="57"/>
                      <a:pt x="108" y="57"/>
                    </a:cubicBezTo>
                    <a:cubicBezTo>
                      <a:pt x="106" y="58"/>
                      <a:pt x="105" y="55"/>
                      <a:pt x="104" y="53"/>
                    </a:cubicBezTo>
                    <a:cubicBezTo>
                      <a:pt x="104" y="52"/>
                      <a:pt x="104" y="50"/>
                      <a:pt x="102" y="49"/>
                    </a:cubicBezTo>
                    <a:cubicBezTo>
                      <a:pt x="101" y="49"/>
                      <a:pt x="99" y="49"/>
                      <a:pt x="99" y="50"/>
                    </a:cubicBezTo>
                    <a:cubicBezTo>
                      <a:pt x="98" y="48"/>
                      <a:pt x="95" y="47"/>
                      <a:pt x="94" y="46"/>
                    </a:cubicBezTo>
                    <a:cubicBezTo>
                      <a:pt x="91" y="46"/>
                      <a:pt x="89" y="46"/>
                      <a:pt x="87" y="46"/>
                    </a:cubicBezTo>
                    <a:cubicBezTo>
                      <a:pt x="88" y="46"/>
                      <a:pt x="87" y="42"/>
                      <a:pt x="85" y="43"/>
                    </a:cubicBezTo>
                    <a:cubicBezTo>
                      <a:pt x="85" y="42"/>
                      <a:pt x="85" y="40"/>
                      <a:pt x="85" y="39"/>
                    </a:cubicBezTo>
                    <a:cubicBezTo>
                      <a:pt x="85" y="38"/>
                      <a:pt x="86" y="37"/>
                      <a:pt x="87" y="36"/>
                    </a:cubicBezTo>
                    <a:cubicBezTo>
                      <a:pt x="87" y="36"/>
                      <a:pt x="89" y="33"/>
                      <a:pt x="89" y="33"/>
                    </a:cubicBezTo>
                    <a:cubicBezTo>
                      <a:pt x="91" y="33"/>
                      <a:pt x="93" y="33"/>
                      <a:pt x="95" y="32"/>
                    </a:cubicBezTo>
                    <a:cubicBezTo>
                      <a:pt x="96" y="30"/>
                      <a:pt x="96" y="29"/>
                      <a:pt x="97" y="27"/>
                    </a:cubicBezTo>
                    <a:cubicBezTo>
                      <a:pt x="99" y="26"/>
                      <a:pt x="101" y="28"/>
                      <a:pt x="102" y="28"/>
                    </a:cubicBezTo>
                    <a:cubicBezTo>
                      <a:pt x="105" y="28"/>
                      <a:pt x="105" y="26"/>
                      <a:pt x="103" y="24"/>
                    </a:cubicBezTo>
                    <a:cubicBezTo>
                      <a:pt x="105" y="24"/>
                      <a:pt x="104" y="22"/>
                      <a:pt x="103" y="21"/>
                    </a:cubicBezTo>
                    <a:cubicBezTo>
                      <a:pt x="102" y="21"/>
                      <a:pt x="98" y="22"/>
                      <a:pt x="100" y="23"/>
                    </a:cubicBezTo>
                    <a:cubicBezTo>
                      <a:pt x="99" y="23"/>
                      <a:pt x="96" y="29"/>
                      <a:pt x="95" y="26"/>
                    </a:cubicBezTo>
                    <a:cubicBezTo>
                      <a:pt x="94" y="25"/>
                      <a:pt x="94" y="22"/>
                      <a:pt x="93" y="22"/>
                    </a:cubicBezTo>
                    <a:cubicBezTo>
                      <a:pt x="92" y="22"/>
                      <a:pt x="91" y="23"/>
                      <a:pt x="91" y="24"/>
                    </a:cubicBezTo>
                    <a:cubicBezTo>
                      <a:pt x="92" y="23"/>
                      <a:pt x="88" y="21"/>
                      <a:pt x="87" y="21"/>
                    </a:cubicBezTo>
                    <a:cubicBezTo>
                      <a:pt x="89" y="20"/>
                      <a:pt x="87" y="19"/>
                      <a:pt x="86" y="18"/>
                    </a:cubicBezTo>
                    <a:cubicBezTo>
                      <a:pt x="85" y="17"/>
                      <a:pt x="82" y="17"/>
                      <a:pt x="81" y="18"/>
                    </a:cubicBezTo>
                    <a:cubicBezTo>
                      <a:pt x="79" y="21"/>
                      <a:pt x="83" y="21"/>
                      <a:pt x="85" y="22"/>
                    </a:cubicBezTo>
                    <a:cubicBezTo>
                      <a:pt x="85" y="22"/>
                      <a:pt x="86" y="23"/>
                      <a:pt x="86" y="23"/>
                    </a:cubicBezTo>
                    <a:cubicBezTo>
                      <a:pt x="85" y="24"/>
                      <a:pt x="83" y="24"/>
                      <a:pt x="82" y="25"/>
                    </a:cubicBezTo>
                    <a:cubicBezTo>
                      <a:pt x="82" y="26"/>
                      <a:pt x="83" y="27"/>
                      <a:pt x="82" y="28"/>
                    </a:cubicBezTo>
                    <a:cubicBezTo>
                      <a:pt x="81" y="27"/>
                      <a:pt x="81" y="25"/>
                      <a:pt x="80" y="24"/>
                    </a:cubicBezTo>
                    <a:cubicBezTo>
                      <a:pt x="81" y="26"/>
                      <a:pt x="76" y="25"/>
                      <a:pt x="76" y="25"/>
                    </a:cubicBezTo>
                    <a:cubicBezTo>
                      <a:pt x="74" y="25"/>
                      <a:pt x="71" y="26"/>
                      <a:pt x="70" y="24"/>
                    </a:cubicBezTo>
                    <a:cubicBezTo>
                      <a:pt x="70" y="24"/>
                      <a:pt x="70" y="21"/>
                      <a:pt x="71" y="22"/>
                    </a:cubicBezTo>
                    <a:cubicBezTo>
                      <a:pt x="69" y="21"/>
                      <a:pt x="69" y="20"/>
                      <a:pt x="68" y="19"/>
                    </a:cubicBezTo>
                    <a:cubicBezTo>
                      <a:pt x="64" y="21"/>
                      <a:pt x="60" y="22"/>
                      <a:pt x="57" y="24"/>
                    </a:cubicBezTo>
                    <a:cubicBezTo>
                      <a:pt x="57" y="24"/>
                      <a:pt x="58" y="24"/>
                      <a:pt x="58" y="24"/>
                    </a:cubicBezTo>
                    <a:cubicBezTo>
                      <a:pt x="59" y="24"/>
                      <a:pt x="60" y="23"/>
                      <a:pt x="61" y="23"/>
                    </a:cubicBezTo>
                    <a:cubicBezTo>
                      <a:pt x="62" y="22"/>
                      <a:pt x="65" y="21"/>
                      <a:pt x="66" y="22"/>
                    </a:cubicBezTo>
                    <a:cubicBezTo>
                      <a:pt x="67" y="21"/>
                      <a:pt x="67" y="21"/>
                      <a:pt x="67" y="21"/>
                    </a:cubicBezTo>
                    <a:cubicBezTo>
                      <a:pt x="67" y="22"/>
                      <a:pt x="68" y="23"/>
                      <a:pt x="69" y="24"/>
                    </a:cubicBezTo>
                    <a:cubicBezTo>
                      <a:pt x="68" y="24"/>
                      <a:pt x="66" y="24"/>
                      <a:pt x="65" y="24"/>
                    </a:cubicBezTo>
                    <a:cubicBezTo>
                      <a:pt x="65" y="24"/>
                      <a:pt x="63" y="25"/>
                      <a:pt x="63" y="26"/>
                    </a:cubicBezTo>
                    <a:cubicBezTo>
                      <a:pt x="63" y="26"/>
                      <a:pt x="64" y="27"/>
                      <a:pt x="63" y="28"/>
                    </a:cubicBezTo>
                    <a:cubicBezTo>
                      <a:pt x="62" y="27"/>
                      <a:pt x="61" y="25"/>
                      <a:pt x="58" y="25"/>
                    </a:cubicBezTo>
                    <a:cubicBezTo>
                      <a:pt x="57" y="25"/>
                      <a:pt x="56" y="25"/>
                      <a:pt x="56" y="25"/>
                    </a:cubicBezTo>
                    <a:cubicBezTo>
                      <a:pt x="44" y="31"/>
                      <a:pt x="34" y="40"/>
                      <a:pt x="27" y="51"/>
                    </a:cubicBezTo>
                    <a:cubicBezTo>
                      <a:pt x="28" y="52"/>
                      <a:pt x="28" y="52"/>
                      <a:pt x="29" y="52"/>
                    </a:cubicBezTo>
                    <a:cubicBezTo>
                      <a:pt x="30" y="53"/>
                      <a:pt x="29" y="56"/>
                      <a:pt x="31" y="54"/>
                    </a:cubicBezTo>
                    <a:cubicBezTo>
                      <a:pt x="32" y="55"/>
                      <a:pt x="32" y="56"/>
                      <a:pt x="32" y="57"/>
                    </a:cubicBezTo>
                    <a:cubicBezTo>
                      <a:pt x="37" y="60"/>
                      <a:pt x="37" y="60"/>
                      <a:pt x="37" y="60"/>
                    </a:cubicBezTo>
                    <a:cubicBezTo>
                      <a:pt x="38" y="61"/>
                      <a:pt x="39" y="62"/>
                      <a:pt x="39" y="63"/>
                    </a:cubicBezTo>
                    <a:cubicBezTo>
                      <a:pt x="40" y="63"/>
                      <a:pt x="39" y="64"/>
                      <a:pt x="38" y="65"/>
                    </a:cubicBezTo>
                    <a:cubicBezTo>
                      <a:pt x="38" y="65"/>
                      <a:pt x="36" y="63"/>
                      <a:pt x="36" y="63"/>
                    </a:cubicBezTo>
                    <a:cubicBezTo>
                      <a:pt x="36" y="64"/>
                      <a:pt x="36" y="67"/>
                      <a:pt x="37" y="67"/>
                    </a:cubicBezTo>
                    <a:cubicBezTo>
                      <a:pt x="35" y="67"/>
                      <a:pt x="36" y="74"/>
                      <a:pt x="36" y="76"/>
                    </a:cubicBezTo>
                    <a:cubicBezTo>
                      <a:pt x="36" y="76"/>
                      <a:pt x="36" y="76"/>
                      <a:pt x="36" y="76"/>
                    </a:cubicBezTo>
                    <a:cubicBezTo>
                      <a:pt x="36" y="77"/>
                      <a:pt x="37" y="83"/>
                      <a:pt x="39" y="83"/>
                    </a:cubicBezTo>
                    <a:cubicBezTo>
                      <a:pt x="38" y="83"/>
                      <a:pt x="42" y="88"/>
                      <a:pt x="43" y="89"/>
                    </a:cubicBezTo>
                    <a:cubicBezTo>
                      <a:pt x="44" y="90"/>
                      <a:pt x="46" y="91"/>
                      <a:pt x="47" y="92"/>
                    </a:cubicBezTo>
                    <a:cubicBezTo>
                      <a:pt x="48" y="94"/>
                      <a:pt x="48" y="96"/>
                      <a:pt x="50" y="98"/>
                    </a:cubicBezTo>
                    <a:cubicBezTo>
                      <a:pt x="50" y="99"/>
                      <a:pt x="53" y="101"/>
                      <a:pt x="52" y="103"/>
                    </a:cubicBezTo>
                    <a:cubicBezTo>
                      <a:pt x="52" y="103"/>
                      <a:pt x="52" y="103"/>
                      <a:pt x="52" y="103"/>
                    </a:cubicBezTo>
                    <a:cubicBezTo>
                      <a:pt x="52" y="105"/>
                      <a:pt x="55" y="105"/>
                      <a:pt x="56" y="106"/>
                    </a:cubicBezTo>
                    <a:cubicBezTo>
                      <a:pt x="56" y="107"/>
                      <a:pt x="56" y="110"/>
                      <a:pt x="57" y="109"/>
                    </a:cubicBezTo>
                    <a:cubicBezTo>
                      <a:pt x="57" y="106"/>
                      <a:pt x="56" y="104"/>
                      <a:pt x="54" y="102"/>
                    </a:cubicBezTo>
                    <a:cubicBezTo>
                      <a:pt x="53" y="100"/>
                      <a:pt x="53" y="99"/>
                      <a:pt x="52" y="98"/>
                    </a:cubicBezTo>
                    <a:cubicBezTo>
                      <a:pt x="52" y="97"/>
                      <a:pt x="51" y="96"/>
                      <a:pt x="51" y="95"/>
                    </a:cubicBezTo>
                    <a:cubicBezTo>
                      <a:pt x="51" y="95"/>
                      <a:pt x="54" y="96"/>
                      <a:pt x="54" y="96"/>
                    </a:cubicBezTo>
                    <a:cubicBezTo>
                      <a:pt x="53" y="98"/>
                      <a:pt x="58" y="103"/>
                      <a:pt x="59" y="104"/>
                    </a:cubicBezTo>
                    <a:cubicBezTo>
                      <a:pt x="59" y="105"/>
                      <a:pt x="62" y="108"/>
                      <a:pt x="61" y="108"/>
                    </a:cubicBezTo>
                    <a:cubicBezTo>
                      <a:pt x="62" y="108"/>
                      <a:pt x="64" y="111"/>
                      <a:pt x="65" y="112"/>
                    </a:cubicBezTo>
                    <a:cubicBezTo>
                      <a:pt x="66" y="114"/>
                      <a:pt x="66" y="116"/>
                      <a:pt x="67" y="118"/>
                    </a:cubicBezTo>
                    <a:cubicBezTo>
                      <a:pt x="67" y="120"/>
                      <a:pt x="71" y="121"/>
                      <a:pt x="73" y="122"/>
                    </a:cubicBezTo>
                    <a:cubicBezTo>
                      <a:pt x="74" y="123"/>
                      <a:pt x="76" y="124"/>
                      <a:pt x="78" y="125"/>
                    </a:cubicBezTo>
                    <a:cubicBezTo>
                      <a:pt x="80" y="126"/>
                      <a:pt x="81" y="125"/>
                      <a:pt x="83" y="125"/>
                    </a:cubicBezTo>
                    <a:cubicBezTo>
                      <a:pt x="86" y="124"/>
                      <a:pt x="86" y="128"/>
                      <a:pt x="89" y="129"/>
                    </a:cubicBezTo>
                    <a:cubicBezTo>
                      <a:pt x="90" y="130"/>
                      <a:pt x="94" y="131"/>
                      <a:pt x="95" y="130"/>
                    </a:cubicBezTo>
                    <a:cubicBezTo>
                      <a:pt x="95" y="131"/>
                      <a:pt x="98" y="136"/>
                      <a:pt x="98" y="136"/>
                    </a:cubicBezTo>
                    <a:cubicBezTo>
                      <a:pt x="99" y="137"/>
                      <a:pt x="101" y="138"/>
                      <a:pt x="103" y="140"/>
                    </a:cubicBezTo>
                    <a:cubicBezTo>
                      <a:pt x="103" y="139"/>
                      <a:pt x="103" y="139"/>
                      <a:pt x="103" y="138"/>
                    </a:cubicBezTo>
                    <a:cubicBezTo>
                      <a:pt x="103" y="140"/>
                      <a:pt x="105" y="142"/>
                      <a:pt x="106" y="142"/>
                    </a:cubicBezTo>
                    <a:cubicBezTo>
                      <a:pt x="108" y="142"/>
                      <a:pt x="108" y="139"/>
                      <a:pt x="108" y="138"/>
                    </a:cubicBezTo>
                    <a:cubicBezTo>
                      <a:pt x="106" y="139"/>
                      <a:pt x="104" y="138"/>
                      <a:pt x="102" y="136"/>
                    </a:cubicBezTo>
                    <a:cubicBezTo>
                      <a:pt x="102" y="135"/>
                      <a:pt x="100" y="132"/>
                      <a:pt x="102" y="132"/>
                    </a:cubicBezTo>
                    <a:cubicBezTo>
                      <a:pt x="104" y="132"/>
                      <a:pt x="102" y="130"/>
                      <a:pt x="102" y="129"/>
                    </a:cubicBezTo>
                    <a:cubicBezTo>
                      <a:pt x="102" y="127"/>
                      <a:pt x="100" y="126"/>
                      <a:pt x="99" y="124"/>
                    </a:cubicBezTo>
                    <a:cubicBezTo>
                      <a:pt x="99" y="126"/>
                      <a:pt x="96" y="125"/>
                      <a:pt x="96" y="124"/>
                    </a:cubicBezTo>
                    <a:cubicBezTo>
                      <a:pt x="96" y="125"/>
                      <a:pt x="95" y="125"/>
                      <a:pt x="95" y="126"/>
                    </a:cubicBezTo>
                    <a:cubicBezTo>
                      <a:pt x="95" y="126"/>
                      <a:pt x="94" y="126"/>
                      <a:pt x="93" y="126"/>
                    </a:cubicBezTo>
                    <a:cubicBezTo>
                      <a:pt x="94" y="124"/>
                      <a:pt x="94" y="122"/>
                      <a:pt x="94" y="121"/>
                    </a:cubicBezTo>
                    <a:cubicBezTo>
                      <a:pt x="95" y="119"/>
                      <a:pt x="99" y="114"/>
                      <a:pt x="94" y="115"/>
                    </a:cubicBezTo>
                    <a:cubicBezTo>
                      <a:pt x="92" y="115"/>
                      <a:pt x="91" y="115"/>
                      <a:pt x="90" y="117"/>
                    </a:cubicBezTo>
                    <a:cubicBezTo>
                      <a:pt x="90" y="119"/>
                      <a:pt x="90" y="120"/>
                      <a:pt x="88" y="121"/>
                    </a:cubicBezTo>
                    <a:cubicBezTo>
                      <a:pt x="87" y="121"/>
                      <a:pt x="84" y="121"/>
                      <a:pt x="83" y="120"/>
                    </a:cubicBezTo>
                    <a:cubicBezTo>
                      <a:pt x="80" y="119"/>
                      <a:pt x="79" y="115"/>
                      <a:pt x="79" y="112"/>
                    </a:cubicBezTo>
                    <a:cubicBezTo>
                      <a:pt x="79" y="109"/>
                      <a:pt x="80" y="106"/>
                      <a:pt x="79" y="103"/>
                    </a:cubicBezTo>
                    <a:cubicBezTo>
                      <a:pt x="79" y="102"/>
                      <a:pt x="80" y="101"/>
                      <a:pt x="81" y="101"/>
                    </a:cubicBezTo>
                    <a:cubicBezTo>
                      <a:pt x="82" y="100"/>
                      <a:pt x="83" y="101"/>
                      <a:pt x="83" y="100"/>
                    </a:cubicBezTo>
                    <a:cubicBezTo>
                      <a:pt x="82" y="99"/>
                      <a:pt x="82" y="99"/>
                      <a:pt x="82" y="99"/>
                    </a:cubicBezTo>
                    <a:cubicBezTo>
                      <a:pt x="84" y="100"/>
                      <a:pt x="87" y="98"/>
                      <a:pt x="89" y="99"/>
                    </a:cubicBezTo>
                    <a:cubicBezTo>
                      <a:pt x="90" y="100"/>
                      <a:pt x="91" y="100"/>
                      <a:pt x="91" y="99"/>
                    </a:cubicBezTo>
                    <a:cubicBezTo>
                      <a:pt x="92" y="98"/>
                      <a:pt x="91" y="97"/>
                      <a:pt x="91" y="96"/>
                    </a:cubicBezTo>
                    <a:cubicBezTo>
                      <a:pt x="91" y="98"/>
                      <a:pt x="93" y="98"/>
                      <a:pt x="95" y="97"/>
                    </a:cubicBezTo>
                    <a:cubicBezTo>
                      <a:pt x="95" y="98"/>
                      <a:pt x="97" y="97"/>
                      <a:pt x="98" y="98"/>
                    </a:cubicBezTo>
                    <a:cubicBezTo>
                      <a:pt x="100" y="99"/>
                      <a:pt x="100" y="100"/>
                      <a:pt x="102" y="99"/>
                    </a:cubicBezTo>
                    <a:cubicBezTo>
                      <a:pt x="103" y="100"/>
                      <a:pt x="103" y="100"/>
                      <a:pt x="103" y="101"/>
                    </a:cubicBezTo>
                    <a:cubicBezTo>
                      <a:pt x="103" y="103"/>
                      <a:pt x="104" y="106"/>
                      <a:pt x="105" y="107"/>
                    </a:cubicBezTo>
                    <a:cubicBezTo>
                      <a:pt x="108" y="108"/>
                      <a:pt x="107" y="104"/>
                      <a:pt x="107" y="103"/>
                    </a:cubicBezTo>
                    <a:cubicBezTo>
                      <a:pt x="107" y="99"/>
                      <a:pt x="107" y="99"/>
                      <a:pt x="107" y="99"/>
                    </a:cubicBezTo>
                    <a:cubicBezTo>
                      <a:pt x="103" y="98"/>
                      <a:pt x="104" y="95"/>
                      <a:pt x="107" y="93"/>
                    </a:cubicBezTo>
                    <a:cubicBezTo>
                      <a:pt x="107" y="92"/>
                      <a:pt x="110" y="91"/>
                      <a:pt x="111" y="90"/>
                    </a:cubicBezTo>
                    <a:cubicBezTo>
                      <a:pt x="112" y="90"/>
                      <a:pt x="113" y="88"/>
                      <a:pt x="113" y="86"/>
                    </a:cubicBezTo>
                    <a:cubicBezTo>
                      <a:pt x="113" y="86"/>
                      <a:pt x="114" y="86"/>
                      <a:pt x="114" y="85"/>
                    </a:cubicBezTo>
                    <a:cubicBezTo>
                      <a:pt x="114" y="85"/>
                      <a:pt x="112" y="84"/>
                      <a:pt x="112" y="84"/>
                    </a:cubicBezTo>
                    <a:cubicBezTo>
                      <a:pt x="113" y="83"/>
                      <a:pt x="113" y="83"/>
                      <a:pt x="112" y="82"/>
                    </a:cubicBezTo>
                    <a:cubicBezTo>
                      <a:pt x="113" y="81"/>
                      <a:pt x="113" y="80"/>
                      <a:pt x="114" y="80"/>
                    </a:cubicBezTo>
                    <a:cubicBezTo>
                      <a:pt x="115" y="81"/>
                      <a:pt x="118" y="79"/>
                      <a:pt x="117" y="78"/>
                    </a:cubicBezTo>
                    <a:cubicBezTo>
                      <a:pt x="118" y="76"/>
                      <a:pt x="121" y="77"/>
                      <a:pt x="121" y="75"/>
                    </a:cubicBezTo>
                    <a:cubicBezTo>
                      <a:pt x="123" y="76"/>
                      <a:pt x="122" y="74"/>
                      <a:pt x="123" y="72"/>
                    </a:cubicBezTo>
                    <a:cubicBezTo>
                      <a:pt x="124" y="71"/>
                      <a:pt x="125" y="71"/>
                      <a:pt x="126" y="71"/>
                    </a:cubicBezTo>
                    <a:cubicBezTo>
                      <a:pt x="126" y="71"/>
                      <a:pt x="129" y="69"/>
                      <a:pt x="128" y="69"/>
                    </a:cubicBezTo>
                    <a:cubicBezTo>
                      <a:pt x="130" y="69"/>
                      <a:pt x="134" y="67"/>
                      <a:pt x="131" y="65"/>
                    </a:cubicBezTo>
                    <a:cubicBezTo>
                      <a:pt x="132" y="64"/>
                      <a:pt x="130" y="64"/>
                      <a:pt x="129" y="63"/>
                    </a:cubicBezTo>
                    <a:cubicBezTo>
                      <a:pt x="130" y="63"/>
                      <a:pt x="131" y="64"/>
                      <a:pt x="132" y="63"/>
                    </a:cubicBezTo>
                    <a:cubicBezTo>
                      <a:pt x="133" y="62"/>
                      <a:pt x="132" y="61"/>
                      <a:pt x="131" y="61"/>
                    </a:cubicBezTo>
                    <a:cubicBezTo>
                      <a:pt x="129" y="61"/>
                      <a:pt x="127" y="62"/>
                      <a:pt x="126" y="63"/>
                    </a:cubicBezTo>
                    <a:cubicBezTo>
                      <a:pt x="125" y="63"/>
                      <a:pt x="124" y="65"/>
                      <a:pt x="123" y="65"/>
                    </a:cubicBezTo>
                    <a:close/>
                    <a:moveTo>
                      <a:pt x="148" y="145"/>
                    </a:moveTo>
                    <a:cubicBezTo>
                      <a:pt x="148" y="145"/>
                      <a:pt x="146" y="145"/>
                      <a:pt x="145" y="144"/>
                    </a:cubicBezTo>
                    <a:cubicBezTo>
                      <a:pt x="144" y="144"/>
                      <a:pt x="144" y="144"/>
                      <a:pt x="142" y="143"/>
                    </a:cubicBezTo>
                    <a:cubicBezTo>
                      <a:pt x="143" y="141"/>
                      <a:pt x="140" y="140"/>
                      <a:pt x="138" y="139"/>
                    </a:cubicBezTo>
                    <a:cubicBezTo>
                      <a:pt x="137" y="138"/>
                      <a:pt x="136" y="136"/>
                      <a:pt x="133" y="137"/>
                    </a:cubicBezTo>
                    <a:cubicBezTo>
                      <a:pt x="133" y="137"/>
                      <a:pt x="131" y="138"/>
                      <a:pt x="131" y="138"/>
                    </a:cubicBezTo>
                    <a:cubicBezTo>
                      <a:pt x="130" y="137"/>
                      <a:pt x="129" y="136"/>
                      <a:pt x="127" y="136"/>
                    </a:cubicBezTo>
                    <a:cubicBezTo>
                      <a:pt x="125" y="135"/>
                      <a:pt x="124" y="133"/>
                      <a:pt x="122" y="135"/>
                    </a:cubicBezTo>
                    <a:cubicBezTo>
                      <a:pt x="121" y="136"/>
                      <a:pt x="121" y="137"/>
                      <a:pt x="121" y="138"/>
                    </a:cubicBezTo>
                    <a:cubicBezTo>
                      <a:pt x="119" y="137"/>
                      <a:pt x="122" y="135"/>
                      <a:pt x="121" y="134"/>
                    </a:cubicBezTo>
                    <a:cubicBezTo>
                      <a:pt x="120" y="132"/>
                      <a:pt x="117" y="135"/>
                      <a:pt x="116" y="136"/>
                    </a:cubicBezTo>
                    <a:cubicBezTo>
                      <a:pt x="115" y="136"/>
                      <a:pt x="114" y="137"/>
                      <a:pt x="114" y="137"/>
                    </a:cubicBezTo>
                    <a:cubicBezTo>
                      <a:pt x="113" y="138"/>
                      <a:pt x="113" y="139"/>
                      <a:pt x="113" y="140"/>
                    </a:cubicBezTo>
                    <a:cubicBezTo>
                      <a:pt x="112" y="139"/>
                      <a:pt x="110" y="139"/>
                      <a:pt x="110" y="139"/>
                    </a:cubicBezTo>
                    <a:cubicBezTo>
                      <a:pt x="110" y="141"/>
                      <a:pt x="110" y="144"/>
                      <a:pt x="111" y="147"/>
                    </a:cubicBezTo>
                    <a:cubicBezTo>
                      <a:pt x="111" y="149"/>
                      <a:pt x="111" y="152"/>
                      <a:pt x="110" y="153"/>
                    </a:cubicBezTo>
                    <a:cubicBezTo>
                      <a:pt x="108" y="154"/>
                      <a:pt x="106" y="156"/>
                      <a:pt x="106" y="158"/>
                    </a:cubicBezTo>
                    <a:cubicBezTo>
                      <a:pt x="106" y="159"/>
                      <a:pt x="106" y="161"/>
                      <a:pt x="108" y="161"/>
                    </a:cubicBezTo>
                    <a:cubicBezTo>
                      <a:pt x="108" y="163"/>
                      <a:pt x="106" y="164"/>
                      <a:pt x="106" y="166"/>
                    </a:cubicBezTo>
                    <a:cubicBezTo>
                      <a:pt x="106" y="166"/>
                      <a:pt x="106" y="167"/>
                      <a:pt x="106" y="168"/>
                    </a:cubicBezTo>
                    <a:cubicBezTo>
                      <a:pt x="123" y="165"/>
                      <a:pt x="137" y="157"/>
                      <a:pt x="148" y="145"/>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0" name="Freeform 343">
                <a:extLst>
                  <a:ext uri="{FF2B5EF4-FFF2-40B4-BE49-F238E27FC236}">
                    <a16:creationId xmlns:a16="http://schemas.microsoft.com/office/drawing/2014/main" id="{56549E86-20C8-3D49-A72C-03AD15D3507F}"/>
                  </a:ext>
                </a:extLst>
              </p:cNvPr>
              <p:cNvSpPr>
                <a:spLocks noEditPoints="1"/>
              </p:cNvSpPr>
              <p:nvPr/>
            </p:nvSpPr>
            <p:spPr bwMode="auto">
              <a:xfrm>
                <a:off x="9128370" y="8732243"/>
                <a:ext cx="281376" cy="328324"/>
              </a:xfrm>
              <a:custGeom>
                <a:avLst/>
                <a:gdLst>
                  <a:gd name="T0" fmla="*/ 111 w 111"/>
                  <a:gd name="T1" fmla="*/ 46 h 130"/>
                  <a:gd name="T2" fmla="*/ 111 w 111"/>
                  <a:gd name="T3" fmla="*/ 123 h 130"/>
                  <a:gd name="T4" fmla="*/ 104 w 111"/>
                  <a:gd name="T5" fmla="*/ 130 h 130"/>
                  <a:gd name="T6" fmla="*/ 7 w 111"/>
                  <a:gd name="T7" fmla="*/ 130 h 130"/>
                  <a:gd name="T8" fmla="*/ 0 w 111"/>
                  <a:gd name="T9" fmla="*/ 123 h 130"/>
                  <a:gd name="T10" fmla="*/ 0 w 111"/>
                  <a:gd name="T11" fmla="*/ 7 h 130"/>
                  <a:gd name="T12" fmla="*/ 7 w 111"/>
                  <a:gd name="T13" fmla="*/ 0 h 130"/>
                  <a:gd name="T14" fmla="*/ 65 w 111"/>
                  <a:gd name="T15" fmla="*/ 0 h 130"/>
                  <a:gd name="T16" fmla="*/ 65 w 111"/>
                  <a:gd name="T17" fmla="*/ 39 h 130"/>
                  <a:gd name="T18" fmla="*/ 72 w 111"/>
                  <a:gd name="T19" fmla="*/ 46 h 130"/>
                  <a:gd name="T20" fmla="*/ 111 w 111"/>
                  <a:gd name="T21" fmla="*/ 46 h 130"/>
                  <a:gd name="T22" fmla="*/ 83 w 111"/>
                  <a:gd name="T23" fmla="*/ 58 h 130"/>
                  <a:gd name="T24" fmla="*/ 81 w 111"/>
                  <a:gd name="T25" fmla="*/ 56 h 130"/>
                  <a:gd name="T26" fmla="*/ 30 w 111"/>
                  <a:gd name="T27" fmla="*/ 56 h 130"/>
                  <a:gd name="T28" fmla="*/ 28 w 111"/>
                  <a:gd name="T29" fmla="*/ 58 h 130"/>
                  <a:gd name="T30" fmla="*/ 28 w 111"/>
                  <a:gd name="T31" fmla="*/ 63 h 130"/>
                  <a:gd name="T32" fmla="*/ 30 w 111"/>
                  <a:gd name="T33" fmla="*/ 65 h 130"/>
                  <a:gd name="T34" fmla="*/ 81 w 111"/>
                  <a:gd name="T35" fmla="*/ 65 h 130"/>
                  <a:gd name="T36" fmla="*/ 83 w 111"/>
                  <a:gd name="T37" fmla="*/ 63 h 130"/>
                  <a:gd name="T38" fmla="*/ 83 w 111"/>
                  <a:gd name="T39" fmla="*/ 58 h 130"/>
                  <a:gd name="T40" fmla="*/ 83 w 111"/>
                  <a:gd name="T41" fmla="*/ 77 h 130"/>
                  <a:gd name="T42" fmla="*/ 81 w 111"/>
                  <a:gd name="T43" fmla="*/ 74 h 130"/>
                  <a:gd name="T44" fmla="*/ 30 w 111"/>
                  <a:gd name="T45" fmla="*/ 74 h 130"/>
                  <a:gd name="T46" fmla="*/ 28 w 111"/>
                  <a:gd name="T47" fmla="*/ 77 h 130"/>
                  <a:gd name="T48" fmla="*/ 28 w 111"/>
                  <a:gd name="T49" fmla="*/ 81 h 130"/>
                  <a:gd name="T50" fmla="*/ 30 w 111"/>
                  <a:gd name="T51" fmla="*/ 84 h 130"/>
                  <a:gd name="T52" fmla="*/ 81 w 111"/>
                  <a:gd name="T53" fmla="*/ 84 h 130"/>
                  <a:gd name="T54" fmla="*/ 83 w 111"/>
                  <a:gd name="T55" fmla="*/ 81 h 130"/>
                  <a:gd name="T56" fmla="*/ 83 w 111"/>
                  <a:gd name="T57" fmla="*/ 77 h 130"/>
                  <a:gd name="T58" fmla="*/ 83 w 111"/>
                  <a:gd name="T59" fmla="*/ 95 h 130"/>
                  <a:gd name="T60" fmla="*/ 81 w 111"/>
                  <a:gd name="T61" fmla="*/ 93 h 130"/>
                  <a:gd name="T62" fmla="*/ 30 w 111"/>
                  <a:gd name="T63" fmla="*/ 93 h 130"/>
                  <a:gd name="T64" fmla="*/ 28 w 111"/>
                  <a:gd name="T65" fmla="*/ 95 h 130"/>
                  <a:gd name="T66" fmla="*/ 28 w 111"/>
                  <a:gd name="T67" fmla="*/ 100 h 130"/>
                  <a:gd name="T68" fmla="*/ 30 w 111"/>
                  <a:gd name="T69" fmla="*/ 102 h 130"/>
                  <a:gd name="T70" fmla="*/ 81 w 111"/>
                  <a:gd name="T71" fmla="*/ 102 h 130"/>
                  <a:gd name="T72" fmla="*/ 83 w 111"/>
                  <a:gd name="T73" fmla="*/ 100 h 130"/>
                  <a:gd name="T74" fmla="*/ 83 w 111"/>
                  <a:gd name="T75" fmla="*/ 95 h 130"/>
                  <a:gd name="T76" fmla="*/ 108 w 111"/>
                  <a:gd name="T77" fmla="*/ 37 h 130"/>
                  <a:gd name="T78" fmla="*/ 74 w 111"/>
                  <a:gd name="T79" fmla="*/ 37 h 130"/>
                  <a:gd name="T80" fmla="*/ 74 w 111"/>
                  <a:gd name="T81" fmla="*/ 3 h 130"/>
                  <a:gd name="T82" fmla="*/ 77 w 111"/>
                  <a:gd name="T83" fmla="*/ 5 h 130"/>
                  <a:gd name="T84" fmla="*/ 106 w 111"/>
                  <a:gd name="T85" fmla="*/ 34 h 130"/>
                  <a:gd name="T86" fmla="*/ 108 w 111"/>
                  <a:gd name="T87" fmla="*/ 3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1" h="130">
                    <a:moveTo>
                      <a:pt x="111" y="46"/>
                    </a:moveTo>
                    <a:cubicBezTo>
                      <a:pt x="111" y="123"/>
                      <a:pt x="111" y="123"/>
                      <a:pt x="111" y="123"/>
                    </a:cubicBezTo>
                    <a:cubicBezTo>
                      <a:pt x="111" y="127"/>
                      <a:pt x="108" y="130"/>
                      <a:pt x="104" y="130"/>
                    </a:cubicBezTo>
                    <a:cubicBezTo>
                      <a:pt x="7" y="130"/>
                      <a:pt x="7" y="130"/>
                      <a:pt x="7" y="130"/>
                    </a:cubicBezTo>
                    <a:cubicBezTo>
                      <a:pt x="3" y="130"/>
                      <a:pt x="0" y="127"/>
                      <a:pt x="0" y="123"/>
                    </a:cubicBezTo>
                    <a:cubicBezTo>
                      <a:pt x="0" y="7"/>
                      <a:pt x="0" y="7"/>
                      <a:pt x="0" y="7"/>
                    </a:cubicBezTo>
                    <a:cubicBezTo>
                      <a:pt x="0" y="3"/>
                      <a:pt x="3" y="0"/>
                      <a:pt x="7" y="0"/>
                    </a:cubicBezTo>
                    <a:cubicBezTo>
                      <a:pt x="65" y="0"/>
                      <a:pt x="65" y="0"/>
                      <a:pt x="65" y="0"/>
                    </a:cubicBezTo>
                    <a:cubicBezTo>
                      <a:pt x="65" y="39"/>
                      <a:pt x="65" y="39"/>
                      <a:pt x="65" y="39"/>
                    </a:cubicBezTo>
                    <a:cubicBezTo>
                      <a:pt x="65" y="43"/>
                      <a:pt x="68" y="46"/>
                      <a:pt x="72" y="46"/>
                    </a:cubicBezTo>
                    <a:lnTo>
                      <a:pt x="111" y="46"/>
                    </a:lnTo>
                    <a:close/>
                    <a:moveTo>
                      <a:pt x="83" y="58"/>
                    </a:moveTo>
                    <a:cubicBezTo>
                      <a:pt x="83" y="57"/>
                      <a:pt x="82" y="56"/>
                      <a:pt x="81" y="56"/>
                    </a:cubicBezTo>
                    <a:cubicBezTo>
                      <a:pt x="30" y="56"/>
                      <a:pt x="30" y="56"/>
                      <a:pt x="30" y="56"/>
                    </a:cubicBezTo>
                    <a:cubicBezTo>
                      <a:pt x="29" y="56"/>
                      <a:pt x="28" y="57"/>
                      <a:pt x="28" y="58"/>
                    </a:cubicBezTo>
                    <a:cubicBezTo>
                      <a:pt x="28" y="63"/>
                      <a:pt x="28" y="63"/>
                      <a:pt x="28" y="63"/>
                    </a:cubicBezTo>
                    <a:cubicBezTo>
                      <a:pt x="28" y="64"/>
                      <a:pt x="29" y="65"/>
                      <a:pt x="30" y="65"/>
                    </a:cubicBezTo>
                    <a:cubicBezTo>
                      <a:pt x="81" y="65"/>
                      <a:pt x="81" y="65"/>
                      <a:pt x="81" y="65"/>
                    </a:cubicBezTo>
                    <a:cubicBezTo>
                      <a:pt x="82" y="65"/>
                      <a:pt x="83" y="64"/>
                      <a:pt x="83" y="63"/>
                    </a:cubicBezTo>
                    <a:lnTo>
                      <a:pt x="83" y="58"/>
                    </a:lnTo>
                    <a:close/>
                    <a:moveTo>
                      <a:pt x="83" y="77"/>
                    </a:moveTo>
                    <a:cubicBezTo>
                      <a:pt x="83" y="75"/>
                      <a:pt x="82" y="74"/>
                      <a:pt x="81" y="74"/>
                    </a:cubicBezTo>
                    <a:cubicBezTo>
                      <a:pt x="30" y="74"/>
                      <a:pt x="30" y="74"/>
                      <a:pt x="30" y="74"/>
                    </a:cubicBezTo>
                    <a:cubicBezTo>
                      <a:pt x="29" y="74"/>
                      <a:pt x="28" y="75"/>
                      <a:pt x="28" y="77"/>
                    </a:cubicBezTo>
                    <a:cubicBezTo>
                      <a:pt x="28" y="81"/>
                      <a:pt x="28" y="81"/>
                      <a:pt x="28" y="81"/>
                    </a:cubicBezTo>
                    <a:cubicBezTo>
                      <a:pt x="28" y="83"/>
                      <a:pt x="29" y="84"/>
                      <a:pt x="30" y="84"/>
                    </a:cubicBezTo>
                    <a:cubicBezTo>
                      <a:pt x="81" y="84"/>
                      <a:pt x="81" y="84"/>
                      <a:pt x="81" y="84"/>
                    </a:cubicBezTo>
                    <a:cubicBezTo>
                      <a:pt x="82" y="84"/>
                      <a:pt x="83" y="83"/>
                      <a:pt x="83" y="81"/>
                    </a:cubicBezTo>
                    <a:lnTo>
                      <a:pt x="83" y="77"/>
                    </a:lnTo>
                    <a:close/>
                    <a:moveTo>
                      <a:pt x="83" y="95"/>
                    </a:moveTo>
                    <a:cubicBezTo>
                      <a:pt x="83" y="94"/>
                      <a:pt x="82" y="93"/>
                      <a:pt x="81" y="93"/>
                    </a:cubicBezTo>
                    <a:cubicBezTo>
                      <a:pt x="30" y="93"/>
                      <a:pt x="30" y="93"/>
                      <a:pt x="30" y="93"/>
                    </a:cubicBezTo>
                    <a:cubicBezTo>
                      <a:pt x="29" y="93"/>
                      <a:pt x="28" y="94"/>
                      <a:pt x="28" y="95"/>
                    </a:cubicBezTo>
                    <a:cubicBezTo>
                      <a:pt x="28" y="100"/>
                      <a:pt x="28" y="100"/>
                      <a:pt x="28" y="100"/>
                    </a:cubicBezTo>
                    <a:cubicBezTo>
                      <a:pt x="28" y="101"/>
                      <a:pt x="29" y="102"/>
                      <a:pt x="30" y="102"/>
                    </a:cubicBezTo>
                    <a:cubicBezTo>
                      <a:pt x="81" y="102"/>
                      <a:pt x="81" y="102"/>
                      <a:pt x="81" y="102"/>
                    </a:cubicBezTo>
                    <a:cubicBezTo>
                      <a:pt x="82" y="102"/>
                      <a:pt x="83" y="101"/>
                      <a:pt x="83" y="100"/>
                    </a:cubicBezTo>
                    <a:lnTo>
                      <a:pt x="83" y="95"/>
                    </a:lnTo>
                    <a:close/>
                    <a:moveTo>
                      <a:pt x="108" y="37"/>
                    </a:moveTo>
                    <a:cubicBezTo>
                      <a:pt x="74" y="37"/>
                      <a:pt x="74" y="37"/>
                      <a:pt x="74" y="37"/>
                    </a:cubicBezTo>
                    <a:cubicBezTo>
                      <a:pt x="74" y="3"/>
                      <a:pt x="74" y="3"/>
                      <a:pt x="74" y="3"/>
                    </a:cubicBezTo>
                    <a:cubicBezTo>
                      <a:pt x="75" y="3"/>
                      <a:pt x="76" y="4"/>
                      <a:pt x="77" y="5"/>
                    </a:cubicBezTo>
                    <a:cubicBezTo>
                      <a:pt x="106" y="34"/>
                      <a:pt x="106" y="34"/>
                      <a:pt x="106" y="34"/>
                    </a:cubicBezTo>
                    <a:cubicBezTo>
                      <a:pt x="107" y="35"/>
                      <a:pt x="108" y="36"/>
                      <a:pt x="108" y="37"/>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1" name="Freeform 86">
                <a:extLst>
                  <a:ext uri="{FF2B5EF4-FFF2-40B4-BE49-F238E27FC236}">
                    <a16:creationId xmlns:a16="http://schemas.microsoft.com/office/drawing/2014/main" id="{A97D6DB9-E6EB-D146-9D9F-430688070A23}"/>
                  </a:ext>
                </a:extLst>
              </p:cNvPr>
              <p:cNvSpPr>
                <a:spLocks noEditPoints="1"/>
              </p:cNvSpPr>
              <p:nvPr/>
            </p:nvSpPr>
            <p:spPr bwMode="auto">
              <a:xfrm>
                <a:off x="9063933" y="15279860"/>
                <a:ext cx="410250" cy="407207"/>
              </a:xfrm>
              <a:custGeom>
                <a:avLst/>
                <a:gdLst>
                  <a:gd name="T0" fmla="*/ 141 w 162"/>
                  <a:gd name="T1" fmla="*/ 162 h 162"/>
                  <a:gd name="T2" fmla="*/ 20 w 162"/>
                  <a:gd name="T3" fmla="*/ 162 h 162"/>
                  <a:gd name="T4" fmla="*/ 7 w 162"/>
                  <a:gd name="T5" fmla="*/ 139 h 162"/>
                  <a:gd name="T6" fmla="*/ 60 w 162"/>
                  <a:gd name="T7" fmla="*/ 55 h 162"/>
                  <a:gd name="T8" fmla="*/ 60 w 162"/>
                  <a:gd name="T9" fmla="*/ 13 h 162"/>
                  <a:gd name="T10" fmla="*/ 54 w 162"/>
                  <a:gd name="T11" fmla="*/ 13 h 162"/>
                  <a:gd name="T12" fmla="*/ 47 w 162"/>
                  <a:gd name="T13" fmla="*/ 7 h 162"/>
                  <a:gd name="T14" fmla="*/ 54 w 162"/>
                  <a:gd name="T15" fmla="*/ 0 h 162"/>
                  <a:gd name="T16" fmla="*/ 108 w 162"/>
                  <a:gd name="T17" fmla="*/ 0 h 162"/>
                  <a:gd name="T18" fmla="*/ 114 w 162"/>
                  <a:gd name="T19" fmla="*/ 7 h 162"/>
                  <a:gd name="T20" fmla="*/ 108 w 162"/>
                  <a:gd name="T21" fmla="*/ 13 h 162"/>
                  <a:gd name="T22" fmla="*/ 101 w 162"/>
                  <a:gd name="T23" fmla="*/ 13 h 162"/>
                  <a:gd name="T24" fmla="*/ 101 w 162"/>
                  <a:gd name="T25" fmla="*/ 55 h 162"/>
                  <a:gd name="T26" fmla="*/ 154 w 162"/>
                  <a:gd name="T27" fmla="*/ 139 h 162"/>
                  <a:gd name="T28" fmla="*/ 141 w 162"/>
                  <a:gd name="T29" fmla="*/ 162 h 162"/>
                  <a:gd name="T30" fmla="*/ 43 w 162"/>
                  <a:gd name="T31" fmla="*/ 108 h 162"/>
                  <a:gd name="T32" fmla="*/ 118 w 162"/>
                  <a:gd name="T33" fmla="*/ 108 h 162"/>
                  <a:gd name="T34" fmla="*/ 90 w 162"/>
                  <a:gd name="T35" fmla="*/ 63 h 162"/>
                  <a:gd name="T36" fmla="*/ 87 w 162"/>
                  <a:gd name="T37" fmla="*/ 59 h 162"/>
                  <a:gd name="T38" fmla="*/ 87 w 162"/>
                  <a:gd name="T39" fmla="*/ 55 h 162"/>
                  <a:gd name="T40" fmla="*/ 87 w 162"/>
                  <a:gd name="T41" fmla="*/ 13 h 162"/>
                  <a:gd name="T42" fmla="*/ 74 w 162"/>
                  <a:gd name="T43" fmla="*/ 13 h 162"/>
                  <a:gd name="T44" fmla="*/ 74 w 162"/>
                  <a:gd name="T45" fmla="*/ 55 h 162"/>
                  <a:gd name="T46" fmla="*/ 74 w 162"/>
                  <a:gd name="T47" fmla="*/ 59 h 162"/>
                  <a:gd name="T48" fmla="*/ 72 w 162"/>
                  <a:gd name="T49" fmla="*/ 63 h 162"/>
                  <a:gd name="T50" fmla="*/ 43 w 162"/>
                  <a:gd name="T51" fmla="*/ 10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2" h="162">
                    <a:moveTo>
                      <a:pt x="141" y="162"/>
                    </a:moveTo>
                    <a:cubicBezTo>
                      <a:pt x="20" y="162"/>
                      <a:pt x="20" y="162"/>
                      <a:pt x="20" y="162"/>
                    </a:cubicBezTo>
                    <a:cubicBezTo>
                      <a:pt x="5" y="162"/>
                      <a:pt x="0" y="151"/>
                      <a:pt x="7" y="139"/>
                    </a:cubicBezTo>
                    <a:cubicBezTo>
                      <a:pt x="60" y="55"/>
                      <a:pt x="60" y="55"/>
                      <a:pt x="60" y="55"/>
                    </a:cubicBezTo>
                    <a:cubicBezTo>
                      <a:pt x="60" y="13"/>
                      <a:pt x="60" y="13"/>
                      <a:pt x="60" y="13"/>
                    </a:cubicBezTo>
                    <a:cubicBezTo>
                      <a:pt x="54" y="13"/>
                      <a:pt x="54" y="13"/>
                      <a:pt x="54" y="13"/>
                    </a:cubicBezTo>
                    <a:cubicBezTo>
                      <a:pt x="50" y="13"/>
                      <a:pt x="47" y="10"/>
                      <a:pt x="47" y="7"/>
                    </a:cubicBezTo>
                    <a:cubicBezTo>
                      <a:pt x="47" y="3"/>
                      <a:pt x="50" y="0"/>
                      <a:pt x="54" y="0"/>
                    </a:cubicBezTo>
                    <a:cubicBezTo>
                      <a:pt x="108" y="0"/>
                      <a:pt x="108" y="0"/>
                      <a:pt x="108" y="0"/>
                    </a:cubicBezTo>
                    <a:cubicBezTo>
                      <a:pt x="111" y="0"/>
                      <a:pt x="114" y="3"/>
                      <a:pt x="114" y="7"/>
                    </a:cubicBezTo>
                    <a:cubicBezTo>
                      <a:pt x="114" y="10"/>
                      <a:pt x="111" y="13"/>
                      <a:pt x="108" y="13"/>
                    </a:cubicBezTo>
                    <a:cubicBezTo>
                      <a:pt x="101" y="13"/>
                      <a:pt x="101" y="13"/>
                      <a:pt x="101" y="13"/>
                    </a:cubicBezTo>
                    <a:cubicBezTo>
                      <a:pt x="101" y="55"/>
                      <a:pt x="101" y="55"/>
                      <a:pt x="101" y="55"/>
                    </a:cubicBezTo>
                    <a:cubicBezTo>
                      <a:pt x="154" y="139"/>
                      <a:pt x="154" y="139"/>
                      <a:pt x="154" y="139"/>
                    </a:cubicBezTo>
                    <a:cubicBezTo>
                      <a:pt x="162" y="151"/>
                      <a:pt x="156" y="162"/>
                      <a:pt x="141" y="162"/>
                    </a:cubicBezTo>
                    <a:close/>
                    <a:moveTo>
                      <a:pt x="43" y="108"/>
                    </a:moveTo>
                    <a:cubicBezTo>
                      <a:pt x="118" y="108"/>
                      <a:pt x="118" y="108"/>
                      <a:pt x="118" y="108"/>
                    </a:cubicBezTo>
                    <a:cubicBezTo>
                      <a:pt x="90" y="63"/>
                      <a:pt x="90" y="63"/>
                      <a:pt x="90" y="63"/>
                    </a:cubicBezTo>
                    <a:cubicBezTo>
                      <a:pt x="87" y="59"/>
                      <a:pt x="87" y="59"/>
                      <a:pt x="87" y="59"/>
                    </a:cubicBezTo>
                    <a:cubicBezTo>
                      <a:pt x="87" y="55"/>
                      <a:pt x="87" y="55"/>
                      <a:pt x="87" y="55"/>
                    </a:cubicBezTo>
                    <a:cubicBezTo>
                      <a:pt x="87" y="13"/>
                      <a:pt x="87" y="13"/>
                      <a:pt x="87" y="13"/>
                    </a:cubicBezTo>
                    <a:cubicBezTo>
                      <a:pt x="74" y="13"/>
                      <a:pt x="74" y="13"/>
                      <a:pt x="74" y="13"/>
                    </a:cubicBezTo>
                    <a:cubicBezTo>
                      <a:pt x="74" y="55"/>
                      <a:pt x="74" y="55"/>
                      <a:pt x="74" y="55"/>
                    </a:cubicBezTo>
                    <a:cubicBezTo>
                      <a:pt x="74" y="59"/>
                      <a:pt x="74" y="59"/>
                      <a:pt x="74" y="59"/>
                    </a:cubicBezTo>
                    <a:cubicBezTo>
                      <a:pt x="72" y="63"/>
                      <a:pt x="72" y="63"/>
                      <a:pt x="72" y="63"/>
                    </a:cubicBezTo>
                    <a:lnTo>
                      <a:pt x="43" y="108"/>
                    </a:lnTo>
                    <a:close/>
                  </a:path>
                </a:pathLst>
              </a:custGeom>
              <a:solidFill>
                <a:srgbClr val="50E6FF"/>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2" name="Freeform 90">
                <a:extLst>
                  <a:ext uri="{FF2B5EF4-FFF2-40B4-BE49-F238E27FC236}">
                    <a16:creationId xmlns:a16="http://schemas.microsoft.com/office/drawing/2014/main" id="{2B8E31AD-E832-3549-850F-473BFBCF0AEB}"/>
                  </a:ext>
                </a:extLst>
              </p:cNvPr>
              <p:cNvSpPr>
                <a:spLocks noEditPoints="1"/>
              </p:cNvSpPr>
              <p:nvPr/>
            </p:nvSpPr>
            <p:spPr bwMode="auto">
              <a:xfrm>
                <a:off x="9104214" y="13612946"/>
                <a:ext cx="329689" cy="271435"/>
              </a:xfrm>
              <a:custGeom>
                <a:avLst/>
                <a:gdLst>
                  <a:gd name="T0" fmla="*/ 109 w 109"/>
                  <a:gd name="T1" fmla="*/ 78 h 90"/>
                  <a:gd name="T2" fmla="*/ 97 w 109"/>
                  <a:gd name="T3" fmla="*/ 90 h 90"/>
                  <a:gd name="T4" fmla="*/ 12 w 109"/>
                  <a:gd name="T5" fmla="*/ 90 h 90"/>
                  <a:gd name="T6" fmla="*/ 0 w 109"/>
                  <a:gd name="T7" fmla="*/ 78 h 90"/>
                  <a:gd name="T8" fmla="*/ 0 w 109"/>
                  <a:gd name="T9" fmla="*/ 56 h 90"/>
                  <a:gd name="T10" fmla="*/ 2 w 109"/>
                  <a:gd name="T11" fmla="*/ 51 h 90"/>
                  <a:gd name="T12" fmla="*/ 15 w 109"/>
                  <a:gd name="T13" fmla="*/ 8 h 90"/>
                  <a:gd name="T14" fmla="*/ 27 w 109"/>
                  <a:gd name="T15" fmla="*/ 0 h 90"/>
                  <a:gd name="T16" fmla="*/ 82 w 109"/>
                  <a:gd name="T17" fmla="*/ 0 h 90"/>
                  <a:gd name="T18" fmla="*/ 94 w 109"/>
                  <a:gd name="T19" fmla="*/ 8 h 90"/>
                  <a:gd name="T20" fmla="*/ 107 w 109"/>
                  <a:gd name="T21" fmla="*/ 51 h 90"/>
                  <a:gd name="T22" fmla="*/ 109 w 109"/>
                  <a:gd name="T23" fmla="*/ 56 h 90"/>
                  <a:gd name="T24" fmla="*/ 109 w 109"/>
                  <a:gd name="T25" fmla="*/ 78 h 90"/>
                  <a:gd name="T26" fmla="*/ 100 w 109"/>
                  <a:gd name="T27" fmla="*/ 56 h 90"/>
                  <a:gd name="T28" fmla="*/ 97 w 109"/>
                  <a:gd name="T29" fmla="*/ 54 h 90"/>
                  <a:gd name="T30" fmla="*/ 12 w 109"/>
                  <a:gd name="T31" fmla="*/ 54 h 90"/>
                  <a:gd name="T32" fmla="*/ 9 w 109"/>
                  <a:gd name="T33" fmla="*/ 56 h 90"/>
                  <a:gd name="T34" fmla="*/ 9 w 109"/>
                  <a:gd name="T35" fmla="*/ 78 h 90"/>
                  <a:gd name="T36" fmla="*/ 12 w 109"/>
                  <a:gd name="T37" fmla="*/ 81 h 90"/>
                  <a:gd name="T38" fmla="*/ 97 w 109"/>
                  <a:gd name="T39" fmla="*/ 81 h 90"/>
                  <a:gd name="T40" fmla="*/ 100 w 109"/>
                  <a:gd name="T41" fmla="*/ 78 h 90"/>
                  <a:gd name="T42" fmla="*/ 100 w 109"/>
                  <a:gd name="T43" fmla="*/ 56 h 90"/>
                  <a:gd name="T44" fmla="*/ 96 w 109"/>
                  <a:gd name="T45" fmla="*/ 45 h 90"/>
                  <a:gd name="T46" fmla="*/ 85 w 109"/>
                  <a:gd name="T47" fmla="*/ 11 h 90"/>
                  <a:gd name="T48" fmla="*/ 82 w 109"/>
                  <a:gd name="T49" fmla="*/ 9 h 90"/>
                  <a:gd name="T50" fmla="*/ 27 w 109"/>
                  <a:gd name="T51" fmla="*/ 9 h 90"/>
                  <a:gd name="T52" fmla="*/ 24 w 109"/>
                  <a:gd name="T53" fmla="*/ 11 h 90"/>
                  <a:gd name="T54" fmla="*/ 13 w 109"/>
                  <a:gd name="T55" fmla="*/ 45 h 90"/>
                  <a:gd name="T56" fmla="*/ 96 w 109"/>
                  <a:gd name="T57" fmla="*/ 45 h 90"/>
                  <a:gd name="T58" fmla="*/ 68 w 109"/>
                  <a:gd name="T59" fmla="*/ 73 h 90"/>
                  <a:gd name="T60" fmla="*/ 62 w 109"/>
                  <a:gd name="T61" fmla="*/ 67 h 90"/>
                  <a:gd name="T62" fmla="*/ 68 w 109"/>
                  <a:gd name="T63" fmla="*/ 62 h 90"/>
                  <a:gd name="T64" fmla="*/ 74 w 109"/>
                  <a:gd name="T65" fmla="*/ 67 h 90"/>
                  <a:gd name="T66" fmla="*/ 68 w 109"/>
                  <a:gd name="T67" fmla="*/ 73 h 90"/>
                  <a:gd name="T68" fmla="*/ 86 w 109"/>
                  <a:gd name="T69" fmla="*/ 73 h 90"/>
                  <a:gd name="T70" fmla="*/ 80 w 109"/>
                  <a:gd name="T71" fmla="*/ 67 h 90"/>
                  <a:gd name="T72" fmla="*/ 86 w 109"/>
                  <a:gd name="T73" fmla="*/ 62 h 90"/>
                  <a:gd name="T74" fmla="*/ 92 w 109"/>
                  <a:gd name="T75" fmla="*/ 67 h 90"/>
                  <a:gd name="T76" fmla="*/ 86 w 109"/>
                  <a:gd name="T77" fmla="*/ 73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9" h="90">
                    <a:moveTo>
                      <a:pt x="109" y="78"/>
                    </a:moveTo>
                    <a:cubicBezTo>
                      <a:pt x="109" y="85"/>
                      <a:pt x="104" y="90"/>
                      <a:pt x="97" y="90"/>
                    </a:cubicBezTo>
                    <a:cubicBezTo>
                      <a:pt x="12" y="90"/>
                      <a:pt x="12" y="90"/>
                      <a:pt x="12" y="90"/>
                    </a:cubicBezTo>
                    <a:cubicBezTo>
                      <a:pt x="6" y="90"/>
                      <a:pt x="0" y="85"/>
                      <a:pt x="0" y="78"/>
                    </a:cubicBezTo>
                    <a:cubicBezTo>
                      <a:pt x="0" y="56"/>
                      <a:pt x="0" y="56"/>
                      <a:pt x="0" y="56"/>
                    </a:cubicBezTo>
                    <a:cubicBezTo>
                      <a:pt x="0" y="54"/>
                      <a:pt x="1" y="52"/>
                      <a:pt x="2" y="51"/>
                    </a:cubicBezTo>
                    <a:cubicBezTo>
                      <a:pt x="15" y="8"/>
                      <a:pt x="15" y="8"/>
                      <a:pt x="15" y="8"/>
                    </a:cubicBezTo>
                    <a:cubicBezTo>
                      <a:pt x="17" y="3"/>
                      <a:pt x="22" y="0"/>
                      <a:pt x="27" y="0"/>
                    </a:cubicBezTo>
                    <a:cubicBezTo>
                      <a:pt x="82" y="0"/>
                      <a:pt x="82" y="0"/>
                      <a:pt x="82" y="0"/>
                    </a:cubicBezTo>
                    <a:cubicBezTo>
                      <a:pt x="87" y="0"/>
                      <a:pt x="92" y="3"/>
                      <a:pt x="94" y="8"/>
                    </a:cubicBezTo>
                    <a:cubicBezTo>
                      <a:pt x="107" y="51"/>
                      <a:pt x="107" y="51"/>
                      <a:pt x="107" y="51"/>
                    </a:cubicBezTo>
                    <a:cubicBezTo>
                      <a:pt x="108" y="52"/>
                      <a:pt x="109" y="54"/>
                      <a:pt x="109" y="56"/>
                    </a:cubicBezTo>
                    <a:lnTo>
                      <a:pt x="109" y="78"/>
                    </a:lnTo>
                    <a:close/>
                    <a:moveTo>
                      <a:pt x="100" y="56"/>
                    </a:moveTo>
                    <a:cubicBezTo>
                      <a:pt x="100" y="55"/>
                      <a:pt x="99" y="54"/>
                      <a:pt x="97" y="54"/>
                    </a:cubicBezTo>
                    <a:cubicBezTo>
                      <a:pt x="12" y="54"/>
                      <a:pt x="12" y="54"/>
                      <a:pt x="12" y="54"/>
                    </a:cubicBezTo>
                    <a:cubicBezTo>
                      <a:pt x="11" y="54"/>
                      <a:pt x="9" y="55"/>
                      <a:pt x="9" y="56"/>
                    </a:cubicBezTo>
                    <a:cubicBezTo>
                      <a:pt x="9" y="78"/>
                      <a:pt x="9" y="78"/>
                      <a:pt x="9" y="78"/>
                    </a:cubicBezTo>
                    <a:cubicBezTo>
                      <a:pt x="9" y="80"/>
                      <a:pt x="11" y="81"/>
                      <a:pt x="12" y="81"/>
                    </a:cubicBezTo>
                    <a:cubicBezTo>
                      <a:pt x="97" y="81"/>
                      <a:pt x="97" y="81"/>
                      <a:pt x="97" y="81"/>
                    </a:cubicBezTo>
                    <a:cubicBezTo>
                      <a:pt x="99" y="81"/>
                      <a:pt x="100" y="80"/>
                      <a:pt x="100" y="78"/>
                    </a:cubicBezTo>
                    <a:lnTo>
                      <a:pt x="100" y="56"/>
                    </a:lnTo>
                    <a:close/>
                    <a:moveTo>
                      <a:pt x="96" y="45"/>
                    </a:moveTo>
                    <a:cubicBezTo>
                      <a:pt x="85" y="11"/>
                      <a:pt x="85" y="11"/>
                      <a:pt x="85" y="11"/>
                    </a:cubicBezTo>
                    <a:cubicBezTo>
                      <a:pt x="85" y="9"/>
                      <a:pt x="83" y="9"/>
                      <a:pt x="82" y="9"/>
                    </a:cubicBezTo>
                    <a:cubicBezTo>
                      <a:pt x="27" y="9"/>
                      <a:pt x="27" y="9"/>
                      <a:pt x="27" y="9"/>
                    </a:cubicBezTo>
                    <a:cubicBezTo>
                      <a:pt x="26" y="9"/>
                      <a:pt x="24" y="9"/>
                      <a:pt x="24" y="11"/>
                    </a:cubicBezTo>
                    <a:cubicBezTo>
                      <a:pt x="13" y="45"/>
                      <a:pt x="13" y="45"/>
                      <a:pt x="13" y="45"/>
                    </a:cubicBezTo>
                    <a:lnTo>
                      <a:pt x="96" y="45"/>
                    </a:lnTo>
                    <a:close/>
                    <a:moveTo>
                      <a:pt x="68" y="73"/>
                    </a:moveTo>
                    <a:cubicBezTo>
                      <a:pt x="65" y="73"/>
                      <a:pt x="62" y="70"/>
                      <a:pt x="62" y="67"/>
                    </a:cubicBezTo>
                    <a:cubicBezTo>
                      <a:pt x="62" y="64"/>
                      <a:pt x="65" y="62"/>
                      <a:pt x="68" y="62"/>
                    </a:cubicBezTo>
                    <a:cubicBezTo>
                      <a:pt x="71" y="62"/>
                      <a:pt x="74" y="64"/>
                      <a:pt x="74" y="67"/>
                    </a:cubicBezTo>
                    <a:cubicBezTo>
                      <a:pt x="74" y="70"/>
                      <a:pt x="71" y="73"/>
                      <a:pt x="68" y="73"/>
                    </a:cubicBezTo>
                    <a:close/>
                    <a:moveTo>
                      <a:pt x="86" y="73"/>
                    </a:moveTo>
                    <a:cubicBezTo>
                      <a:pt x="83" y="73"/>
                      <a:pt x="80" y="70"/>
                      <a:pt x="80" y="67"/>
                    </a:cubicBezTo>
                    <a:cubicBezTo>
                      <a:pt x="80" y="64"/>
                      <a:pt x="83" y="62"/>
                      <a:pt x="86" y="62"/>
                    </a:cubicBezTo>
                    <a:cubicBezTo>
                      <a:pt x="89" y="62"/>
                      <a:pt x="92" y="64"/>
                      <a:pt x="92" y="67"/>
                    </a:cubicBezTo>
                    <a:cubicBezTo>
                      <a:pt x="92" y="70"/>
                      <a:pt x="89" y="73"/>
                      <a:pt x="86" y="73"/>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3" name="Freeform 110">
                <a:extLst>
                  <a:ext uri="{FF2B5EF4-FFF2-40B4-BE49-F238E27FC236}">
                    <a16:creationId xmlns:a16="http://schemas.microsoft.com/office/drawing/2014/main" id="{B68227B9-4D22-5943-AE44-0A49938D8B71}"/>
                  </a:ext>
                </a:extLst>
              </p:cNvPr>
              <p:cNvSpPr>
                <a:spLocks noEditPoints="1"/>
              </p:cNvSpPr>
              <p:nvPr/>
            </p:nvSpPr>
            <p:spPr bwMode="auto">
              <a:xfrm>
                <a:off x="9063933" y="11498138"/>
                <a:ext cx="410250" cy="409338"/>
              </a:xfrm>
              <a:custGeom>
                <a:avLst/>
                <a:gdLst>
                  <a:gd name="T0" fmla="*/ 154 w 162"/>
                  <a:gd name="T1" fmla="*/ 139 h 162"/>
                  <a:gd name="T2" fmla="*/ 139 w 162"/>
                  <a:gd name="T3" fmla="*/ 154 h 162"/>
                  <a:gd name="T4" fmla="*/ 119 w 162"/>
                  <a:gd name="T5" fmla="*/ 162 h 162"/>
                  <a:gd name="T6" fmla="*/ 99 w 162"/>
                  <a:gd name="T7" fmla="*/ 154 h 162"/>
                  <a:gd name="T8" fmla="*/ 79 w 162"/>
                  <a:gd name="T9" fmla="*/ 133 h 162"/>
                  <a:gd name="T10" fmla="*/ 70 w 162"/>
                  <a:gd name="T11" fmla="*/ 113 h 162"/>
                  <a:gd name="T12" fmla="*/ 79 w 162"/>
                  <a:gd name="T13" fmla="*/ 92 h 162"/>
                  <a:gd name="T14" fmla="*/ 70 w 162"/>
                  <a:gd name="T15" fmla="*/ 83 h 162"/>
                  <a:gd name="T16" fmla="*/ 50 w 162"/>
                  <a:gd name="T17" fmla="*/ 92 h 162"/>
                  <a:gd name="T18" fmla="*/ 29 w 162"/>
                  <a:gd name="T19" fmla="*/ 84 h 162"/>
                  <a:gd name="T20" fmla="*/ 9 w 162"/>
                  <a:gd name="T21" fmla="*/ 63 h 162"/>
                  <a:gd name="T22" fmla="*/ 0 w 162"/>
                  <a:gd name="T23" fmla="*/ 43 h 162"/>
                  <a:gd name="T24" fmla="*/ 9 w 162"/>
                  <a:gd name="T25" fmla="*/ 23 h 162"/>
                  <a:gd name="T26" fmla="*/ 23 w 162"/>
                  <a:gd name="T27" fmla="*/ 8 h 162"/>
                  <a:gd name="T28" fmla="*/ 44 w 162"/>
                  <a:gd name="T29" fmla="*/ 0 h 162"/>
                  <a:gd name="T30" fmla="*/ 64 w 162"/>
                  <a:gd name="T31" fmla="*/ 8 h 162"/>
                  <a:gd name="T32" fmla="*/ 84 w 162"/>
                  <a:gd name="T33" fmla="*/ 29 h 162"/>
                  <a:gd name="T34" fmla="*/ 93 w 162"/>
                  <a:gd name="T35" fmla="*/ 49 h 162"/>
                  <a:gd name="T36" fmla="*/ 84 w 162"/>
                  <a:gd name="T37" fmla="*/ 70 h 162"/>
                  <a:gd name="T38" fmla="*/ 93 w 162"/>
                  <a:gd name="T39" fmla="*/ 79 h 162"/>
                  <a:gd name="T40" fmla="*/ 113 w 162"/>
                  <a:gd name="T41" fmla="*/ 70 h 162"/>
                  <a:gd name="T42" fmla="*/ 133 w 162"/>
                  <a:gd name="T43" fmla="*/ 78 h 162"/>
                  <a:gd name="T44" fmla="*/ 154 w 162"/>
                  <a:gd name="T45" fmla="*/ 99 h 162"/>
                  <a:gd name="T46" fmla="*/ 162 w 162"/>
                  <a:gd name="T47" fmla="*/ 119 h 162"/>
                  <a:gd name="T48" fmla="*/ 154 w 162"/>
                  <a:gd name="T49" fmla="*/ 139 h 162"/>
                  <a:gd name="T50" fmla="*/ 71 w 162"/>
                  <a:gd name="T51" fmla="*/ 42 h 162"/>
                  <a:gd name="T52" fmla="*/ 50 w 162"/>
                  <a:gd name="T53" fmla="*/ 22 h 162"/>
                  <a:gd name="T54" fmla="*/ 44 w 162"/>
                  <a:gd name="T55" fmla="*/ 19 h 162"/>
                  <a:gd name="T56" fmla="*/ 37 w 162"/>
                  <a:gd name="T57" fmla="*/ 22 h 162"/>
                  <a:gd name="T58" fmla="*/ 22 w 162"/>
                  <a:gd name="T59" fmla="*/ 36 h 162"/>
                  <a:gd name="T60" fmla="*/ 20 w 162"/>
                  <a:gd name="T61" fmla="*/ 43 h 162"/>
                  <a:gd name="T62" fmla="*/ 22 w 162"/>
                  <a:gd name="T63" fmla="*/ 50 h 162"/>
                  <a:gd name="T64" fmla="*/ 43 w 162"/>
                  <a:gd name="T65" fmla="*/ 70 h 162"/>
                  <a:gd name="T66" fmla="*/ 50 w 162"/>
                  <a:gd name="T67" fmla="*/ 73 h 162"/>
                  <a:gd name="T68" fmla="*/ 57 w 162"/>
                  <a:gd name="T69" fmla="*/ 70 h 162"/>
                  <a:gd name="T70" fmla="*/ 50 w 162"/>
                  <a:gd name="T71" fmla="*/ 59 h 162"/>
                  <a:gd name="T72" fmla="*/ 59 w 162"/>
                  <a:gd name="T73" fmla="*/ 49 h 162"/>
                  <a:gd name="T74" fmla="*/ 70 w 162"/>
                  <a:gd name="T75" fmla="*/ 56 h 162"/>
                  <a:gd name="T76" fmla="*/ 74 w 162"/>
                  <a:gd name="T77" fmla="*/ 49 h 162"/>
                  <a:gd name="T78" fmla="*/ 71 w 162"/>
                  <a:gd name="T79" fmla="*/ 42 h 162"/>
                  <a:gd name="T80" fmla="*/ 141 w 162"/>
                  <a:gd name="T81" fmla="*/ 112 h 162"/>
                  <a:gd name="T82" fmla="*/ 120 w 162"/>
                  <a:gd name="T83" fmla="*/ 92 h 162"/>
                  <a:gd name="T84" fmla="*/ 113 w 162"/>
                  <a:gd name="T85" fmla="*/ 89 h 162"/>
                  <a:gd name="T86" fmla="*/ 106 w 162"/>
                  <a:gd name="T87" fmla="*/ 92 h 162"/>
                  <a:gd name="T88" fmla="*/ 113 w 162"/>
                  <a:gd name="T89" fmla="*/ 103 h 162"/>
                  <a:gd name="T90" fmla="*/ 104 w 162"/>
                  <a:gd name="T91" fmla="*/ 113 h 162"/>
                  <a:gd name="T92" fmla="*/ 93 w 162"/>
                  <a:gd name="T93" fmla="*/ 106 h 162"/>
                  <a:gd name="T94" fmla="*/ 89 w 162"/>
                  <a:gd name="T95" fmla="*/ 113 h 162"/>
                  <a:gd name="T96" fmla="*/ 92 w 162"/>
                  <a:gd name="T97" fmla="*/ 120 h 162"/>
                  <a:gd name="T98" fmla="*/ 112 w 162"/>
                  <a:gd name="T99" fmla="*/ 140 h 162"/>
                  <a:gd name="T100" fmla="*/ 119 w 162"/>
                  <a:gd name="T101" fmla="*/ 143 h 162"/>
                  <a:gd name="T102" fmla="*/ 126 w 162"/>
                  <a:gd name="T103" fmla="*/ 140 h 162"/>
                  <a:gd name="T104" fmla="*/ 141 w 162"/>
                  <a:gd name="T105" fmla="*/ 126 h 162"/>
                  <a:gd name="T106" fmla="*/ 143 w 162"/>
                  <a:gd name="T107" fmla="*/ 119 h 162"/>
                  <a:gd name="T108" fmla="*/ 141 w 162"/>
                  <a:gd name="T109" fmla="*/ 112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2" h="162">
                    <a:moveTo>
                      <a:pt x="154" y="139"/>
                    </a:moveTo>
                    <a:cubicBezTo>
                      <a:pt x="139" y="154"/>
                      <a:pt x="139" y="154"/>
                      <a:pt x="139" y="154"/>
                    </a:cubicBezTo>
                    <a:cubicBezTo>
                      <a:pt x="134" y="159"/>
                      <a:pt x="127" y="162"/>
                      <a:pt x="119" y="162"/>
                    </a:cubicBezTo>
                    <a:cubicBezTo>
                      <a:pt x="112" y="162"/>
                      <a:pt x="104" y="159"/>
                      <a:pt x="99" y="154"/>
                    </a:cubicBezTo>
                    <a:cubicBezTo>
                      <a:pt x="79" y="133"/>
                      <a:pt x="79" y="133"/>
                      <a:pt x="79" y="133"/>
                    </a:cubicBezTo>
                    <a:cubicBezTo>
                      <a:pt x="73" y="128"/>
                      <a:pt x="70" y="120"/>
                      <a:pt x="70" y="113"/>
                    </a:cubicBezTo>
                    <a:cubicBezTo>
                      <a:pt x="70" y="105"/>
                      <a:pt x="73" y="98"/>
                      <a:pt x="79" y="92"/>
                    </a:cubicBezTo>
                    <a:cubicBezTo>
                      <a:pt x="70" y="83"/>
                      <a:pt x="70" y="83"/>
                      <a:pt x="70" y="83"/>
                    </a:cubicBezTo>
                    <a:cubicBezTo>
                      <a:pt x="65" y="89"/>
                      <a:pt x="58" y="92"/>
                      <a:pt x="50" y="92"/>
                    </a:cubicBezTo>
                    <a:cubicBezTo>
                      <a:pt x="42" y="92"/>
                      <a:pt x="35" y="89"/>
                      <a:pt x="29" y="84"/>
                    </a:cubicBezTo>
                    <a:cubicBezTo>
                      <a:pt x="9" y="63"/>
                      <a:pt x="9" y="63"/>
                      <a:pt x="9" y="63"/>
                    </a:cubicBezTo>
                    <a:cubicBezTo>
                      <a:pt x="3" y="58"/>
                      <a:pt x="0" y="51"/>
                      <a:pt x="0" y="43"/>
                    </a:cubicBezTo>
                    <a:cubicBezTo>
                      <a:pt x="0" y="35"/>
                      <a:pt x="4" y="28"/>
                      <a:pt x="9" y="23"/>
                    </a:cubicBezTo>
                    <a:cubicBezTo>
                      <a:pt x="23" y="8"/>
                      <a:pt x="23" y="8"/>
                      <a:pt x="23" y="8"/>
                    </a:cubicBezTo>
                    <a:cubicBezTo>
                      <a:pt x="29" y="3"/>
                      <a:pt x="36" y="0"/>
                      <a:pt x="44" y="0"/>
                    </a:cubicBezTo>
                    <a:cubicBezTo>
                      <a:pt x="51" y="0"/>
                      <a:pt x="59" y="3"/>
                      <a:pt x="64" y="8"/>
                    </a:cubicBezTo>
                    <a:cubicBezTo>
                      <a:pt x="84" y="29"/>
                      <a:pt x="84" y="29"/>
                      <a:pt x="84" y="29"/>
                    </a:cubicBezTo>
                    <a:cubicBezTo>
                      <a:pt x="90" y="34"/>
                      <a:pt x="93" y="42"/>
                      <a:pt x="93" y="49"/>
                    </a:cubicBezTo>
                    <a:cubicBezTo>
                      <a:pt x="93" y="57"/>
                      <a:pt x="89" y="64"/>
                      <a:pt x="84" y="70"/>
                    </a:cubicBezTo>
                    <a:cubicBezTo>
                      <a:pt x="93" y="79"/>
                      <a:pt x="93" y="79"/>
                      <a:pt x="93" y="79"/>
                    </a:cubicBezTo>
                    <a:cubicBezTo>
                      <a:pt x="98" y="73"/>
                      <a:pt x="105" y="70"/>
                      <a:pt x="113" y="70"/>
                    </a:cubicBezTo>
                    <a:cubicBezTo>
                      <a:pt x="121" y="70"/>
                      <a:pt x="128" y="73"/>
                      <a:pt x="133" y="78"/>
                    </a:cubicBezTo>
                    <a:cubicBezTo>
                      <a:pt x="154" y="99"/>
                      <a:pt x="154" y="99"/>
                      <a:pt x="154" y="99"/>
                    </a:cubicBezTo>
                    <a:cubicBezTo>
                      <a:pt x="160" y="104"/>
                      <a:pt x="162" y="111"/>
                      <a:pt x="162" y="119"/>
                    </a:cubicBezTo>
                    <a:cubicBezTo>
                      <a:pt x="162" y="127"/>
                      <a:pt x="159" y="134"/>
                      <a:pt x="154" y="139"/>
                    </a:cubicBezTo>
                    <a:close/>
                    <a:moveTo>
                      <a:pt x="71" y="42"/>
                    </a:moveTo>
                    <a:cubicBezTo>
                      <a:pt x="50" y="22"/>
                      <a:pt x="50" y="22"/>
                      <a:pt x="50" y="22"/>
                    </a:cubicBezTo>
                    <a:cubicBezTo>
                      <a:pt x="49" y="20"/>
                      <a:pt x="46" y="19"/>
                      <a:pt x="44" y="19"/>
                    </a:cubicBezTo>
                    <a:cubicBezTo>
                      <a:pt x="41" y="19"/>
                      <a:pt x="39" y="20"/>
                      <a:pt x="37" y="22"/>
                    </a:cubicBezTo>
                    <a:cubicBezTo>
                      <a:pt x="22" y="36"/>
                      <a:pt x="22" y="36"/>
                      <a:pt x="22" y="36"/>
                    </a:cubicBezTo>
                    <a:cubicBezTo>
                      <a:pt x="20" y="38"/>
                      <a:pt x="20" y="40"/>
                      <a:pt x="20" y="43"/>
                    </a:cubicBezTo>
                    <a:cubicBezTo>
                      <a:pt x="20" y="45"/>
                      <a:pt x="20" y="48"/>
                      <a:pt x="22" y="50"/>
                    </a:cubicBezTo>
                    <a:cubicBezTo>
                      <a:pt x="43" y="70"/>
                      <a:pt x="43" y="70"/>
                      <a:pt x="43" y="70"/>
                    </a:cubicBezTo>
                    <a:cubicBezTo>
                      <a:pt x="45" y="72"/>
                      <a:pt x="47" y="73"/>
                      <a:pt x="50" y="73"/>
                    </a:cubicBezTo>
                    <a:cubicBezTo>
                      <a:pt x="53" y="73"/>
                      <a:pt x="55" y="72"/>
                      <a:pt x="57" y="70"/>
                    </a:cubicBezTo>
                    <a:cubicBezTo>
                      <a:pt x="54" y="67"/>
                      <a:pt x="50" y="64"/>
                      <a:pt x="50" y="59"/>
                    </a:cubicBezTo>
                    <a:cubicBezTo>
                      <a:pt x="50" y="53"/>
                      <a:pt x="54" y="49"/>
                      <a:pt x="59" y="49"/>
                    </a:cubicBezTo>
                    <a:cubicBezTo>
                      <a:pt x="64" y="49"/>
                      <a:pt x="67" y="53"/>
                      <a:pt x="70" y="56"/>
                    </a:cubicBezTo>
                    <a:cubicBezTo>
                      <a:pt x="72" y="54"/>
                      <a:pt x="74" y="52"/>
                      <a:pt x="74" y="49"/>
                    </a:cubicBezTo>
                    <a:cubicBezTo>
                      <a:pt x="74" y="47"/>
                      <a:pt x="73" y="44"/>
                      <a:pt x="71" y="42"/>
                    </a:cubicBezTo>
                    <a:close/>
                    <a:moveTo>
                      <a:pt x="141" y="112"/>
                    </a:moveTo>
                    <a:cubicBezTo>
                      <a:pt x="120" y="92"/>
                      <a:pt x="120" y="92"/>
                      <a:pt x="120" y="92"/>
                    </a:cubicBezTo>
                    <a:cubicBezTo>
                      <a:pt x="118" y="90"/>
                      <a:pt x="116" y="89"/>
                      <a:pt x="113" y="89"/>
                    </a:cubicBezTo>
                    <a:cubicBezTo>
                      <a:pt x="110" y="89"/>
                      <a:pt x="108" y="90"/>
                      <a:pt x="106" y="92"/>
                    </a:cubicBezTo>
                    <a:cubicBezTo>
                      <a:pt x="109" y="95"/>
                      <a:pt x="113" y="98"/>
                      <a:pt x="113" y="103"/>
                    </a:cubicBezTo>
                    <a:cubicBezTo>
                      <a:pt x="113" y="108"/>
                      <a:pt x="109" y="113"/>
                      <a:pt x="104" y="113"/>
                    </a:cubicBezTo>
                    <a:cubicBezTo>
                      <a:pt x="99" y="113"/>
                      <a:pt x="96" y="109"/>
                      <a:pt x="93" y="106"/>
                    </a:cubicBezTo>
                    <a:cubicBezTo>
                      <a:pt x="90" y="108"/>
                      <a:pt x="89" y="110"/>
                      <a:pt x="89" y="113"/>
                    </a:cubicBezTo>
                    <a:cubicBezTo>
                      <a:pt x="89" y="115"/>
                      <a:pt x="90" y="118"/>
                      <a:pt x="92" y="120"/>
                    </a:cubicBezTo>
                    <a:cubicBezTo>
                      <a:pt x="112" y="140"/>
                      <a:pt x="112" y="140"/>
                      <a:pt x="112" y="140"/>
                    </a:cubicBezTo>
                    <a:cubicBezTo>
                      <a:pt x="114" y="142"/>
                      <a:pt x="117" y="143"/>
                      <a:pt x="119" y="143"/>
                    </a:cubicBezTo>
                    <a:cubicBezTo>
                      <a:pt x="122" y="143"/>
                      <a:pt x="124" y="142"/>
                      <a:pt x="126" y="140"/>
                    </a:cubicBezTo>
                    <a:cubicBezTo>
                      <a:pt x="141" y="126"/>
                      <a:pt x="141" y="126"/>
                      <a:pt x="141" y="126"/>
                    </a:cubicBezTo>
                    <a:cubicBezTo>
                      <a:pt x="142" y="124"/>
                      <a:pt x="143" y="122"/>
                      <a:pt x="143" y="119"/>
                    </a:cubicBezTo>
                    <a:cubicBezTo>
                      <a:pt x="143" y="117"/>
                      <a:pt x="142" y="114"/>
                      <a:pt x="141" y="112"/>
                    </a:cubicBezTo>
                    <a:close/>
                  </a:path>
                </a:pathLst>
              </a:custGeom>
              <a:solidFill>
                <a:srgbClr val="50E6FF"/>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4" name="Freeform 138">
                <a:extLst>
                  <a:ext uri="{FF2B5EF4-FFF2-40B4-BE49-F238E27FC236}">
                    <a16:creationId xmlns:a16="http://schemas.microsoft.com/office/drawing/2014/main" id="{9EDC59DA-04E0-F74E-8078-4F12CB646BF0}"/>
                  </a:ext>
                </a:extLst>
              </p:cNvPr>
              <p:cNvSpPr>
                <a:spLocks noEditPoints="1"/>
              </p:cNvSpPr>
              <p:nvPr/>
            </p:nvSpPr>
            <p:spPr bwMode="auto">
              <a:xfrm>
                <a:off x="9068652" y="10963921"/>
                <a:ext cx="400813" cy="269307"/>
              </a:xfrm>
              <a:custGeom>
                <a:avLst/>
                <a:gdLst>
                  <a:gd name="T0" fmla="*/ 95 w 110"/>
                  <a:gd name="T1" fmla="*/ 21 h 74"/>
                  <a:gd name="T2" fmla="*/ 90 w 110"/>
                  <a:gd name="T3" fmla="*/ 33 h 74"/>
                  <a:gd name="T4" fmla="*/ 99 w 110"/>
                  <a:gd name="T5" fmla="*/ 63 h 74"/>
                  <a:gd name="T6" fmla="*/ 99 w 110"/>
                  <a:gd name="T7" fmla="*/ 68 h 74"/>
                  <a:gd name="T8" fmla="*/ 104 w 110"/>
                  <a:gd name="T9" fmla="*/ 74 h 74"/>
                  <a:gd name="T10" fmla="*/ 104 w 110"/>
                  <a:gd name="T11" fmla="*/ 74 h 74"/>
                  <a:gd name="T12" fmla="*/ 110 w 110"/>
                  <a:gd name="T13" fmla="*/ 69 h 74"/>
                  <a:gd name="T14" fmla="*/ 110 w 110"/>
                  <a:gd name="T15" fmla="*/ 63 h 74"/>
                  <a:gd name="T16" fmla="*/ 95 w 110"/>
                  <a:gd name="T17" fmla="*/ 21 h 74"/>
                  <a:gd name="T18" fmla="*/ 55 w 110"/>
                  <a:gd name="T19" fmla="*/ 15 h 74"/>
                  <a:gd name="T20" fmla="*/ 62 w 110"/>
                  <a:gd name="T21" fmla="*/ 15 h 74"/>
                  <a:gd name="T22" fmla="*/ 70 w 110"/>
                  <a:gd name="T23" fmla="*/ 6 h 74"/>
                  <a:gd name="T24" fmla="*/ 55 w 110"/>
                  <a:gd name="T25" fmla="*/ 4 h 74"/>
                  <a:gd name="T26" fmla="*/ 0 w 110"/>
                  <a:gd name="T27" fmla="*/ 63 h 74"/>
                  <a:gd name="T28" fmla="*/ 1 w 110"/>
                  <a:gd name="T29" fmla="*/ 69 h 74"/>
                  <a:gd name="T30" fmla="*/ 7 w 110"/>
                  <a:gd name="T31" fmla="*/ 74 h 74"/>
                  <a:gd name="T32" fmla="*/ 12 w 110"/>
                  <a:gd name="T33" fmla="*/ 68 h 74"/>
                  <a:gd name="T34" fmla="*/ 11 w 110"/>
                  <a:gd name="T35" fmla="*/ 63 h 74"/>
                  <a:gd name="T36" fmla="*/ 55 w 110"/>
                  <a:gd name="T37" fmla="*/ 15 h 74"/>
                  <a:gd name="T38" fmla="*/ 45 w 110"/>
                  <a:gd name="T39" fmla="*/ 56 h 74"/>
                  <a:gd name="T40" fmla="*/ 49 w 110"/>
                  <a:gd name="T41" fmla="*/ 71 h 74"/>
                  <a:gd name="T42" fmla="*/ 64 w 110"/>
                  <a:gd name="T43" fmla="*/ 67 h 74"/>
                  <a:gd name="T44" fmla="*/ 89 w 110"/>
                  <a:gd name="T45" fmla="*/ 1 h 74"/>
                  <a:gd name="T46" fmla="*/ 45 w 110"/>
                  <a:gd name="T47" fmla="*/ 5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74">
                    <a:moveTo>
                      <a:pt x="95" y="21"/>
                    </a:moveTo>
                    <a:cubicBezTo>
                      <a:pt x="93" y="26"/>
                      <a:pt x="92" y="30"/>
                      <a:pt x="90" y="33"/>
                    </a:cubicBezTo>
                    <a:cubicBezTo>
                      <a:pt x="96" y="41"/>
                      <a:pt x="99" y="51"/>
                      <a:pt x="99" y="63"/>
                    </a:cubicBezTo>
                    <a:cubicBezTo>
                      <a:pt x="99" y="64"/>
                      <a:pt x="99" y="66"/>
                      <a:pt x="99" y="68"/>
                    </a:cubicBezTo>
                    <a:cubicBezTo>
                      <a:pt x="98" y="71"/>
                      <a:pt x="101" y="73"/>
                      <a:pt x="104" y="74"/>
                    </a:cubicBezTo>
                    <a:cubicBezTo>
                      <a:pt x="104" y="74"/>
                      <a:pt x="104" y="74"/>
                      <a:pt x="104" y="74"/>
                    </a:cubicBezTo>
                    <a:cubicBezTo>
                      <a:pt x="107" y="74"/>
                      <a:pt x="109" y="72"/>
                      <a:pt x="110" y="69"/>
                    </a:cubicBezTo>
                    <a:cubicBezTo>
                      <a:pt x="110" y="67"/>
                      <a:pt x="110" y="65"/>
                      <a:pt x="110" y="63"/>
                    </a:cubicBezTo>
                    <a:cubicBezTo>
                      <a:pt x="110" y="46"/>
                      <a:pt x="104" y="32"/>
                      <a:pt x="95" y="21"/>
                    </a:cubicBezTo>
                    <a:close/>
                    <a:moveTo>
                      <a:pt x="55" y="15"/>
                    </a:moveTo>
                    <a:cubicBezTo>
                      <a:pt x="58" y="15"/>
                      <a:pt x="60" y="15"/>
                      <a:pt x="62" y="15"/>
                    </a:cubicBezTo>
                    <a:cubicBezTo>
                      <a:pt x="65" y="12"/>
                      <a:pt x="67" y="9"/>
                      <a:pt x="70" y="6"/>
                    </a:cubicBezTo>
                    <a:cubicBezTo>
                      <a:pt x="65" y="4"/>
                      <a:pt x="60" y="4"/>
                      <a:pt x="55" y="4"/>
                    </a:cubicBezTo>
                    <a:cubicBezTo>
                      <a:pt x="25" y="4"/>
                      <a:pt x="0" y="30"/>
                      <a:pt x="0" y="63"/>
                    </a:cubicBezTo>
                    <a:cubicBezTo>
                      <a:pt x="0" y="65"/>
                      <a:pt x="1" y="67"/>
                      <a:pt x="1" y="69"/>
                    </a:cubicBezTo>
                    <a:cubicBezTo>
                      <a:pt x="1" y="72"/>
                      <a:pt x="4" y="74"/>
                      <a:pt x="7" y="74"/>
                    </a:cubicBezTo>
                    <a:cubicBezTo>
                      <a:pt x="10" y="73"/>
                      <a:pt x="12" y="71"/>
                      <a:pt x="12" y="68"/>
                    </a:cubicBezTo>
                    <a:cubicBezTo>
                      <a:pt x="11" y="66"/>
                      <a:pt x="11" y="64"/>
                      <a:pt x="11" y="63"/>
                    </a:cubicBezTo>
                    <a:cubicBezTo>
                      <a:pt x="11" y="36"/>
                      <a:pt x="31" y="15"/>
                      <a:pt x="55" y="15"/>
                    </a:cubicBezTo>
                    <a:close/>
                    <a:moveTo>
                      <a:pt x="45" y="56"/>
                    </a:moveTo>
                    <a:cubicBezTo>
                      <a:pt x="41" y="63"/>
                      <a:pt x="44" y="68"/>
                      <a:pt x="49" y="71"/>
                    </a:cubicBezTo>
                    <a:cubicBezTo>
                      <a:pt x="54" y="74"/>
                      <a:pt x="60" y="74"/>
                      <a:pt x="64" y="67"/>
                    </a:cubicBezTo>
                    <a:cubicBezTo>
                      <a:pt x="68" y="61"/>
                      <a:pt x="92" y="2"/>
                      <a:pt x="89" y="1"/>
                    </a:cubicBezTo>
                    <a:cubicBezTo>
                      <a:pt x="87" y="0"/>
                      <a:pt x="49" y="50"/>
                      <a:pt x="45" y="56"/>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5" name="Freeform 143">
                <a:extLst>
                  <a:ext uri="{FF2B5EF4-FFF2-40B4-BE49-F238E27FC236}">
                    <a16:creationId xmlns:a16="http://schemas.microsoft.com/office/drawing/2014/main" id="{F23D2970-AD39-A340-80C9-38F4FE898FB7}"/>
                  </a:ext>
                </a:extLst>
              </p:cNvPr>
              <p:cNvSpPr>
                <a:spLocks noEditPoints="1"/>
              </p:cNvSpPr>
              <p:nvPr/>
            </p:nvSpPr>
            <p:spPr bwMode="auto">
              <a:xfrm>
                <a:off x="9101522" y="15951976"/>
                <a:ext cx="335073" cy="332587"/>
              </a:xfrm>
              <a:custGeom>
                <a:avLst/>
                <a:gdLst>
                  <a:gd name="T0" fmla="*/ 122 w 132"/>
                  <a:gd name="T1" fmla="*/ 132 h 132"/>
                  <a:gd name="T2" fmla="*/ 114 w 132"/>
                  <a:gd name="T3" fmla="*/ 129 h 132"/>
                  <a:gd name="T4" fmla="*/ 87 w 132"/>
                  <a:gd name="T5" fmla="*/ 102 h 132"/>
                  <a:gd name="T6" fmla="*/ 56 w 132"/>
                  <a:gd name="T7" fmla="*/ 112 h 132"/>
                  <a:gd name="T8" fmla="*/ 0 w 132"/>
                  <a:gd name="T9" fmla="*/ 56 h 132"/>
                  <a:gd name="T10" fmla="*/ 56 w 132"/>
                  <a:gd name="T11" fmla="*/ 0 h 132"/>
                  <a:gd name="T12" fmla="*/ 111 w 132"/>
                  <a:gd name="T13" fmla="*/ 56 h 132"/>
                  <a:gd name="T14" fmla="*/ 102 w 132"/>
                  <a:gd name="T15" fmla="*/ 88 h 132"/>
                  <a:gd name="T16" fmla="*/ 129 w 132"/>
                  <a:gd name="T17" fmla="*/ 115 h 132"/>
                  <a:gd name="T18" fmla="*/ 132 w 132"/>
                  <a:gd name="T19" fmla="*/ 122 h 132"/>
                  <a:gd name="T20" fmla="*/ 122 w 132"/>
                  <a:gd name="T21" fmla="*/ 132 h 132"/>
                  <a:gd name="T22" fmla="*/ 56 w 132"/>
                  <a:gd name="T23" fmla="*/ 21 h 132"/>
                  <a:gd name="T24" fmla="*/ 20 w 132"/>
                  <a:gd name="T25" fmla="*/ 56 h 132"/>
                  <a:gd name="T26" fmla="*/ 56 w 132"/>
                  <a:gd name="T27" fmla="*/ 92 h 132"/>
                  <a:gd name="T28" fmla="*/ 91 w 132"/>
                  <a:gd name="T29" fmla="*/ 56 h 132"/>
                  <a:gd name="T30" fmla="*/ 56 w 132"/>
                  <a:gd name="T31" fmla="*/ 2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2" h="132">
                    <a:moveTo>
                      <a:pt x="122" y="132"/>
                    </a:moveTo>
                    <a:cubicBezTo>
                      <a:pt x="119" y="132"/>
                      <a:pt x="116" y="131"/>
                      <a:pt x="114" y="129"/>
                    </a:cubicBezTo>
                    <a:cubicBezTo>
                      <a:pt x="87" y="102"/>
                      <a:pt x="87" y="102"/>
                      <a:pt x="87" y="102"/>
                    </a:cubicBezTo>
                    <a:cubicBezTo>
                      <a:pt x="78" y="109"/>
                      <a:pt x="67" y="112"/>
                      <a:pt x="56" y="112"/>
                    </a:cubicBezTo>
                    <a:cubicBezTo>
                      <a:pt x="25" y="112"/>
                      <a:pt x="0" y="87"/>
                      <a:pt x="0" y="56"/>
                    </a:cubicBezTo>
                    <a:cubicBezTo>
                      <a:pt x="0" y="25"/>
                      <a:pt x="25" y="0"/>
                      <a:pt x="56" y="0"/>
                    </a:cubicBezTo>
                    <a:cubicBezTo>
                      <a:pt x="86" y="0"/>
                      <a:pt x="111" y="25"/>
                      <a:pt x="111" y="56"/>
                    </a:cubicBezTo>
                    <a:cubicBezTo>
                      <a:pt x="111" y="68"/>
                      <a:pt x="108" y="79"/>
                      <a:pt x="102" y="88"/>
                    </a:cubicBezTo>
                    <a:cubicBezTo>
                      <a:pt x="129" y="115"/>
                      <a:pt x="129" y="115"/>
                      <a:pt x="129" y="115"/>
                    </a:cubicBezTo>
                    <a:cubicBezTo>
                      <a:pt x="131" y="117"/>
                      <a:pt x="132" y="120"/>
                      <a:pt x="132" y="122"/>
                    </a:cubicBezTo>
                    <a:cubicBezTo>
                      <a:pt x="132" y="128"/>
                      <a:pt x="127" y="132"/>
                      <a:pt x="122" y="132"/>
                    </a:cubicBezTo>
                    <a:close/>
                    <a:moveTo>
                      <a:pt x="56" y="21"/>
                    </a:moveTo>
                    <a:cubicBezTo>
                      <a:pt x="36" y="21"/>
                      <a:pt x="20" y="37"/>
                      <a:pt x="20" y="56"/>
                    </a:cubicBezTo>
                    <a:cubicBezTo>
                      <a:pt x="20" y="76"/>
                      <a:pt x="36" y="92"/>
                      <a:pt x="56" y="92"/>
                    </a:cubicBezTo>
                    <a:cubicBezTo>
                      <a:pt x="75" y="92"/>
                      <a:pt x="91" y="76"/>
                      <a:pt x="91" y="56"/>
                    </a:cubicBezTo>
                    <a:cubicBezTo>
                      <a:pt x="91" y="37"/>
                      <a:pt x="75" y="21"/>
                      <a:pt x="56" y="21"/>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6" name="Freeform 264">
                <a:extLst>
                  <a:ext uri="{FF2B5EF4-FFF2-40B4-BE49-F238E27FC236}">
                    <a16:creationId xmlns:a16="http://schemas.microsoft.com/office/drawing/2014/main" id="{7CA5E058-8700-FE48-8A76-7333A69DCD72}"/>
                  </a:ext>
                </a:extLst>
              </p:cNvPr>
              <p:cNvSpPr>
                <a:spLocks noEditPoints="1"/>
              </p:cNvSpPr>
              <p:nvPr/>
            </p:nvSpPr>
            <p:spPr bwMode="auto">
              <a:xfrm>
                <a:off x="9010351" y="16608807"/>
                <a:ext cx="517414" cy="466888"/>
              </a:xfrm>
              <a:custGeom>
                <a:avLst/>
                <a:gdLst>
                  <a:gd name="T0" fmla="*/ 53 w 93"/>
                  <a:gd name="T1" fmla="*/ 49 h 85"/>
                  <a:gd name="T2" fmla="*/ 56 w 93"/>
                  <a:gd name="T3" fmla="*/ 60 h 85"/>
                  <a:gd name="T4" fmla="*/ 47 w 93"/>
                  <a:gd name="T5" fmla="*/ 67 h 85"/>
                  <a:gd name="T6" fmla="*/ 37 w 93"/>
                  <a:gd name="T7" fmla="*/ 72 h 85"/>
                  <a:gd name="T8" fmla="*/ 25 w 93"/>
                  <a:gd name="T9" fmla="*/ 72 h 85"/>
                  <a:gd name="T10" fmla="*/ 14 w 93"/>
                  <a:gd name="T11" fmla="*/ 67 h 85"/>
                  <a:gd name="T12" fmla="*/ 5 w 93"/>
                  <a:gd name="T13" fmla="*/ 60 h 85"/>
                  <a:gd name="T14" fmla="*/ 8 w 93"/>
                  <a:gd name="T15" fmla="*/ 49 h 85"/>
                  <a:gd name="T16" fmla="*/ 0 w 93"/>
                  <a:gd name="T17" fmla="*/ 38 h 85"/>
                  <a:gd name="T18" fmla="*/ 10 w 93"/>
                  <a:gd name="T19" fmla="*/ 31 h 85"/>
                  <a:gd name="T20" fmla="*/ 6 w 93"/>
                  <a:gd name="T21" fmla="*/ 24 h 85"/>
                  <a:gd name="T22" fmla="*/ 20 w 93"/>
                  <a:gd name="T23" fmla="*/ 21 h 85"/>
                  <a:gd name="T24" fmla="*/ 26 w 93"/>
                  <a:gd name="T25" fmla="*/ 11 h 85"/>
                  <a:gd name="T26" fmla="*/ 38 w 93"/>
                  <a:gd name="T27" fmla="*/ 20 h 85"/>
                  <a:gd name="T28" fmla="*/ 48 w 93"/>
                  <a:gd name="T29" fmla="*/ 17 h 85"/>
                  <a:gd name="T30" fmla="*/ 56 w 93"/>
                  <a:gd name="T31" fmla="*/ 26 h 85"/>
                  <a:gd name="T32" fmla="*/ 61 w 93"/>
                  <a:gd name="T33" fmla="*/ 36 h 85"/>
                  <a:gd name="T34" fmla="*/ 31 w 93"/>
                  <a:gd name="T35" fmla="*/ 30 h 85"/>
                  <a:gd name="T36" fmla="*/ 43 w 93"/>
                  <a:gd name="T37" fmla="*/ 42 h 85"/>
                  <a:gd name="T38" fmla="*/ 86 w 93"/>
                  <a:gd name="T39" fmla="*/ 22 h 85"/>
                  <a:gd name="T40" fmla="*/ 86 w 93"/>
                  <a:gd name="T41" fmla="*/ 32 h 85"/>
                  <a:gd name="T42" fmla="*/ 74 w 93"/>
                  <a:gd name="T43" fmla="*/ 30 h 85"/>
                  <a:gd name="T44" fmla="*/ 62 w 93"/>
                  <a:gd name="T45" fmla="*/ 32 h 85"/>
                  <a:gd name="T46" fmla="*/ 63 w 93"/>
                  <a:gd name="T47" fmla="*/ 22 h 85"/>
                  <a:gd name="T48" fmla="*/ 63 w 93"/>
                  <a:gd name="T49" fmla="*/ 13 h 85"/>
                  <a:gd name="T50" fmla="*/ 62 w 93"/>
                  <a:gd name="T51" fmla="*/ 3 h 85"/>
                  <a:gd name="T52" fmla="*/ 74 w 93"/>
                  <a:gd name="T53" fmla="*/ 5 h 85"/>
                  <a:gd name="T54" fmla="*/ 80 w 93"/>
                  <a:gd name="T55" fmla="*/ 0 h 85"/>
                  <a:gd name="T56" fmla="*/ 84 w 93"/>
                  <a:gd name="T57" fmla="*/ 10 h 85"/>
                  <a:gd name="T58" fmla="*/ 93 w 93"/>
                  <a:gd name="T59" fmla="*/ 21 h 85"/>
                  <a:gd name="T60" fmla="*/ 84 w 93"/>
                  <a:gd name="T61" fmla="*/ 74 h 85"/>
                  <a:gd name="T62" fmla="*/ 80 w 93"/>
                  <a:gd name="T63" fmla="*/ 85 h 85"/>
                  <a:gd name="T64" fmla="*/ 73 w 93"/>
                  <a:gd name="T65" fmla="*/ 79 h 85"/>
                  <a:gd name="T66" fmla="*/ 62 w 93"/>
                  <a:gd name="T67" fmla="*/ 81 h 85"/>
                  <a:gd name="T68" fmla="*/ 56 w 93"/>
                  <a:gd name="T69" fmla="*/ 70 h 85"/>
                  <a:gd name="T70" fmla="*/ 64 w 93"/>
                  <a:gd name="T71" fmla="*/ 60 h 85"/>
                  <a:gd name="T72" fmla="*/ 68 w 93"/>
                  <a:gd name="T73" fmla="*/ 49 h 85"/>
                  <a:gd name="T74" fmla="*/ 76 w 93"/>
                  <a:gd name="T75" fmla="*/ 55 h 85"/>
                  <a:gd name="T76" fmla="*/ 86 w 93"/>
                  <a:gd name="T77" fmla="*/ 53 h 85"/>
                  <a:gd name="T78" fmla="*/ 86 w 93"/>
                  <a:gd name="T79" fmla="*/ 62 h 85"/>
                  <a:gd name="T80" fmla="*/ 74 w 93"/>
                  <a:gd name="T81" fmla="*/ 11 h 85"/>
                  <a:gd name="T82" fmla="*/ 80 w 93"/>
                  <a:gd name="T83" fmla="*/ 17 h 85"/>
                  <a:gd name="T84" fmla="*/ 68 w 93"/>
                  <a:gd name="T85" fmla="*/ 67 h 85"/>
                  <a:gd name="T86" fmla="*/ 74 w 93"/>
                  <a:gd name="T8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3" h="85">
                    <a:moveTo>
                      <a:pt x="62" y="47"/>
                    </a:moveTo>
                    <a:cubicBezTo>
                      <a:pt x="62" y="47"/>
                      <a:pt x="61" y="48"/>
                      <a:pt x="61" y="48"/>
                    </a:cubicBezTo>
                    <a:cubicBezTo>
                      <a:pt x="53" y="49"/>
                      <a:pt x="53" y="49"/>
                      <a:pt x="53" y="49"/>
                    </a:cubicBezTo>
                    <a:cubicBezTo>
                      <a:pt x="53" y="51"/>
                      <a:pt x="52" y="52"/>
                      <a:pt x="52" y="53"/>
                    </a:cubicBezTo>
                    <a:cubicBezTo>
                      <a:pt x="53" y="55"/>
                      <a:pt x="54" y="57"/>
                      <a:pt x="56" y="59"/>
                    </a:cubicBezTo>
                    <a:cubicBezTo>
                      <a:pt x="56" y="59"/>
                      <a:pt x="56" y="59"/>
                      <a:pt x="56" y="60"/>
                    </a:cubicBezTo>
                    <a:cubicBezTo>
                      <a:pt x="56" y="60"/>
                      <a:pt x="56" y="60"/>
                      <a:pt x="56" y="60"/>
                    </a:cubicBezTo>
                    <a:cubicBezTo>
                      <a:pt x="55" y="62"/>
                      <a:pt x="50" y="68"/>
                      <a:pt x="48" y="68"/>
                    </a:cubicBezTo>
                    <a:cubicBezTo>
                      <a:pt x="48" y="68"/>
                      <a:pt x="47" y="68"/>
                      <a:pt x="47" y="67"/>
                    </a:cubicBezTo>
                    <a:cubicBezTo>
                      <a:pt x="42" y="63"/>
                      <a:pt x="42" y="63"/>
                      <a:pt x="42" y="63"/>
                    </a:cubicBezTo>
                    <a:cubicBezTo>
                      <a:pt x="40" y="64"/>
                      <a:pt x="39" y="64"/>
                      <a:pt x="38" y="65"/>
                    </a:cubicBezTo>
                    <a:cubicBezTo>
                      <a:pt x="38" y="67"/>
                      <a:pt x="37" y="70"/>
                      <a:pt x="37" y="72"/>
                    </a:cubicBezTo>
                    <a:cubicBezTo>
                      <a:pt x="37" y="73"/>
                      <a:pt x="36" y="73"/>
                      <a:pt x="35" y="73"/>
                    </a:cubicBezTo>
                    <a:cubicBezTo>
                      <a:pt x="26" y="73"/>
                      <a:pt x="26" y="73"/>
                      <a:pt x="26" y="73"/>
                    </a:cubicBezTo>
                    <a:cubicBezTo>
                      <a:pt x="26" y="73"/>
                      <a:pt x="25" y="73"/>
                      <a:pt x="25" y="72"/>
                    </a:cubicBezTo>
                    <a:cubicBezTo>
                      <a:pt x="24" y="65"/>
                      <a:pt x="24" y="65"/>
                      <a:pt x="24" y="65"/>
                    </a:cubicBezTo>
                    <a:cubicBezTo>
                      <a:pt x="22" y="64"/>
                      <a:pt x="21" y="64"/>
                      <a:pt x="20" y="63"/>
                    </a:cubicBezTo>
                    <a:cubicBezTo>
                      <a:pt x="14" y="67"/>
                      <a:pt x="14" y="67"/>
                      <a:pt x="14" y="67"/>
                    </a:cubicBezTo>
                    <a:cubicBezTo>
                      <a:pt x="13" y="68"/>
                      <a:pt x="13" y="68"/>
                      <a:pt x="13" y="68"/>
                    </a:cubicBezTo>
                    <a:cubicBezTo>
                      <a:pt x="13" y="68"/>
                      <a:pt x="13" y="68"/>
                      <a:pt x="12" y="67"/>
                    </a:cubicBezTo>
                    <a:cubicBezTo>
                      <a:pt x="11" y="66"/>
                      <a:pt x="5" y="61"/>
                      <a:pt x="5" y="60"/>
                    </a:cubicBezTo>
                    <a:cubicBezTo>
                      <a:pt x="6" y="59"/>
                      <a:pt x="6" y="59"/>
                      <a:pt x="6" y="59"/>
                    </a:cubicBezTo>
                    <a:cubicBezTo>
                      <a:pt x="7" y="57"/>
                      <a:pt x="9" y="55"/>
                      <a:pt x="10" y="53"/>
                    </a:cubicBezTo>
                    <a:cubicBezTo>
                      <a:pt x="9" y="52"/>
                      <a:pt x="9" y="51"/>
                      <a:pt x="8" y="49"/>
                    </a:cubicBezTo>
                    <a:cubicBezTo>
                      <a:pt x="1" y="48"/>
                      <a:pt x="1" y="48"/>
                      <a:pt x="1" y="48"/>
                    </a:cubicBezTo>
                    <a:cubicBezTo>
                      <a:pt x="0" y="48"/>
                      <a:pt x="0" y="47"/>
                      <a:pt x="0" y="47"/>
                    </a:cubicBezTo>
                    <a:cubicBezTo>
                      <a:pt x="0" y="38"/>
                      <a:pt x="0" y="38"/>
                      <a:pt x="0" y="38"/>
                    </a:cubicBezTo>
                    <a:cubicBezTo>
                      <a:pt x="0" y="37"/>
                      <a:pt x="0" y="36"/>
                      <a:pt x="1" y="36"/>
                    </a:cubicBezTo>
                    <a:cubicBezTo>
                      <a:pt x="8" y="35"/>
                      <a:pt x="8" y="35"/>
                      <a:pt x="8" y="35"/>
                    </a:cubicBezTo>
                    <a:cubicBezTo>
                      <a:pt x="9" y="34"/>
                      <a:pt x="9" y="33"/>
                      <a:pt x="10" y="31"/>
                    </a:cubicBezTo>
                    <a:cubicBezTo>
                      <a:pt x="9" y="29"/>
                      <a:pt x="7" y="28"/>
                      <a:pt x="6" y="26"/>
                    </a:cubicBezTo>
                    <a:cubicBezTo>
                      <a:pt x="5" y="25"/>
                      <a:pt x="5" y="25"/>
                      <a:pt x="5" y="25"/>
                    </a:cubicBezTo>
                    <a:cubicBezTo>
                      <a:pt x="6" y="24"/>
                      <a:pt x="6" y="24"/>
                      <a:pt x="6" y="24"/>
                    </a:cubicBezTo>
                    <a:cubicBezTo>
                      <a:pt x="7" y="23"/>
                      <a:pt x="12" y="17"/>
                      <a:pt x="13" y="17"/>
                    </a:cubicBezTo>
                    <a:cubicBezTo>
                      <a:pt x="14" y="17"/>
                      <a:pt x="14" y="17"/>
                      <a:pt x="14" y="17"/>
                    </a:cubicBezTo>
                    <a:cubicBezTo>
                      <a:pt x="20" y="21"/>
                      <a:pt x="20" y="21"/>
                      <a:pt x="20" y="21"/>
                    </a:cubicBezTo>
                    <a:cubicBezTo>
                      <a:pt x="21" y="21"/>
                      <a:pt x="22" y="20"/>
                      <a:pt x="24" y="20"/>
                    </a:cubicBezTo>
                    <a:cubicBezTo>
                      <a:pt x="24" y="17"/>
                      <a:pt x="24" y="15"/>
                      <a:pt x="25" y="12"/>
                    </a:cubicBezTo>
                    <a:cubicBezTo>
                      <a:pt x="25" y="12"/>
                      <a:pt x="26" y="11"/>
                      <a:pt x="26" y="11"/>
                    </a:cubicBezTo>
                    <a:cubicBezTo>
                      <a:pt x="35" y="11"/>
                      <a:pt x="35" y="11"/>
                      <a:pt x="35" y="11"/>
                    </a:cubicBezTo>
                    <a:cubicBezTo>
                      <a:pt x="36" y="11"/>
                      <a:pt x="37" y="12"/>
                      <a:pt x="37" y="12"/>
                    </a:cubicBezTo>
                    <a:cubicBezTo>
                      <a:pt x="38" y="20"/>
                      <a:pt x="38" y="20"/>
                      <a:pt x="38" y="20"/>
                    </a:cubicBezTo>
                    <a:cubicBezTo>
                      <a:pt x="39" y="20"/>
                      <a:pt x="40" y="21"/>
                      <a:pt x="41" y="21"/>
                    </a:cubicBezTo>
                    <a:cubicBezTo>
                      <a:pt x="47" y="17"/>
                      <a:pt x="47" y="17"/>
                      <a:pt x="47" y="17"/>
                    </a:cubicBezTo>
                    <a:cubicBezTo>
                      <a:pt x="48" y="17"/>
                      <a:pt x="48" y="17"/>
                      <a:pt x="48" y="17"/>
                    </a:cubicBezTo>
                    <a:cubicBezTo>
                      <a:pt x="49" y="17"/>
                      <a:pt x="49" y="17"/>
                      <a:pt x="49" y="17"/>
                    </a:cubicBezTo>
                    <a:cubicBezTo>
                      <a:pt x="50" y="18"/>
                      <a:pt x="56" y="23"/>
                      <a:pt x="56" y="25"/>
                    </a:cubicBezTo>
                    <a:cubicBezTo>
                      <a:pt x="56" y="26"/>
                      <a:pt x="56" y="26"/>
                      <a:pt x="56" y="26"/>
                    </a:cubicBezTo>
                    <a:cubicBezTo>
                      <a:pt x="54" y="28"/>
                      <a:pt x="53" y="29"/>
                      <a:pt x="52" y="31"/>
                    </a:cubicBezTo>
                    <a:cubicBezTo>
                      <a:pt x="52" y="33"/>
                      <a:pt x="53" y="34"/>
                      <a:pt x="53" y="35"/>
                    </a:cubicBezTo>
                    <a:cubicBezTo>
                      <a:pt x="61" y="36"/>
                      <a:pt x="61" y="36"/>
                      <a:pt x="61" y="36"/>
                    </a:cubicBezTo>
                    <a:cubicBezTo>
                      <a:pt x="61" y="36"/>
                      <a:pt x="62" y="37"/>
                      <a:pt x="62" y="38"/>
                    </a:cubicBezTo>
                    <a:lnTo>
                      <a:pt x="62" y="47"/>
                    </a:lnTo>
                    <a:close/>
                    <a:moveTo>
                      <a:pt x="31" y="30"/>
                    </a:moveTo>
                    <a:cubicBezTo>
                      <a:pt x="24" y="30"/>
                      <a:pt x="18" y="35"/>
                      <a:pt x="18" y="42"/>
                    </a:cubicBezTo>
                    <a:cubicBezTo>
                      <a:pt x="18" y="49"/>
                      <a:pt x="24" y="55"/>
                      <a:pt x="31" y="55"/>
                    </a:cubicBezTo>
                    <a:cubicBezTo>
                      <a:pt x="38" y="55"/>
                      <a:pt x="43" y="49"/>
                      <a:pt x="43" y="42"/>
                    </a:cubicBezTo>
                    <a:cubicBezTo>
                      <a:pt x="43" y="35"/>
                      <a:pt x="38" y="30"/>
                      <a:pt x="31" y="30"/>
                    </a:cubicBezTo>
                    <a:close/>
                    <a:moveTo>
                      <a:pt x="93" y="21"/>
                    </a:moveTo>
                    <a:cubicBezTo>
                      <a:pt x="93" y="22"/>
                      <a:pt x="87" y="22"/>
                      <a:pt x="86" y="22"/>
                    </a:cubicBezTo>
                    <a:cubicBezTo>
                      <a:pt x="85" y="23"/>
                      <a:pt x="85" y="24"/>
                      <a:pt x="84" y="25"/>
                    </a:cubicBezTo>
                    <a:cubicBezTo>
                      <a:pt x="85" y="26"/>
                      <a:pt x="87" y="31"/>
                      <a:pt x="87" y="31"/>
                    </a:cubicBezTo>
                    <a:cubicBezTo>
                      <a:pt x="86" y="32"/>
                      <a:pt x="86" y="32"/>
                      <a:pt x="86" y="32"/>
                    </a:cubicBezTo>
                    <a:cubicBezTo>
                      <a:pt x="86" y="32"/>
                      <a:pt x="81" y="35"/>
                      <a:pt x="80" y="35"/>
                    </a:cubicBezTo>
                    <a:cubicBezTo>
                      <a:pt x="80" y="35"/>
                      <a:pt x="76" y="30"/>
                      <a:pt x="76" y="30"/>
                    </a:cubicBezTo>
                    <a:cubicBezTo>
                      <a:pt x="75" y="30"/>
                      <a:pt x="75" y="30"/>
                      <a:pt x="74" y="30"/>
                    </a:cubicBezTo>
                    <a:cubicBezTo>
                      <a:pt x="74" y="30"/>
                      <a:pt x="73" y="30"/>
                      <a:pt x="73" y="30"/>
                    </a:cubicBezTo>
                    <a:cubicBezTo>
                      <a:pt x="72" y="30"/>
                      <a:pt x="69" y="35"/>
                      <a:pt x="68" y="35"/>
                    </a:cubicBezTo>
                    <a:cubicBezTo>
                      <a:pt x="68" y="35"/>
                      <a:pt x="63" y="32"/>
                      <a:pt x="62" y="32"/>
                    </a:cubicBezTo>
                    <a:cubicBezTo>
                      <a:pt x="62" y="31"/>
                      <a:pt x="62" y="31"/>
                      <a:pt x="62" y="31"/>
                    </a:cubicBezTo>
                    <a:cubicBezTo>
                      <a:pt x="62" y="31"/>
                      <a:pt x="64" y="26"/>
                      <a:pt x="64" y="25"/>
                    </a:cubicBezTo>
                    <a:cubicBezTo>
                      <a:pt x="64" y="24"/>
                      <a:pt x="63" y="23"/>
                      <a:pt x="63" y="22"/>
                    </a:cubicBezTo>
                    <a:cubicBezTo>
                      <a:pt x="62" y="22"/>
                      <a:pt x="56" y="22"/>
                      <a:pt x="56" y="21"/>
                    </a:cubicBezTo>
                    <a:cubicBezTo>
                      <a:pt x="56" y="14"/>
                      <a:pt x="56" y="14"/>
                      <a:pt x="56" y="14"/>
                    </a:cubicBezTo>
                    <a:cubicBezTo>
                      <a:pt x="56" y="13"/>
                      <a:pt x="62" y="13"/>
                      <a:pt x="63" y="13"/>
                    </a:cubicBezTo>
                    <a:cubicBezTo>
                      <a:pt x="63" y="12"/>
                      <a:pt x="64" y="11"/>
                      <a:pt x="64" y="10"/>
                    </a:cubicBezTo>
                    <a:cubicBezTo>
                      <a:pt x="64" y="9"/>
                      <a:pt x="62" y="4"/>
                      <a:pt x="62" y="3"/>
                    </a:cubicBezTo>
                    <a:cubicBezTo>
                      <a:pt x="62" y="3"/>
                      <a:pt x="62" y="3"/>
                      <a:pt x="62" y="3"/>
                    </a:cubicBezTo>
                    <a:cubicBezTo>
                      <a:pt x="63" y="3"/>
                      <a:pt x="68" y="0"/>
                      <a:pt x="68" y="0"/>
                    </a:cubicBezTo>
                    <a:cubicBezTo>
                      <a:pt x="69" y="0"/>
                      <a:pt x="72" y="4"/>
                      <a:pt x="73" y="5"/>
                    </a:cubicBezTo>
                    <a:cubicBezTo>
                      <a:pt x="73" y="5"/>
                      <a:pt x="74" y="5"/>
                      <a:pt x="74" y="5"/>
                    </a:cubicBezTo>
                    <a:cubicBezTo>
                      <a:pt x="75" y="5"/>
                      <a:pt x="75" y="5"/>
                      <a:pt x="76" y="5"/>
                    </a:cubicBezTo>
                    <a:cubicBezTo>
                      <a:pt x="77" y="3"/>
                      <a:pt x="78" y="1"/>
                      <a:pt x="80" y="0"/>
                    </a:cubicBezTo>
                    <a:cubicBezTo>
                      <a:pt x="80" y="0"/>
                      <a:pt x="80" y="0"/>
                      <a:pt x="80" y="0"/>
                    </a:cubicBezTo>
                    <a:cubicBezTo>
                      <a:pt x="81" y="0"/>
                      <a:pt x="86" y="3"/>
                      <a:pt x="86" y="3"/>
                    </a:cubicBezTo>
                    <a:cubicBezTo>
                      <a:pt x="87" y="3"/>
                      <a:pt x="87" y="3"/>
                      <a:pt x="87" y="3"/>
                    </a:cubicBezTo>
                    <a:cubicBezTo>
                      <a:pt x="87" y="4"/>
                      <a:pt x="85" y="9"/>
                      <a:pt x="84" y="10"/>
                    </a:cubicBezTo>
                    <a:cubicBezTo>
                      <a:pt x="85" y="11"/>
                      <a:pt x="85" y="12"/>
                      <a:pt x="86" y="13"/>
                    </a:cubicBezTo>
                    <a:cubicBezTo>
                      <a:pt x="87" y="13"/>
                      <a:pt x="93" y="13"/>
                      <a:pt x="93" y="14"/>
                    </a:cubicBezTo>
                    <a:lnTo>
                      <a:pt x="93" y="21"/>
                    </a:lnTo>
                    <a:close/>
                    <a:moveTo>
                      <a:pt x="93" y="70"/>
                    </a:moveTo>
                    <a:cubicBezTo>
                      <a:pt x="93" y="71"/>
                      <a:pt x="87" y="72"/>
                      <a:pt x="86" y="72"/>
                    </a:cubicBezTo>
                    <a:cubicBezTo>
                      <a:pt x="85" y="73"/>
                      <a:pt x="85" y="74"/>
                      <a:pt x="84" y="74"/>
                    </a:cubicBezTo>
                    <a:cubicBezTo>
                      <a:pt x="85" y="75"/>
                      <a:pt x="87" y="80"/>
                      <a:pt x="87" y="81"/>
                    </a:cubicBezTo>
                    <a:cubicBezTo>
                      <a:pt x="86" y="81"/>
                      <a:pt x="86" y="81"/>
                      <a:pt x="86" y="81"/>
                    </a:cubicBezTo>
                    <a:cubicBezTo>
                      <a:pt x="86" y="82"/>
                      <a:pt x="81" y="85"/>
                      <a:pt x="80" y="85"/>
                    </a:cubicBezTo>
                    <a:cubicBezTo>
                      <a:pt x="80" y="85"/>
                      <a:pt x="76" y="80"/>
                      <a:pt x="76" y="79"/>
                    </a:cubicBezTo>
                    <a:cubicBezTo>
                      <a:pt x="75" y="79"/>
                      <a:pt x="75" y="79"/>
                      <a:pt x="74" y="79"/>
                    </a:cubicBezTo>
                    <a:cubicBezTo>
                      <a:pt x="74" y="79"/>
                      <a:pt x="73" y="79"/>
                      <a:pt x="73" y="79"/>
                    </a:cubicBezTo>
                    <a:cubicBezTo>
                      <a:pt x="72" y="80"/>
                      <a:pt x="69" y="85"/>
                      <a:pt x="68" y="85"/>
                    </a:cubicBezTo>
                    <a:cubicBezTo>
                      <a:pt x="68" y="85"/>
                      <a:pt x="63" y="82"/>
                      <a:pt x="62" y="81"/>
                    </a:cubicBezTo>
                    <a:cubicBezTo>
                      <a:pt x="62" y="81"/>
                      <a:pt x="62" y="81"/>
                      <a:pt x="62" y="81"/>
                    </a:cubicBezTo>
                    <a:cubicBezTo>
                      <a:pt x="62" y="80"/>
                      <a:pt x="64" y="75"/>
                      <a:pt x="64" y="74"/>
                    </a:cubicBezTo>
                    <a:cubicBezTo>
                      <a:pt x="64" y="74"/>
                      <a:pt x="63" y="73"/>
                      <a:pt x="63" y="72"/>
                    </a:cubicBezTo>
                    <a:cubicBezTo>
                      <a:pt x="62" y="72"/>
                      <a:pt x="56" y="71"/>
                      <a:pt x="56" y="70"/>
                    </a:cubicBezTo>
                    <a:cubicBezTo>
                      <a:pt x="56" y="64"/>
                      <a:pt x="56" y="64"/>
                      <a:pt x="56" y="64"/>
                    </a:cubicBezTo>
                    <a:cubicBezTo>
                      <a:pt x="56" y="63"/>
                      <a:pt x="62" y="62"/>
                      <a:pt x="63" y="62"/>
                    </a:cubicBezTo>
                    <a:cubicBezTo>
                      <a:pt x="63" y="61"/>
                      <a:pt x="64" y="60"/>
                      <a:pt x="64" y="60"/>
                    </a:cubicBezTo>
                    <a:cubicBezTo>
                      <a:pt x="64" y="59"/>
                      <a:pt x="62" y="54"/>
                      <a:pt x="62" y="53"/>
                    </a:cubicBezTo>
                    <a:cubicBezTo>
                      <a:pt x="62" y="53"/>
                      <a:pt x="62" y="53"/>
                      <a:pt x="62" y="53"/>
                    </a:cubicBezTo>
                    <a:cubicBezTo>
                      <a:pt x="63" y="52"/>
                      <a:pt x="68" y="49"/>
                      <a:pt x="68" y="49"/>
                    </a:cubicBezTo>
                    <a:cubicBezTo>
                      <a:pt x="69" y="49"/>
                      <a:pt x="72" y="54"/>
                      <a:pt x="73" y="55"/>
                    </a:cubicBezTo>
                    <a:cubicBezTo>
                      <a:pt x="73" y="55"/>
                      <a:pt x="74" y="55"/>
                      <a:pt x="74" y="55"/>
                    </a:cubicBezTo>
                    <a:cubicBezTo>
                      <a:pt x="75" y="55"/>
                      <a:pt x="75" y="55"/>
                      <a:pt x="76" y="55"/>
                    </a:cubicBezTo>
                    <a:cubicBezTo>
                      <a:pt x="77" y="53"/>
                      <a:pt x="78" y="51"/>
                      <a:pt x="80" y="49"/>
                    </a:cubicBezTo>
                    <a:cubicBezTo>
                      <a:pt x="80" y="49"/>
                      <a:pt x="80" y="49"/>
                      <a:pt x="80" y="49"/>
                    </a:cubicBezTo>
                    <a:cubicBezTo>
                      <a:pt x="81" y="49"/>
                      <a:pt x="86" y="52"/>
                      <a:pt x="86" y="53"/>
                    </a:cubicBezTo>
                    <a:cubicBezTo>
                      <a:pt x="87" y="53"/>
                      <a:pt x="87" y="53"/>
                      <a:pt x="87" y="53"/>
                    </a:cubicBezTo>
                    <a:cubicBezTo>
                      <a:pt x="87" y="54"/>
                      <a:pt x="85" y="59"/>
                      <a:pt x="84" y="60"/>
                    </a:cubicBezTo>
                    <a:cubicBezTo>
                      <a:pt x="85" y="60"/>
                      <a:pt x="85" y="61"/>
                      <a:pt x="86" y="62"/>
                    </a:cubicBezTo>
                    <a:cubicBezTo>
                      <a:pt x="87" y="62"/>
                      <a:pt x="93" y="63"/>
                      <a:pt x="93" y="64"/>
                    </a:cubicBezTo>
                    <a:lnTo>
                      <a:pt x="93" y="70"/>
                    </a:lnTo>
                    <a:close/>
                    <a:moveTo>
                      <a:pt x="74" y="11"/>
                    </a:moveTo>
                    <a:cubicBezTo>
                      <a:pt x="71" y="11"/>
                      <a:pt x="68" y="14"/>
                      <a:pt x="68" y="17"/>
                    </a:cubicBezTo>
                    <a:cubicBezTo>
                      <a:pt x="68" y="21"/>
                      <a:pt x="71" y="24"/>
                      <a:pt x="74" y="24"/>
                    </a:cubicBezTo>
                    <a:cubicBezTo>
                      <a:pt x="78" y="24"/>
                      <a:pt x="80" y="21"/>
                      <a:pt x="80" y="17"/>
                    </a:cubicBezTo>
                    <a:cubicBezTo>
                      <a:pt x="80" y="14"/>
                      <a:pt x="78" y="11"/>
                      <a:pt x="74" y="11"/>
                    </a:cubicBezTo>
                    <a:close/>
                    <a:moveTo>
                      <a:pt x="74" y="61"/>
                    </a:moveTo>
                    <a:cubicBezTo>
                      <a:pt x="71" y="61"/>
                      <a:pt x="68" y="64"/>
                      <a:pt x="68" y="67"/>
                    </a:cubicBezTo>
                    <a:cubicBezTo>
                      <a:pt x="68" y="70"/>
                      <a:pt x="71" y="73"/>
                      <a:pt x="74" y="73"/>
                    </a:cubicBezTo>
                    <a:cubicBezTo>
                      <a:pt x="78" y="73"/>
                      <a:pt x="80" y="70"/>
                      <a:pt x="80" y="67"/>
                    </a:cubicBezTo>
                    <a:cubicBezTo>
                      <a:pt x="80" y="64"/>
                      <a:pt x="78" y="61"/>
                      <a:pt x="74" y="61"/>
                    </a:cubicBezTo>
                    <a:close/>
                  </a:path>
                </a:pathLst>
              </a:custGeom>
              <a:solidFill>
                <a:srgbClr val="50E6FF"/>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7" name="Freeform 267">
                <a:extLst>
                  <a:ext uri="{FF2B5EF4-FFF2-40B4-BE49-F238E27FC236}">
                    <a16:creationId xmlns:a16="http://schemas.microsoft.com/office/drawing/2014/main" id="{F698FE98-2223-1247-9166-3952BD0E37DD}"/>
                  </a:ext>
                </a:extLst>
              </p:cNvPr>
              <p:cNvSpPr>
                <a:spLocks noEditPoints="1"/>
              </p:cNvSpPr>
              <p:nvPr/>
            </p:nvSpPr>
            <p:spPr bwMode="auto">
              <a:xfrm>
                <a:off x="9041974" y="7874794"/>
                <a:ext cx="454169" cy="512673"/>
              </a:xfrm>
              <a:custGeom>
                <a:avLst/>
                <a:gdLst>
                  <a:gd name="T0" fmla="*/ 81 w 86"/>
                  <a:gd name="T1" fmla="*/ 59 h 98"/>
                  <a:gd name="T2" fmla="*/ 81 w 86"/>
                  <a:gd name="T3" fmla="*/ 15 h 98"/>
                  <a:gd name="T4" fmla="*/ 86 w 86"/>
                  <a:gd name="T5" fmla="*/ 10 h 98"/>
                  <a:gd name="T6" fmla="*/ 81 w 86"/>
                  <a:gd name="T7" fmla="*/ 5 h 98"/>
                  <a:gd name="T8" fmla="*/ 45 w 86"/>
                  <a:gd name="T9" fmla="*/ 5 h 98"/>
                  <a:gd name="T10" fmla="*/ 43 w 86"/>
                  <a:gd name="T11" fmla="*/ 0 h 98"/>
                  <a:gd name="T12" fmla="*/ 42 w 86"/>
                  <a:gd name="T13" fmla="*/ 0 h 98"/>
                  <a:gd name="T14" fmla="*/ 40 w 86"/>
                  <a:gd name="T15" fmla="*/ 5 h 98"/>
                  <a:gd name="T16" fmla="*/ 5 w 86"/>
                  <a:gd name="T17" fmla="*/ 5 h 98"/>
                  <a:gd name="T18" fmla="*/ 0 w 86"/>
                  <a:gd name="T19" fmla="*/ 10 h 98"/>
                  <a:gd name="T20" fmla="*/ 5 w 86"/>
                  <a:gd name="T21" fmla="*/ 15 h 98"/>
                  <a:gd name="T22" fmla="*/ 5 w 86"/>
                  <a:gd name="T23" fmla="*/ 59 h 98"/>
                  <a:gd name="T24" fmla="*/ 0 w 86"/>
                  <a:gd name="T25" fmla="*/ 64 h 98"/>
                  <a:gd name="T26" fmla="*/ 5 w 86"/>
                  <a:gd name="T27" fmla="*/ 69 h 98"/>
                  <a:gd name="T28" fmla="*/ 39 w 86"/>
                  <a:gd name="T29" fmla="*/ 69 h 98"/>
                  <a:gd name="T30" fmla="*/ 39 w 86"/>
                  <a:gd name="T31" fmla="*/ 75 h 98"/>
                  <a:gd name="T32" fmla="*/ 21 w 86"/>
                  <a:gd name="T33" fmla="*/ 86 h 98"/>
                  <a:gd name="T34" fmla="*/ 23 w 86"/>
                  <a:gd name="T35" fmla="*/ 89 h 98"/>
                  <a:gd name="T36" fmla="*/ 39 w 86"/>
                  <a:gd name="T37" fmla="*/ 82 h 98"/>
                  <a:gd name="T38" fmla="*/ 39 w 86"/>
                  <a:gd name="T39" fmla="*/ 95 h 98"/>
                  <a:gd name="T40" fmla="*/ 42 w 86"/>
                  <a:gd name="T41" fmla="*/ 98 h 98"/>
                  <a:gd name="T42" fmla="*/ 46 w 86"/>
                  <a:gd name="T43" fmla="*/ 95 h 98"/>
                  <a:gd name="T44" fmla="*/ 46 w 86"/>
                  <a:gd name="T45" fmla="*/ 82 h 98"/>
                  <a:gd name="T46" fmla="*/ 62 w 86"/>
                  <a:gd name="T47" fmla="*/ 89 h 98"/>
                  <a:gd name="T48" fmla="*/ 64 w 86"/>
                  <a:gd name="T49" fmla="*/ 86 h 98"/>
                  <a:gd name="T50" fmla="*/ 46 w 86"/>
                  <a:gd name="T51" fmla="*/ 75 h 98"/>
                  <a:gd name="T52" fmla="*/ 46 w 86"/>
                  <a:gd name="T53" fmla="*/ 69 h 98"/>
                  <a:gd name="T54" fmla="*/ 81 w 86"/>
                  <a:gd name="T55" fmla="*/ 69 h 98"/>
                  <a:gd name="T56" fmla="*/ 86 w 86"/>
                  <a:gd name="T57" fmla="*/ 64 h 98"/>
                  <a:gd name="T58" fmla="*/ 81 w 86"/>
                  <a:gd name="T59" fmla="*/ 59 h 98"/>
                  <a:gd name="T60" fmla="*/ 75 w 86"/>
                  <a:gd name="T61" fmla="*/ 59 h 98"/>
                  <a:gd name="T62" fmla="*/ 11 w 86"/>
                  <a:gd name="T63" fmla="*/ 59 h 98"/>
                  <a:gd name="T64" fmla="*/ 11 w 86"/>
                  <a:gd name="T65" fmla="*/ 15 h 98"/>
                  <a:gd name="T66" fmla="*/ 75 w 86"/>
                  <a:gd name="T67" fmla="*/ 15 h 98"/>
                  <a:gd name="T68" fmla="*/ 75 w 86"/>
                  <a:gd name="T69" fmla="*/ 59 h 98"/>
                  <a:gd name="T70" fmla="*/ 54 w 86"/>
                  <a:gd name="T71" fmla="*/ 23 h 98"/>
                  <a:gd name="T72" fmla="*/ 45 w 86"/>
                  <a:gd name="T73" fmla="*/ 23 h 98"/>
                  <a:gd name="T74" fmla="*/ 45 w 86"/>
                  <a:gd name="T75" fmla="*/ 52 h 98"/>
                  <a:gd name="T76" fmla="*/ 54 w 86"/>
                  <a:gd name="T77" fmla="*/ 52 h 98"/>
                  <a:gd name="T78" fmla="*/ 54 w 86"/>
                  <a:gd name="T79" fmla="*/ 23 h 98"/>
                  <a:gd name="T80" fmla="*/ 67 w 86"/>
                  <a:gd name="T81" fmla="*/ 37 h 98"/>
                  <a:gd name="T82" fmla="*/ 58 w 86"/>
                  <a:gd name="T83" fmla="*/ 37 h 98"/>
                  <a:gd name="T84" fmla="*/ 58 w 86"/>
                  <a:gd name="T85" fmla="*/ 52 h 98"/>
                  <a:gd name="T86" fmla="*/ 67 w 86"/>
                  <a:gd name="T87" fmla="*/ 52 h 98"/>
                  <a:gd name="T88" fmla="*/ 67 w 86"/>
                  <a:gd name="T89" fmla="*/ 37 h 98"/>
                  <a:gd name="T90" fmla="*/ 28 w 86"/>
                  <a:gd name="T91" fmla="*/ 42 h 98"/>
                  <a:gd name="T92" fmla="*/ 19 w 86"/>
                  <a:gd name="T93" fmla="*/ 42 h 98"/>
                  <a:gd name="T94" fmla="*/ 19 w 86"/>
                  <a:gd name="T95" fmla="*/ 52 h 98"/>
                  <a:gd name="T96" fmla="*/ 28 w 86"/>
                  <a:gd name="T97" fmla="*/ 52 h 98"/>
                  <a:gd name="T98" fmla="*/ 28 w 86"/>
                  <a:gd name="T99" fmla="*/ 42 h 98"/>
                  <a:gd name="T100" fmla="*/ 41 w 86"/>
                  <a:gd name="T101" fmla="*/ 32 h 98"/>
                  <a:gd name="T102" fmla="*/ 32 w 86"/>
                  <a:gd name="T103" fmla="*/ 32 h 98"/>
                  <a:gd name="T104" fmla="*/ 32 w 86"/>
                  <a:gd name="T105" fmla="*/ 52 h 98"/>
                  <a:gd name="T106" fmla="*/ 41 w 86"/>
                  <a:gd name="T107" fmla="*/ 52 h 98"/>
                  <a:gd name="T108" fmla="*/ 41 w 86"/>
                  <a:gd name="T109" fmla="*/ 3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6" h="98">
                    <a:moveTo>
                      <a:pt x="81" y="59"/>
                    </a:moveTo>
                    <a:cubicBezTo>
                      <a:pt x="81" y="15"/>
                      <a:pt x="81" y="15"/>
                      <a:pt x="81" y="15"/>
                    </a:cubicBezTo>
                    <a:cubicBezTo>
                      <a:pt x="84" y="15"/>
                      <a:pt x="86" y="13"/>
                      <a:pt x="86" y="10"/>
                    </a:cubicBezTo>
                    <a:cubicBezTo>
                      <a:pt x="86" y="7"/>
                      <a:pt x="84" y="5"/>
                      <a:pt x="81" y="5"/>
                    </a:cubicBezTo>
                    <a:cubicBezTo>
                      <a:pt x="45" y="5"/>
                      <a:pt x="45" y="5"/>
                      <a:pt x="45" y="5"/>
                    </a:cubicBezTo>
                    <a:cubicBezTo>
                      <a:pt x="43" y="0"/>
                      <a:pt x="43" y="0"/>
                      <a:pt x="43" y="0"/>
                    </a:cubicBezTo>
                    <a:cubicBezTo>
                      <a:pt x="42" y="0"/>
                      <a:pt x="42" y="0"/>
                      <a:pt x="42" y="0"/>
                    </a:cubicBezTo>
                    <a:cubicBezTo>
                      <a:pt x="40" y="5"/>
                      <a:pt x="40" y="5"/>
                      <a:pt x="40" y="5"/>
                    </a:cubicBezTo>
                    <a:cubicBezTo>
                      <a:pt x="5" y="5"/>
                      <a:pt x="5" y="5"/>
                      <a:pt x="5" y="5"/>
                    </a:cubicBezTo>
                    <a:cubicBezTo>
                      <a:pt x="2" y="5"/>
                      <a:pt x="0" y="7"/>
                      <a:pt x="0" y="10"/>
                    </a:cubicBezTo>
                    <a:cubicBezTo>
                      <a:pt x="0" y="12"/>
                      <a:pt x="2" y="14"/>
                      <a:pt x="5" y="15"/>
                    </a:cubicBezTo>
                    <a:cubicBezTo>
                      <a:pt x="5" y="59"/>
                      <a:pt x="5" y="59"/>
                      <a:pt x="5" y="59"/>
                    </a:cubicBezTo>
                    <a:cubicBezTo>
                      <a:pt x="2" y="59"/>
                      <a:pt x="0" y="61"/>
                      <a:pt x="0" y="64"/>
                    </a:cubicBezTo>
                    <a:cubicBezTo>
                      <a:pt x="0" y="67"/>
                      <a:pt x="2" y="69"/>
                      <a:pt x="5" y="69"/>
                    </a:cubicBezTo>
                    <a:cubicBezTo>
                      <a:pt x="39" y="69"/>
                      <a:pt x="39" y="69"/>
                      <a:pt x="39" y="69"/>
                    </a:cubicBezTo>
                    <a:cubicBezTo>
                      <a:pt x="39" y="75"/>
                      <a:pt x="39" y="75"/>
                      <a:pt x="39" y="75"/>
                    </a:cubicBezTo>
                    <a:cubicBezTo>
                      <a:pt x="21" y="86"/>
                      <a:pt x="21" y="86"/>
                      <a:pt x="21" y="86"/>
                    </a:cubicBezTo>
                    <a:cubicBezTo>
                      <a:pt x="23" y="89"/>
                      <a:pt x="23" y="89"/>
                      <a:pt x="23" y="89"/>
                    </a:cubicBezTo>
                    <a:cubicBezTo>
                      <a:pt x="39" y="82"/>
                      <a:pt x="39" y="82"/>
                      <a:pt x="39" y="82"/>
                    </a:cubicBezTo>
                    <a:cubicBezTo>
                      <a:pt x="39" y="95"/>
                      <a:pt x="39" y="95"/>
                      <a:pt x="39" y="95"/>
                    </a:cubicBezTo>
                    <a:cubicBezTo>
                      <a:pt x="39" y="97"/>
                      <a:pt x="40" y="98"/>
                      <a:pt x="42" y="98"/>
                    </a:cubicBezTo>
                    <a:cubicBezTo>
                      <a:pt x="44" y="98"/>
                      <a:pt x="46" y="97"/>
                      <a:pt x="46" y="95"/>
                    </a:cubicBezTo>
                    <a:cubicBezTo>
                      <a:pt x="46" y="82"/>
                      <a:pt x="46" y="82"/>
                      <a:pt x="46" y="82"/>
                    </a:cubicBezTo>
                    <a:cubicBezTo>
                      <a:pt x="62" y="89"/>
                      <a:pt x="62" y="89"/>
                      <a:pt x="62" y="89"/>
                    </a:cubicBezTo>
                    <a:cubicBezTo>
                      <a:pt x="64" y="86"/>
                      <a:pt x="64" y="86"/>
                      <a:pt x="64" y="86"/>
                    </a:cubicBezTo>
                    <a:cubicBezTo>
                      <a:pt x="46" y="75"/>
                      <a:pt x="46" y="75"/>
                      <a:pt x="46" y="75"/>
                    </a:cubicBezTo>
                    <a:cubicBezTo>
                      <a:pt x="46" y="69"/>
                      <a:pt x="46" y="69"/>
                      <a:pt x="46" y="69"/>
                    </a:cubicBezTo>
                    <a:cubicBezTo>
                      <a:pt x="81" y="69"/>
                      <a:pt x="81" y="69"/>
                      <a:pt x="81" y="69"/>
                    </a:cubicBezTo>
                    <a:cubicBezTo>
                      <a:pt x="84" y="69"/>
                      <a:pt x="86" y="67"/>
                      <a:pt x="86" y="64"/>
                    </a:cubicBezTo>
                    <a:cubicBezTo>
                      <a:pt x="86" y="61"/>
                      <a:pt x="84" y="59"/>
                      <a:pt x="81" y="59"/>
                    </a:cubicBezTo>
                    <a:close/>
                    <a:moveTo>
                      <a:pt x="75" y="59"/>
                    </a:moveTo>
                    <a:cubicBezTo>
                      <a:pt x="11" y="59"/>
                      <a:pt x="11" y="59"/>
                      <a:pt x="11" y="59"/>
                    </a:cubicBezTo>
                    <a:cubicBezTo>
                      <a:pt x="11" y="15"/>
                      <a:pt x="11" y="15"/>
                      <a:pt x="11" y="15"/>
                    </a:cubicBezTo>
                    <a:cubicBezTo>
                      <a:pt x="75" y="15"/>
                      <a:pt x="75" y="15"/>
                      <a:pt x="75" y="15"/>
                    </a:cubicBezTo>
                    <a:lnTo>
                      <a:pt x="75" y="59"/>
                    </a:lnTo>
                    <a:close/>
                    <a:moveTo>
                      <a:pt x="54" y="23"/>
                    </a:moveTo>
                    <a:cubicBezTo>
                      <a:pt x="45" y="23"/>
                      <a:pt x="45" y="23"/>
                      <a:pt x="45" y="23"/>
                    </a:cubicBezTo>
                    <a:cubicBezTo>
                      <a:pt x="45" y="52"/>
                      <a:pt x="45" y="52"/>
                      <a:pt x="45" y="52"/>
                    </a:cubicBezTo>
                    <a:cubicBezTo>
                      <a:pt x="54" y="52"/>
                      <a:pt x="54" y="52"/>
                      <a:pt x="54" y="52"/>
                    </a:cubicBezTo>
                    <a:lnTo>
                      <a:pt x="54" y="23"/>
                    </a:lnTo>
                    <a:close/>
                    <a:moveTo>
                      <a:pt x="67" y="37"/>
                    </a:moveTo>
                    <a:cubicBezTo>
                      <a:pt x="58" y="37"/>
                      <a:pt x="58" y="37"/>
                      <a:pt x="58" y="37"/>
                    </a:cubicBezTo>
                    <a:cubicBezTo>
                      <a:pt x="58" y="52"/>
                      <a:pt x="58" y="52"/>
                      <a:pt x="58" y="52"/>
                    </a:cubicBezTo>
                    <a:cubicBezTo>
                      <a:pt x="67" y="52"/>
                      <a:pt x="67" y="52"/>
                      <a:pt x="67" y="52"/>
                    </a:cubicBezTo>
                    <a:lnTo>
                      <a:pt x="67" y="37"/>
                    </a:lnTo>
                    <a:close/>
                    <a:moveTo>
                      <a:pt x="28" y="42"/>
                    </a:moveTo>
                    <a:cubicBezTo>
                      <a:pt x="19" y="42"/>
                      <a:pt x="19" y="42"/>
                      <a:pt x="19" y="42"/>
                    </a:cubicBezTo>
                    <a:cubicBezTo>
                      <a:pt x="19" y="52"/>
                      <a:pt x="19" y="52"/>
                      <a:pt x="19" y="52"/>
                    </a:cubicBezTo>
                    <a:cubicBezTo>
                      <a:pt x="28" y="52"/>
                      <a:pt x="28" y="52"/>
                      <a:pt x="28" y="52"/>
                    </a:cubicBezTo>
                    <a:lnTo>
                      <a:pt x="28" y="42"/>
                    </a:lnTo>
                    <a:close/>
                    <a:moveTo>
                      <a:pt x="41" y="32"/>
                    </a:moveTo>
                    <a:cubicBezTo>
                      <a:pt x="32" y="32"/>
                      <a:pt x="32" y="32"/>
                      <a:pt x="32" y="32"/>
                    </a:cubicBezTo>
                    <a:cubicBezTo>
                      <a:pt x="32" y="52"/>
                      <a:pt x="32" y="52"/>
                      <a:pt x="32" y="52"/>
                    </a:cubicBezTo>
                    <a:cubicBezTo>
                      <a:pt x="41" y="52"/>
                      <a:pt x="41" y="52"/>
                      <a:pt x="41" y="52"/>
                    </a:cubicBezTo>
                    <a:lnTo>
                      <a:pt x="41" y="32"/>
                    </a:lnTo>
                    <a:close/>
                  </a:path>
                </a:pathLst>
              </a:custGeom>
              <a:solidFill>
                <a:srgbClr val="50E6FF"/>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8" name="Freeform 278">
                <a:extLst>
                  <a:ext uri="{FF2B5EF4-FFF2-40B4-BE49-F238E27FC236}">
                    <a16:creationId xmlns:a16="http://schemas.microsoft.com/office/drawing/2014/main" id="{579B710C-D76E-9A4B-97A2-22F414852146}"/>
                  </a:ext>
                </a:extLst>
              </p:cNvPr>
              <p:cNvSpPr>
                <a:spLocks noEditPoints="1"/>
              </p:cNvSpPr>
              <p:nvPr/>
            </p:nvSpPr>
            <p:spPr bwMode="auto">
              <a:xfrm>
                <a:off x="9114537" y="10322451"/>
                <a:ext cx="309043" cy="355700"/>
              </a:xfrm>
              <a:custGeom>
                <a:avLst/>
                <a:gdLst>
                  <a:gd name="T0" fmla="*/ 79 w 79"/>
                  <a:gd name="T1" fmla="*/ 13 h 92"/>
                  <a:gd name="T2" fmla="*/ 79 w 79"/>
                  <a:gd name="T3" fmla="*/ 19 h 92"/>
                  <a:gd name="T4" fmla="*/ 40 w 79"/>
                  <a:gd name="T5" fmla="*/ 33 h 92"/>
                  <a:gd name="T6" fmla="*/ 0 w 79"/>
                  <a:gd name="T7" fmla="*/ 19 h 92"/>
                  <a:gd name="T8" fmla="*/ 0 w 79"/>
                  <a:gd name="T9" fmla="*/ 13 h 92"/>
                  <a:gd name="T10" fmla="*/ 40 w 79"/>
                  <a:gd name="T11" fmla="*/ 0 h 92"/>
                  <a:gd name="T12" fmla="*/ 79 w 79"/>
                  <a:gd name="T13" fmla="*/ 13 h 92"/>
                  <a:gd name="T14" fmla="*/ 79 w 79"/>
                  <a:gd name="T15" fmla="*/ 30 h 92"/>
                  <a:gd name="T16" fmla="*/ 79 w 79"/>
                  <a:gd name="T17" fmla="*/ 39 h 92"/>
                  <a:gd name="T18" fmla="*/ 40 w 79"/>
                  <a:gd name="T19" fmla="*/ 53 h 92"/>
                  <a:gd name="T20" fmla="*/ 0 w 79"/>
                  <a:gd name="T21" fmla="*/ 39 h 92"/>
                  <a:gd name="T22" fmla="*/ 0 w 79"/>
                  <a:gd name="T23" fmla="*/ 30 h 92"/>
                  <a:gd name="T24" fmla="*/ 40 w 79"/>
                  <a:gd name="T25" fmla="*/ 39 h 92"/>
                  <a:gd name="T26" fmla="*/ 79 w 79"/>
                  <a:gd name="T27" fmla="*/ 30 h 92"/>
                  <a:gd name="T28" fmla="*/ 79 w 79"/>
                  <a:gd name="T29" fmla="*/ 50 h 92"/>
                  <a:gd name="T30" fmla="*/ 79 w 79"/>
                  <a:gd name="T31" fmla="*/ 59 h 92"/>
                  <a:gd name="T32" fmla="*/ 40 w 79"/>
                  <a:gd name="T33" fmla="*/ 72 h 92"/>
                  <a:gd name="T34" fmla="*/ 0 w 79"/>
                  <a:gd name="T35" fmla="*/ 59 h 92"/>
                  <a:gd name="T36" fmla="*/ 0 w 79"/>
                  <a:gd name="T37" fmla="*/ 50 h 92"/>
                  <a:gd name="T38" fmla="*/ 40 w 79"/>
                  <a:gd name="T39" fmla="*/ 59 h 92"/>
                  <a:gd name="T40" fmla="*/ 79 w 79"/>
                  <a:gd name="T41" fmla="*/ 50 h 92"/>
                  <a:gd name="T42" fmla="*/ 79 w 79"/>
                  <a:gd name="T43" fmla="*/ 70 h 92"/>
                  <a:gd name="T44" fmla="*/ 79 w 79"/>
                  <a:gd name="T45" fmla="*/ 79 h 92"/>
                  <a:gd name="T46" fmla="*/ 40 w 79"/>
                  <a:gd name="T47" fmla="*/ 92 h 92"/>
                  <a:gd name="T48" fmla="*/ 0 w 79"/>
                  <a:gd name="T49" fmla="*/ 79 h 92"/>
                  <a:gd name="T50" fmla="*/ 0 w 79"/>
                  <a:gd name="T51" fmla="*/ 70 h 92"/>
                  <a:gd name="T52" fmla="*/ 40 w 79"/>
                  <a:gd name="T53" fmla="*/ 79 h 92"/>
                  <a:gd name="T54" fmla="*/ 79 w 79"/>
                  <a:gd name="T55" fmla="*/ 7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9" h="92">
                    <a:moveTo>
                      <a:pt x="79" y="13"/>
                    </a:moveTo>
                    <a:cubicBezTo>
                      <a:pt x="79" y="19"/>
                      <a:pt x="79" y="19"/>
                      <a:pt x="79" y="19"/>
                    </a:cubicBezTo>
                    <a:cubicBezTo>
                      <a:pt x="79" y="27"/>
                      <a:pt x="61" y="33"/>
                      <a:pt x="40" y="33"/>
                    </a:cubicBezTo>
                    <a:cubicBezTo>
                      <a:pt x="18" y="33"/>
                      <a:pt x="0" y="27"/>
                      <a:pt x="0" y="19"/>
                    </a:cubicBezTo>
                    <a:cubicBezTo>
                      <a:pt x="0" y="13"/>
                      <a:pt x="0" y="13"/>
                      <a:pt x="0" y="13"/>
                    </a:cubicBezTo>
                    <a:cubicBezTo>
                      <a:pt x="0" y="5"/>
                      <a:pt x="18" y="0"/>
                      <a:pt x="40" y="0"/>
                    </a:cubicBezTo>
                    <a:cubicBezTo>
                      <a:pt x="61" y="0"/>
                      <a:pt x="79" y="5"/>
                      <a:pt x="79" y="13"/>
                    </a:cubicBezTo>
                    <a:close/>
                    <a:moveTo>
                      <a:pt x="79" y="30"/>
                    </a:moveTo>
                    <a:cubicBezTo>
                      <a:pt x="79" y="39"/>
                      <a:pt x="79" y="39"/>
                      <a:pt x="79" y="39"/>
                    </a:cubicBezTo>
                    <a:cubicBezTo>
                      <a:pt x="79" y="47"/>
                      <a:pt x="61" y="53"/>
                      <a:pt x="40" y="53"/>
                    </a:cubicBezTo>
                    <a:cubicBezTo>
                      <a:pt x="18" y="53"/>
                      <a:pt x="0" y="47"/>
                      <a:pt x="0" y="39"/>
                    </a:cubicBezTo>
                    <a:cubicBezTo>
                      <a:pt x="0" y="30"/>
                      <a:pt x="0" y="30"/>
                      <a:pt x="0" y="30"/>
                    </a:cubicBezTo>
                    <a:cubicBezTo>
                      <a:pt x="8" y="37"/>
                      <a:pt x="24" y="39"/>
                      <a:pt x="40" y="39"/>
                    </a:cubicBezTo>
                    <a:cubicBezTo>
                      <a:pt x="55" y="39"/>
                      <a:pt x="71" y="37"/>
                      <a:pt x="79" y="30"/>
                    </a:cubicBezTo>
                    <a:close/>
                    <a:moveTo>
                      <a:pt x="79" y="50"/>
                    </a:moveTo>
                    <a:cubicBezTo>
                      <a:pt x="79" y="59"/>
                      <a:pt x="79" y="59"/>
                      <a:pt x="79" y="59"/>
                    </a:cubicBezTo>
                    <a:cubicBezTo>
                      <a:pt x="79" y="67"/>
                      <a:pt x="61" y="72"/>
                      <a:pt x="40" y="72"/>
                    </a:cubicBezTo>
                    <a:cubicBezTo>
                      <a:pt x="18" y="72"/>
                      <a:pt x="0" y="67"/>
                      <a:pt x="0" y="59"/>
                    </a:cubicBezTo>
                    <a:cubicBezTo>
                      <a:pt x="0" y="50"/>
                      <a:pt x="0" y="50"/>
                      <a:pt x="0" y="50"/>
                    </a:cubicBezTo>
                    <a:cubicBezTo>
                      <a:pt x="8" y="56"/>
                      <a:pt x="24" y="59"/>
                      <a:pt x="40" y="59"/>
                    </a:cubicBezTo>
                    <a:cubicBezTo>
                      <a:pt x="55" y="59"/>
                      <a:pt x="71" y="56"/>
                      <a:pt x="79" y="50"/>
                    </a:cubicBezTo>
                    <a:close/>
                    <a:moveTo>
                      <a:pt x="79" y="70"/>
                    </a:moveTo>
                    <a:cubicBezTo>
                      <a:pt x="79" y="79"/>
                      <a:pt x="79" y="79"/>
                      <a:pt x="79" y="79"/>
                    </a:cubicBezTo>
                    <a:cubicBezTo>
                      <a:pt x="79" y="86"/>
                      <a:pt x="61" y="92"/>
                      <a:pt x="40" y="92"/>
                    </a:cubicBezTo>
                    <a:cubicBezTo>
                      <a:pt x="18" y="92"/>
                      <a:pt x="0" y="86"/>
                      <a:pt x="0" y="79"/>
                    </a:cubicBezTo>
                    <a:cubicBezTo>
                      <a:pt x="0" y="70"/>
                      <a:pt x="0" y="70"/>
                      <a:pt x="0" y="70"/>
                    </a:cubicBezTo>
                    <a:cubicBezTo>
                      <a:pt x="8" y="76"/>
                      <a:pt x="24" y="79"/>
                      <a:pt x="40" y="79"/>
                    </a:cubicBezTo>
                    <a:cubicBezTo>
                      <a:pt x="55" y="79"/>
                      <a:pt x="71" y="76"/>
                      <a:pt x="79" y="70"/>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9" name="Freeform 354">
                <a:extLst>
                  <a:ext uri="{FF2B5EF4-FFF2-40B4-BE49-F238E27FC236}">
                    <a16:creationId xmlns:a16="http://schemas.microsoft.com/office/drawing/2014/main" id="{58DA3A19-E1C8-9645-BA4F-959379D2C360}"/>
                  </a:ext>
                </a:extLst>
              </p:cNvPr>
              <p:cNvSpPr>
                <a:spLocks noEditPoints="1"/>
              </p:cNvSpPr>
              <p:nvPr/>
            </p:nvSpPr>
            <p:spPr bwMode="auto">
              <a:xfrm>
                <a:off x="9121927" y="9596911"/>
                <a:ext cx="294263" cy="364568"/>
              </a:xfrm>
              <a:custGeom>
                <a:avLst/>
                <a:gdLst>
                  <a:gd name="T0" fmla="*/ 93 w 115"/>
                  <a:gd name="T1" fmla="*/ 47 h 145"/>
                  <a:gd name="T2" fmla="*/ 74 w 115"/>
                  <a:gd name="T3" fmla="*/ 44 h 145"/>
                  <a:gd name="T4" fmla="*/ 64 w 115"/>
                  <a:gd name="T5" fmla="*/ 26 h 145"/>
                  <a:gd name="T6" fmla="*/ 89 w 115"/>
                  <a:gd name="T7" fmla="*/ 21 h 145"/>
                  <a:gd name="T8" fmla="*/ 93 w 115"/>
                  <a:gd name="T9" fmla="*/ 47 h 145"/>
                  <a:gd name="T10" fmla="*/ 112 w 115"/>
                  <a:gd name="T11" fmla="*/ 36 h 145"/>
                  <a:gd name="T12" fmla="*/ 68 w 115"/>
                  <a:gd name="T13" fmla="*/ 4 h 145"/>
                  <a:gd name="T14" fmla="*/ 34 w 115"/>
                  <a:gd name="T15" fmla="*/ 46 h 145"/>
                  <a:gd name="T16" fmla="*/ 39 w 115"/>
                  <a:gd name="T17" fmla="*/ 63 h 145"/>
                  <a:gd name="T18" fmla="*/ 2 w 115"/>
                  <a:gd name="T19" fmla="*/ 119 h 145"/>
                  <a:gd name="T20" fmla="*/ 0 w 115"/>
                  <a:gd name="T21" fmla="*/ 127 h 145"/>
                  <a:gd name="T22" fmla="*/ 2 w 115"/>
                  <a:gd name="T23" fmla="*/ 141 h 145"/>
                  <a:gd name="T24" fmla="*/ 8 w 115"/>
                  <a:gd name="T25" fmla="*/ 145 h 145"/>
                  <a:gd name="T26" fmla="*/ 18 w 115"/>
                  <a:gd name="T27" fmla="*/ 143 h 145"/>
                  <a:gd name="T28" fmla="*/ 25 w 115"/>
                  <a:gd name="T29" fmla="*/ 138 h 145"/>
                  <a:gd name="T30" fmla="*/ 40 w 115"/>
                  <a:gd name="T31" fmla="*/ 114 h 145"/>
                  <a:gd name="T32" fmla="*/ 40 w 115"/>
                  <a:gd name="T33" fmla="*/ 114 h 145"/>
                  <a:gd name="T34" fmla="*/ 50 w 115"/>
                  <a:gd name="T35" fmla="*/ 112 h 145"/>
                  <a:gd name="T36" fmla="*/ 67 w 115"/>
                  <a:gd name="T37" fmla="*/ 84 h 145"/>
                  <a:gd name="T38" fmla="*/ 86 w 115"/>
                  <a:gd name="T39" fmla="*/ 84 h 145"/>
                  <a:gd name="T40" fmla="*/ 112 w 115"/>
                  <a:gd name="T41" fmla="*/ 36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5" h="145">
                    <a:moveTo>
                      <a:pt x="93" y="47"/>
                    </a:moveTo>
                    <a:cubicBezTo>
                      <a:pt x="88" y="56"/>
                      <a:pt x="82" y="50"/>
                      <a:pt x="74" y="44"/>
                    </a:cubicBezTo>
                    <a:cubicBezTo>
                      <a:pt x="66" y="38"/>
                      <a:pt x="59" y="34"/>
                      <a:pt x="64" y="26"/>
                    </a:cubicBezTo>
                    <a:cubicBezTo>
                      <a:pt x="70" y="17"/>
                      <a:pt x="81" y="15"/>
                      <a:pt x="89" y="21"/>
                    </a:cubicBezTo>
                    <a:cubicBezTo>
                      <a:pt x="97" y="27"/>
                      <a:pt x="99" y="39"/>
                      <a:pt x="93" y="47"/>
                    </a:cubicBezTo>
                    <a:close/>
                    <a:moveTo>
                      <a:pt x="112" y="36"/>
                    </a:moveTo>
                    <a:cubicBezTo>
                      <a:pt x="108" y="15"/>
                      <a:pt x="88" y="0"/>
                      <a:pt x="68" y="4"/>
                    </a:cubicBezTo>
                    <a:cubicBezTo>
                      <a:pt x="47" y="8"/>
                      <a:pt x="30" y="24"/>
                      <a:pt x="34" y="46"/>
                    </a:cubicBezTo>
                    <a:cubicBezTo>
                      <a:pt x="34" y="51"/>
                      <a:pt x="37" y="58"/>
                      <a:pt x="39" y="63"/>
                    </a:cubicBezTo>
                    <a:cubicBezTo>
                      <a:pt x="2" y="119"/>
                      <a:pt x="2" y="119"/>
                      <a:pt x="2" y="119"/>
                    </a:cubicBezTo>
                    <a:cubicBezTo>
                      <a:pt x="0" y="121"/>
                      <a:pt x="0" y="124"/>
                      <a:pt x="0" y="127"/>
                    </a:cubicBezTo>
                    <a:cubicBezTo>
                      <a:pt x="2" y="141"/>
                      <a:pt x="2" y="141"/>
                      <a:pt x="2" y="141"/>
                    </a:cubicBezTo>
                    <a:cubicBezTo>
                      <a:pt x="3" y="144"/>
                      <a:pt x="5" y="145"/>
                      <a:pt x="8" y="145"/>
                    </a:cubicBezTo>
                    <a:cubicBezTo>
                      <a:pt x="18" y="143"/>
                      <a:pt x="18" y="143"/>
                      <a:pt x="18" y="143"/>
                    </a:cubicBezTo>
                    <a:cubicBezTo>
                      <a:pt x="21" y="142"/>
                      <a:pt x="24" y="140"/>
                      <a:pt x="25" y="138"/>
                    </a:cubicBezTo>
                    <a:cubicBezTo>
                      <a:pt x="40" y="114"/>
                      <a:pt x="40" y="114"/>
                      <a:pt x="40" y="114"/>
                    </a:cubicBezTo>
                    <a:cubicBezTo>
                      <a:pt x="40" y="114"/>
                      <a:pt x="40" y="114"/>
                      <a:pt x="40" y="114"/>
                    </a:cubicBezTo>
                    <a:cubicBezTo>
                      <a:pt x="50" y="112"/>
                      <a:pt x="50" y="112"/>
                      <a:pt x="50" y="112"/>
                    </a:cubicBezTo>
                    <a:cubicBezTo>
                      <a:pt x="67" y="84"/>
                      <a:pt x="67" y="84"/>
                      <a:pt x="67" y="84"/>
                    </a:cubicBezTo>
                    <a:cubicBezTo>
                      <a:pt x="73" y="85"/>
                      <a:pt x="81" y="85"/>
                      <a:pt x="86" y="84"/>
                    </a:cubicBezTo>
                    <a:cubicBezTo>
                      <a:pt x="106" y="80"/>
                      <a:pt x="115" y="58"/>
                      <a:pt x="112" y="36"/>
                    </a:cubicBezTo>
                    <a:close/>
                  </a:path>
                </a:pathLst>
              </a:custGeom>
              <a:solidFill>
                <a:srgbClr val="50E6FF"/>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0" name="Freeform 370">
                <a:extLst>
                  <a:ext uri="{FF2B5EF4-FFF2-40B4-BE49-F238E27FC236}">
                    <a16:creationId xmlns:a16="http://schemas.microsoft.com/office/drawing/2014/main" id="{A567A181-68EB-554B-8ABF-B94177419BFE}"/>
                  </a:ext>
                </a:extLst>
              </p:cNvPr>
              <p:cNvSpPr>
                <a:spLocks noEditPoints="1"/>
              </p:cNvSpPr>
              <p:nvPr/>
            </p:nvSpPr>
            <p:spPr bwMode="auto">
              <a:xfrm>
                <a:off x="9023491" y="7057068"/>
                <a:ext cx="491135" cy="487491"/>
              </a:xfrm>
              <a:custGeom>
                <a:avLst/>
                <a:gdLst>
                  <a:gd name="T0" fmla="*/ 57 w 65"/>
                  <a:gd name="T1" fmla="*/ 61 h 65"/>
                  <a:gd name="T2" fmla="*/ 52 w 65"/>
                  <a:gd name="T3" fmla="*/ 57 h 65"/>
                  <a:gd name="T4" fmla="*/ 57 w 65"/>
                  <a:gd name="T5" fmla="*/ 52 h 65"/>
                  <a:gd name="T6" fmla="*/ 62 w 65"/>
                  <a:gd name="T7" fmla="*/ 57 h 65"/>
                  <a:gd name="T8" fmla="*/ 57 w 65"/>
                  <a:gd name="T9" fmla="*/ 61 h 65"/>
                  <a:gd name="T10" fmla="*/ 37 w 65"/>
                  <a:gd name="T11" fmla="*/ 57 h 65"/>
                  <a:gd name="T12" fmla="*/ 33 w 65"/>
                  <a:gd name="T13" fmla="*/ 61 h 65"/>
                  <a:gd name="T14" fmla="*/ 28 w 65"/>
                  <a:gd name="T15" fmla="*/ 57 h 65"/>
                  <a:gd name="T16" fmla="*/ 33 w 65"/>
                  <a:gd name="T17" fmla="*/ 52 h 65"/>
                  <a:gd name="T18" fmla="*/ 37 w 65"/>
                  <a:gd name="T19" fmla="*/ 57 h 65"/>
                  <a:gd name="T20" fmla="*/ 28 w 65"/>
                  <a:gd name="T21" fmla="*/ 8 h 65"/>
                  <a:gd name="T22" fmla="*/ 33 w 65"/>
                  <a:gd name="T23" fmla="*/ 3 h 65"/>
                  <a:gd name="T24" fmla="*/ 37 w 65"/>
                  <a:gd name="T25" fmla="*/ 8 h 65"/>
                  <a:gd name="T26" fmla="*/ 33 w 65"/>
                  <a:gd name="T27" fmla="*/ 13 h 65"/>
                  <a:gd name="T28" fmla="*/ 28 w 65"/>
                  <a:gd name="T29" fmla="*/ 8 h 65"/>
                  <a:gd name="T30" fmla="*/ 13 w 65"/>
                  <a:gd name="T31" fmla="*/ 57 h 65"/>
                  <a:gd name="T32" fmla="*/ 8 w 65"/>
                  <a:gd name="T33" fmla="*/ 61 h 65"/>
                  <a:gd name="T34" fmla="*/ 4 w 65"/>
                  <a:gd name="T35" fmla="*/ 57 h 65"/>
                  <a:gd name="T36" fmla="*/ 8 w 65"/>
                  <a:gd name="T37" fmla="*/ 52 h 65"/>
                  <a:gd name="T38" fmla="*/ 13 w 65"/>
                  <a:gd name="T39" fmla="*/ 57 h 65"/>
                  <a:gd name="T40" fmla="*/ 60 w 65"/>
                  <a:gd name="T41" fmla="*/ 49 h 65"/>
                  <a:gd name="T42" fmla="*/ 60 w 65"/>
                  <a:gd name="T43" fmla="*/ 41 h 65"/>
                  <a:gd name="T44" fmla="*/ 48 w 65"/>
                  <a:gd name="T45" fmla="*/ 29 h 65"/>
                  <a:gd name="T46" fmla="*/ 41 w 65"/>
                  <a:gd name="T47" fmla="*/ 29 h 65"/>
                  <a:gd name="T48" fmla="*/ 36 w 65"/>
                  <a:gd name="T49" fmla="*/ 25 h 65"/>
                  <a:gd name="T50" fmla="*/ 36 w 65"/>
                  <a:gd name="T51" fmla="*/ 16 h 65"/>
                  <a:gd name="T52" fmla="*/ 41 w 65"/>
                  <a:gd name="T53" fmla="*/ 8 h 65"/>
                  <a:gd name="T54" fmla="*/ 33 w 65"/>
                  <a:gd name="T55" fmla="*/ 0 h 65"/>
                  <a:gd name="T56" fmla="*/ 24 w 65"/>
                  <a:gd name="T57" fmla="*/ 8 h 65"/>
                  <a:gd name="T58" fmla="*/ 29 w 65"/>
                  <a:gd name="T59" fmla="*/ 16 h 65"/>
                  <a:gd name="T60" fmla="*/ 29 w 65"/>
                  <a:gd name="T61" fmla="*/ 25 h 65"/>
                  <a:gd name="T62" fmla="*/ 24 w 65"/>
                  <a:gd name="T63" fmla="*/ 29 h 65"/>
                  <a:gd name="T64" fmla="*/ 17 w 65"/>
                  <a:gd name="T65" fmla="*/ 29 h 65"/>
                  <a:gd name="T66" fmla="*/ 5 w 65"/>
                  <a:gd name="T67" fmla="*/ 41 h 65"/>
                  <a:gd name="T68" fmla="*/ 5 w 65"/>
                  <a:gd name="T69" fmla="*/ 49 h 65"/>
                  <a:gd name="T70" fmla="*/ 0 w 65"/>
                  <a:gd name="T71" fmla="*/ 57 h 65"/>
                  <a:gd name="T72" fmla="*/ 8 w 65"/>
                  <a:gd name="T73" fmla="*/ 65 h 65"/>
                  <a:gd name="T74" fmla="*/ 17 w 65"/>
                  <a:gd name="T75" fmla="*/ 57 h 65"/>
                  <a:gd name="T76" fmla="*/ 12 w 65"/>
                  <a:gd name="T77" fmla="*/ 49 h 65"/>
                  <a:gd name="T78" fmla="*/ 12 w 65"/>
                  <a:gd name="T79" fmla="*/ 41 h 65"/>
                  <a:gd name="T80" fmla="*/ 17 w 65"/>
                  <a:gd name="T81" fmla="*/ 36 h 65"/>
                  <a:gd name="T82" fmla="*/ 24 w 65"/>
                  <a:gd name="T83" fmla="*/ 36 h 65"/>
                  <a:gd name="T84" fmla="*/ 29 w 65"/>
                  <a:gd name="T85" fmla="*/ 35 h 65"/>
                  <a:gd name="T86" fmla="*/ 29 w 65"/>
                  <a:gd name="T87" fmla="*/ 49 h 65"/>
                  <a:gd name="T88" fmla="*/ 24 w 65"/>
                  <a:gd name="T89" fmla="*/ 57 h 65"/>
                  <a:gd name="T90" fmla="*/ 33 w 65"/>
                  <a:gd name="T91" fmla="*/ 65 h 65"/>
                  <a:gd name="T92" fmla="*/ 41 w 65"/>
                  <a:gd name="T93" fmla="*/ 57 h 65"/>
                  <a:gd name="T94" fmla="*/ 36 w 65"/>
                  <a:gd name="T95" fmla="*/ 49 h 65"/>
                  <a:gd name="T96" fmla="*/ 36 w 65"/>
                  <a:gd name="T97" fmla="*/ 35 h 65"/>
                  <a:gd name="T98" fmla="*/ 41 w 65"/>
                  <a:gd name="T99" fmla="*/ 36 h 65"/>
                  <a:gd name="T100" fmla="*/ 48 w 65"/>
                  <a:gd name="T101" fmla="*/ 36 h 65"/>
                  <a:gd name="T102" fmla="*/ 54 w 65"/>
                  <a:gd name="T103" fmla="*/ 41 h 65"/>
                  <a:gd name="T104" fmla="*/ 54 w 65"/>
                  <a:gd name="T105" fmla="*/ 49 h 65"/>
                  <a:gd name="T106" fmla="*/ 49 w 65"/>
                  <a:gd name="T107" fmla="*/ 57 h 65"/>
                  <a:gd name="T108" fmla="*/ 57 w 65"/>
                  <a:gd name="T109" fmla="*/ 65 h 65"/>
                  <a:gd name="T110" fmla="*/ 65 w 65"/>
                  <a:gd name="T111" fmla="*/ 57 h 65"/>
                  <a:gd name="T112" fmla="*/ 60 w 65"/>
                  <a:gd name="T113" fmla="*/ 4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5" h="65">
                    <a:moveTo>
                      <a:pt x="57" y="61"/>
                    </a:moveTo>
                    <a:cubicBezTo>
                      <a:pt x="54" y="61"/>
                      <a:pt x="52" y="59"/>
                      <a:pt x="52" y="57"/>
                    </a:cubicBezTo>
                    <a:cubicBezTo>
                      <a:pt x="52" y="54"/>
                      <a:pt x="54" y="52"/>
                      <a:pt x="57" y="52"/>
                    </a:cubicBezTo>
                    <a:cubicBezTo>
                      <a:pt x="60" y="52"/>
                      <a:pt x="62" y="54"/>
                      <a:pt x="62" y="57"/>
                    </a:cubicBezTo>
                    <a:cubicBezTo>
                      <a:pt x="62" y="59"/>
                      <a:pt x="60" y="61"/>
                      <a:pt x="57" y="61"/>
                    </a:cubicBezTo>
                    <a:close/>
                    <a:moveTo>
                      <a:pt x="37" y="57"/>
                    </a:moveTo>
                    <a:cubicBezTo>
                      <a:pt x="37" y="59"/>
                      <a:pt x="35" y="61"/>
                      <a:pt x="33" y="61"/>
                    </a:cubicBezTo>
                    <a:cubicBezTo>
                      <a:pt x="30" y="61"/>
                      <a:pt x="28" y="59"/>
                      <a:pt x="28" y="57"/>
                    </a:cubicBezTo>
                    <a:cubicBezTo>
                      <a:pt x="28" y="54"/>
                      <a:pt x="30" y="52"/>
                      <a:pt x="33" y="52"/>
                    </a:cubicBezTo>
                    <a:cubicBezTo>
                      <a:pt x="35" y="52"/>
                      <a:pt x="37" y="54"/>
                      <a:pt x="37" y="57"/>
                    </a:cubicBezTo>
                    <a:close/>
                    <a:moveTo>
                      <a:pt x="28" y="8"/>
                    </a:moveTo>
                    <a:cubicBezTo>
                      <a:pt x="28" y="5"/>
                      <a:pt x="30" y="3"/>
                      <a:pt x="33" y="3"/>
                    </a:cubicBezTo>
                    <a:cubicBezTo>
                      <a:pt x="35" y="3"/>
                      <a:pt x="37" y="5"/>
                      <a:pt x="37" y="8"/>
                    </a:cubicBezTo>
                    <a:cubicBezTo>
                      <a:pt x="37" y="11"/>
                      <a:pt x="35" y="13"/>
                      <a:pt x="33" y="13"/>
                    </a:cubicBezTo>
                    <a:cubicBezTo>
                      <a:pt x="30" y="13"/>
                      <a:pt x="28" y="11"/>
                      <a:pt x="28" y="8"/>
                    </a:cubicBezTo>
                    <a:close/>
                    <a:moveTo>
                      <a:pt x="13" y="57"/>
                    </a:moveTo>
                    <a:cubicBezTo>
                      <a:pt x="13" y="59"/>
                      <a:pt x="11" y="61"/>
                      <a:pt x="8" y="61"/>
                    </a:cubicBezTo>
                    <a:cubicBezTo>
                      <a:pt x="6" y="61"/>
                      <a:pt x="4" y="59"/>
                      <a:pt x="4" y="57"/>
                    </a:cubicBezTo>
                    <a:cubicBezTo>
                      <a:pt x="4" y="54"/>
                      <a:pt x="6" y="52"/>
                      <a:pt x="8" y="52"/>
                    </a:cubicBezTo>
                    <a:cubicBezTo>
                      <a:pt x="11" y="52"/>
                      <a:pt x="13" y="54"/>
                      <a:pt x="13" y="57"/>
                    </a:cubicBezTo>
                    <a:close/>
                    <a:moveTo>
                      <a:pt x="60" y="49"/>
                    </a:moveTo>
                    <a:cubicBezTo>
                      <a:pt x="60" y="41"/>
                      <a:pt x="60" y="41"/>
                      <a:pt x="60" y="41"/>
                    </a:cubicBezTo>
                    <a:cubicBezTo>
                      <a:pt x="60" y="36"/>
                      <a:pt x="57" y="29"/>
                      <a:pt x="48" y="29"/>
                    </a:cubicBezTo>
                    <a:cubicBezTo>
                      <a:pt x="41" y="29"/>
                      <a:pt x="41" y="29"/>
                      <a:pt x="41" y="29"/>
                    </a:cubicBezTo>
                    <a:cubicBezTo>
                      <a:pt x="36" y="29"/>
                      <a:pt x="36" y="27"/>
                      <a:pt x="36" y="25"/>
                    </a:cubicBezTo>
                    <a:cubicBezTo>
                      <a:pt x="36" y="16"/>
                      <a:pt x="36" y="16"/>
                      <a:pt x="36" y="16"/>
                    </a:cubicBezTo>
                    <a:cubicBezTo>
                      <a:pt x="39" y="14"/>
                      <a:pt x="41" y="11"/>
                      <a:pt x="41" y="8"/>
                    </a:cubicBezTo>
                    <a:cubicBezTo>
                      <a:pt x="41" y="3"/>
                      <a:pt x="37" y="0"/>
                      <a:pt x="33" y="0"/>
                    </a:cubicBezTo>
                    <a:cubicBezTo>
                      <a:pt x="28" y="0"/>
                      <a:pt x="24" y="3"/>
                      <a:pt x="24" y="8"/>
                    </a:cubicBezTo>
                    <a:cubicBezTo>
                      <a:pt x="24" y="11"/>
                      <a:pt x="26" y="14"/>
                      <a:pt x="29" y="16"/>
                    </a:cubicBezTo>
                    <a:cubicBezTo>
                      <a:pt x="29" y="25"/>
                      <a:pt x="29" y="25"/>
                      <a:pt x="29" y="25"/>
                    </a:cubicBezTo>
                    <a:cubicBezTo>
                      <a:pt x="29" y="26"/>
                      <a:pt x="29" y="29"/>
                      <a:pt x="24" y="29"/>
                    </a:cubicBezTo>
                    <a:cubicBezTo>
                      <a:pt x="17" y="29"/>
                      <a:pt x="17" y="29"/>
                      <a:pt x="17" y="29"/>
                    </a:cubicBezTo>
                    <a:cubicBezTo>
                      <a:pt x="8" y="29"/>
                      <a:pt x="5" y="36"/>
                      <a:pt x="5" y="41"/>
                    </a:cubicBezTo>
                    <a:cubicBezTo>
                      <a:pt x="5" y="49"/>
                      <a:pt x="5" y="49"/>
                      <a:pt x="5" y="49"/>
                    </a:cubicBezTo>
                    <a:cubicBezTo>
                      <a:pt x="2" y="50"/>
                      <a:pt x="0" y="53"/>
                      <a:pt x="0" y="57"/>
                    </a:cubicBezTo>
                    <a:cubicBezTo>
                      <a:pt x="0" y="61"/>
                      <a:pt x="4" y="65"/>
                      <a:pt x="8" y="65"/>
                    </a:cubicBezTo>
                    <a:cubicBezTo>
                      <a:pt x="13" y="65"/>
                      <a:pt x="17" y="61"/>
                      <a:pt x="17" y="57"/>
                    </a:cubicBezTo>
                    <a:cubicBezTo>
                      <a:pt x="17" y="53"/>
                      <a:pt x="15" y="50"/>
                      <a:pt x="12" y="49"/>
                    </a:cubicBezTo>
                    <a:cubicBezTo>
                      <a:pt x="12" y="41"/>
                      <a:pt x="12" y="41"/>
                      <a:pt x="12" y="41"/>
                    </a:cubicBezTo>
                    <a:cubicBezTo>
                      <a:pt x="12" y="40"/>
                      <a:pt x="12" y="36"/>
                      <a:pt x="17" y="36"/>
                    </a:cubicBezTo>
                    <a:cubicBezTo>
                      <a:pt x="24" y="36"/>
                      <a:pt x="24" y="36"/>
                      <a:pt x="24" y="36"/>
                    </a:cubicBezTo>
                    <a:cubicBezTo>
                      <a:pt x="26" y="36"/>
                      <a:pt x="28" y="35"/>
                      <a:pt x="29" y="35"/>
                    </a:cubicBezTo>
                    <a:cubicBezTo>
                      <a:pt x="29" y="49"/>
                      <a:pt x="29" y="49"/>
                      <a:pt x="29" y="49"/>
                    </a:cubicBezTo>
                    <a:cubicBezTo>
                      <a:pt x="26" y="50"/>
                      <a:pt x="24" y="53"/>
                      <a:pt x="24" y="57"/>
                    </a:cubicBezTo>
                    <a:cubicBezTo>
                      <a:pt x="24" y="61"/>
                      <a:pt x="28" y="65"/>
                      <a:pt x="33" y="65"/>
                    </a:cubicBezTo>
                    <a:cubicBezTo>
                      <a:pt x="37" y="65"/>
                      <a:pt x="41" y="61"/>
                      <a:pt x="41" y="57"/>
                    </a:cubicBezTo>
                    <a:cubicBezTo>
                      <a:pt x="41" y="53"/>
                      <a:pt x="39" y="50"/>
                      <a:pt x="36" y="49"/>
                    </a:cubicBezTo>
                    <a:cubicBezTo>
                      <a:pt x="36" y="35"/>
                      <a:pt x="36" y="35"/>
                      <a:pt x="36" y="35"/>
                    </a:cubicBezTo>
                    <a:cubicBezTo>
                      <a:pt x="37" y="35"/>
                      <a:pt x="39" y="36"/>
                      <a:pt x="41" y="36"/>
                    </a:cubicBezTo>
                    <a:cubicBezTo>
                      <a:pt x="48" y="36"/>
                      <a:pt x="48" y="36"/>
                      <a:pt x="48" y="36"/>
                    </a:cubicBezTo>
                    <a:cubicBezTo>
                      <a:pt x="53" y="36"/>
                      <a:pt x="54" y="40"/>
                      <a:pt x="54" y="41"/>
                    </a:cubicBezTo>
                    <a:cubicBezTo>
                      <a:pt x="54" y="49"/>
                      <a:pt x="54" y="49"/>
                      <a:pt x="54" y="49"/>
                    </a:cubicBezTo>
                    <a:cubicBezTo>
                      <a:pt x="51" y="50"/>
                      <a:pt x="49" y="53"/>
                      <a:pt x="49" y="57"/>
                    </a:cubicBezTo>
                    <a:cubicBezTo>
                      <a:pt x="49" y="61"/>
                      <a:pt x="52" y="65"/>
                      <a:pt x="57" y="65"/>
                    </a:cubicBezTo>
                    <a:cubicBezTo>
                      <a:pt x="62" y="65"/>
                      <a:pt x="65" y="61"/>
                      <a:pt x="65" y="57"/>
                    </a:cubicBezTo>
                    <a:cubicBezTo>
                      <a:pt x="65" y="53"/>
                      <a:pt x="63" y="50"/>
                      <a:pt x="60" y="49"/>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1" name="Freeform 376">
                <a:extLst>
                  <a:ext uri="{FF2B5EF4-FFF2-40B4-BE49-F238E27FC236}">
                    <a16:creationId xmlns:a16="http://schemas.microsoft.com/office/drawing/2014/main" id="{4512AE65-C995-5A4E-80C6-A2B856E7EF39}"/>
                  </a:ext>
                </a:extLst>
              </p:cNvPr>
              <p:cNvSpPr>
                <a:spLocks noEditPoints="1"/>
              </p:cNvSpPr>
              <p:nvPr/>
            </p:nvSpPr>
            <p:spPr bwMode="auto">
              <a:xfrm>
                <a:off x="9141521" y="12954102"/>
                <a:ext cx="255075" cy="405092"/>
              </a:xfrm>
              <a:custGeom>
                <a:avLst/>
                <a:gdLst>
                  <a:gd name="T0" fmla="*/ 27 w 55"/>
                  <a:gd name="T1" fmla="*/ 44 h 88"/>
                  <a:gd name="T2" fmla="*/ 12 w 55"/>
                  <a:gd name="T3" fmla="*/ 28 h 88"/>
                  <a:gd name="T4" fmla="*/ 27 w 55"/>
                  <a:gd name="T5" fmla="*/ 12 h 88"/>
                  <a:gd name="T6" fmla="*/ 43 w 55"/>
                  <a:gd name="T7" fmla="*/ 28 h 88"/>
                  <a:gd name="T8" fmla="*/ 27 w 55"/>
                  <a:gd name="T9" fmla="*/ 44 h 88"/>
                  <a:gd name="T10" fmla="*/ 27 w 55"/>
                  <a:gd name="T11" fmla="*/ 0 h 88"/>
                  <a:gd name="T12" fmla="*/ 0 w 55"/>
                  <a:gd name="T13" fmla="*/ 28 h 88"/>
                  <a:gd name="T14" fmla="*/ 27 w 55"/>
                  <a:gd name="T15" fmla="*/ 88 h 88"/>
                  <a:gd name="T16" fmla="*/ 55 w 55"/>
                  <a:gd name="T17" fmla="*/ 28 h 88"/>
                  <a:gd name="T18" fmla="*/ 27 w 55"/>
                  <a:gd name="T19"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88">
                    <a:moveTo>
                      <a:pt x="27" y="44"/>
                    </a:moveTo>
                    <a:cubicBezTo>
                      <a:pt x="19" y="44"/>
                      <a:pt x="12" y="37"/>
                      <a:pt x="12" y="28"/>
                    </a:cubicBezTo>
                    <a:cubicBezTo>
                      <a:pt x="12" y="19"/>
                      <a:pt x="19" y="12"/>
                      <a:pt x="27" y="12"/>
                    </a:cubicBezTo>
                    <a:cubicBezTo>
                      <a:pt x="36" y="12"/>
                      <a:pt x="43" y="19"/>
                      <a:pt x="43" y="28"/>
                    </a:cubicBezTo>
                    <a:cubicBezTo>
                      <a:pt x="43" y="37"/>
                      <a:pt x="36" y="44"/>
                      <a:pt x="27" y="44"/>
                    </a:cubicBezTo>
                    <a:close/>
                    <a:moveTo>
                      <a:pt x="27" y="0"/>
                    </a:moveTo>
                    <a:cubicBezTo>
                      <a:pt x="12" y="0"/>
                      <a:pt x="0" y="13"/>
                      <a:pt x="0" y="28"/>
                    </a:cubicBezTo>
                    <a:cubicBezTo>
                      <a:pt x="0" y="54"/>
                      <a:pt x="27" y="88"/>
                      <a:pt x="27" y="88"/>
                    </a:cubicBezTo>
                    <a:cubicBezTo>
                      <a:pt x="27" y="88"/>
                      <a:pt x="55" y="54"/>
                      <a:pt x="55" y="28"/>
                    </a:cubicBezTo>
                    <a:cubicBezTo>
                      <a:pt x="55" y="13"/>
                      <a:pt x="43" y="0"/>
                      <a:pt x="27" y="0"/>
                    </a:cubicBezTo>
                    <a:close/>
                  </a:path>
                </a:pathLst>
              </a:custGeom>
              <a:solidFill>
                <a:srgbClr val="50E6FF"/>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sp>
        <p:nvSpPr>
          <p:cNvPr id="8" name="Rectangle 7">
            <a:extLst>
              <a:ext uri="{FF2B5EF4-FFF2-40B4-BE49-F238E27FC236}">
                <a16:creationId xmlns:a16="http://schemas.microsoft.com/office/drawing/2014/main" id="{548E81ED-063D-4F4E-8693-564E0F75AA42}"/>
              </a:ext>
            </a:extLst>
          </p:cNvPr>
          <p:cNvSpPr/>
          <p:nvPr/>
        </p:nvSpPr>
        <p:spPr bwMode="auto">
          <a:xfrm>
            <a:off x="7232073" y="5070764"/>
            <a:ext cx="3962400" cy="178723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35" name="Freeform: Shape 23">
            <a:extLst>
              <a:ext uri="{FF2B5EF4-FFF2-40B4-BE49-F238E27FC236}">
                <a16:creationId xmlns:a16="http://schemas.microsoft.com/office/drawing/2014/main" id="{CBEBA90E-6F13-2E46-BE73-E96B2F83EFBC}"/>
              </a:ext>
            </a:extLst>
          </p:cNvPr>
          <p:cNvSpPr/>
          <p:nvPr/>
        </p:nvSpPr>
        <p:spPr>
          <a:xfrm>
            <a:off x="8027602" y="3679221"/>
            <a:ext cx="2531297" cy="2909539"/>
          </a:xfrm>
          <a:custGeom>
            <a:avLst/>
            <a:gdLst>
              <a:gd name="connsiteX0" fmla="*/ 4007 w 464865"/>
              <a:gd name="connsiteY0" fmla="*/ 4007 h 534327"/>
              <a:gd name="connsiteX1" fmla="*/ 4007 w 464865"/>
              <a:gd name="connsiteY1" fmla="*/ 442156 h 534327"/>
              <a:gd name="connsiteX2" fmla="*/ 233768 w 464865"/>
              <a:gd name="connsiteY2" fmla="*/ 534809 h 534327"/>
              <a:gd name="connsiteX3" fmla="*/ 463529 w 464865"/>
              <a:gd name="connsiteY3" fmla="*/ 442156 h 534327"/>
              <a:gd name="connsiteX4" fmla="*/ 463529 w 464865"/>
              <a:gd name="connsiteY4" fmla="*/ 4007 h 534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865" h="534327">
                <a:moveTo>
                  <a:pt x="4007" y="4007"/>
                </a:moveTo>
                <a:lnTo>
                  <a:pt x="4007" y="442156"/>
                </a:lnTo>
                <a:cubicBezTo>
                  <a:pt x="4007" y="493345"/>
                  <a:pt x="106759" y="534809"/>
                  <a:pt x="233768" y="534809"/>
                </a:cubicBezTo>
                <a:cubicBezTo>
                  <a:pt x="360778" y="534809"/>
                  <a:pt x="463529" y="493345"/>
                  <a:pt x="463529" y="442156"/>
                </a:cubicBezTo>
                <a:lnTo>
                  <a:pt x="463529" y="4007"/>
                </a:lnTo>
                <a:close/>
              </a:path>
            </a:pathLst>
          </a:custGeom>
          <a:solidFill>
            <a:srgbClr val="0078D4"/>
          </a:solidFill>
          <a:ln w="9525" cap="flat">
            <a:noFill/>
            <a:prstDash val="solid"/>
            <a:miter/>
          </a:ln>
        </p:spPr>
        <p:txBody>
          <a:bodyPr rtlCol="0" anchor="ctr"/>
          <a:lstStyle/>
          <a:p>
            <a:endParaRPr lang="en-US" dirty="0"/>
          </a:p>
        </p:txBody>
      </p:sp>
      <p:grpSp>
        <p:nvGrpSpPr>
          <p:cNvPr id="347" name="Group 346">
            <a:extLst>
              <a:ext uri="{FF2B5EF4-FFF2-40B4-BE49-F238E27FC236}">
                <a16:creationId xmlns:a16="http://schemas.microsoft.com/office/drawing/2014/main" id="{1373998B-4B9A-D847-8CBB-CD746343DB88}"/>
              </a:ext>
            </a:extLst>
          </p:cNvPr>
          <p:cNvGrpSpPr/>
          <p:nvPr/>
        </p:nvGrpSpPr>
        <p:grpSpPr>
          <a:xfrm rot="10800000">
            <a:off x="8050423" y="3679979"/>
            <a:ext cx="2499878" cy="515447"/>
            <a:chOff x="3317221" y="9130576"/>
            <a:chExt cx="2499878" cy="515447"/>
          </a:xfrm>
        </p:grpSpPr>
        <p:sp>
          <p:nvSpPr>
            <p:cNvPr id="348" name="Freeform 347">
              <a:extLst>
                <a:ext uri="{FF2B5EF4-FFF2-40B4-BE49-F238E27FC236}">
                  <a16:creationId xmlns:a16="http://schemas.microsoft.com/office/drawing/2014/main" id="{A89CB2C8-C03D-5243-A886-903990A611C6}"/>
                </a:ext>
              </a:extLst>
            </p:cNvPr>
            <p:cNvSpPr/>
            <p:nvPr/>
          </p:nvSpPr>
          <p:spPr bwMode="auto">
            <a:xfrm>
              <a:off x="3317221" y="9130576"/>
              <a:ext cx="2499878" cy="515447"/>
            </a:xfrm>
            <a:custGeom>
              <a:avLst/>
              <a:gdLst>
                <a:gd name="connsiteX0" fmla="*/ 1249942 w 2499878"/>
                <a:gd name="connsiteY0" fmla="*/ 0 h 515447"/>
                <a:gd name="connsiteX1" fmla="*/ 2499878 w 2499878"/>
                <a:gd name="connsiteY1" fmla="*/ 504519 h 515447"/>
                <a:gd name="connsiteX2" fmla="*/ 2497149 w 2499878"/>
                <a:gd name="connsiteY2" fmla="*/ 515447 h 515447"/>
                <a:gd name="connsiteX3" fmla="*/ 2730 w 2499878"/>
                <a:gd name="connsiteY3" fmla="*/ 515447 h 515447"/>
                <a:gd name="connsiteX4" fmla="*/ 0 w 2499878"/>
                <a:gd name="connsiteY4" fmla="*/ 504519 h 515447"/>
                <a:gd name="connsiteX5" fmla="*/ 1249942 w 2499878"/>
                <a:gd name="connsiteY5" fmla="*/ 0 h 515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9878" h="515447">
                  <a:moveTo>
                    <a:pt x="1249942" y="0"/>
                  </a:moveTo>
                  <a:cubicBezTo>
                    <a:pt x="1940261" y="0"/>
                    <a:pt x="2499878" y="225880"/>
                    <a:pt x="2499878" y="504519"/>
                  </a:cubicBezTo>
                  <a:lnTo>
                    <a:pt x="2497149" y="515447"/>
                  </a:lnTo>
                  <a:lnTo>
                    <a:pt x="2730" y="515447"/>
                  </a:lnTo>
                  <a:lnTo>
                    <a:pt x="0" y="504519"/>
                  </a:lnTo>
                  <a:cubicBezTo>
                    <a:pt x="0" y="225880"/>
                    <a:pt x="559617" y="0"/>
                    <a:pt x="1249942" y="0"/>
                  </a:cubicBezTo>
                  <a:close/>
                </a:path>
              </a:pathLst>
            </a:custGeom>
            <a:solidFill>
              <a:srgbClr val="50E6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49" name="Freeform 348">
              <a:extLst>
                <a:ext uri="{FF2B5EF4-FFF2-40B4-BE49-F238E27FC236}">
                  <a16:creationId xmlns:a16="http://schemas.microsoft.com/office/drawing/2014/main" id="{8AA52FFB-A7B6-0840-9945-1187295A810F}"/>
                </a:ext>
              </a:extLst>
            </p:cNvPr>
            <p:cNvSpPr/>
            <p:nvPr/>
          </p:nvSpPr>
          <p:spPr bwMode="auto">
            <a:xfrm>
              <a:off x="3651203" y="9347255"/>
              <a:ext cx="1828635" cy="298768"/>
            </a:xfrm>
            <a:custGeom>
              <a:avLst/>
              <a:gdLst>
                <a:gd name="connsiteX0" fmla="*/ 914319 w 1828635"/>
                <a:gd name="connsiteY0" fmla="*/ 0 h 298768"/>
                <a:gd name="connsiteX1" fmla="*/ 1828635 w 1828635"/>
                <a:gd name="connsiteY1" fmla="*/ 286708 h 298768"/>
                <a:gd name="connsiteX2" fmla="*/ 1824758 w 1828635"/>
                <a:gd name="connsiteY2" fmla="*/ 298768 h 298768"/>
                <a:gd name="connsiteX3" fmla="*/ 3877 w 1828635"/>
                <a:gd name="connsiteY3" fmla="*/ 298768 h 298768"/>
                <a:gd name="connsiteX4" fmla="*/ 0 w 1828635"/>
                <a:gd name="connsiteY4" fmla="*/ 286708 h 298768"/>
                <a:gd name="connsiteX5" fmla="*/ 914319 w 1828635"/>
                <a:gd name="connsiteY5" fmla="*/ 0 h 298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635" h="298768">
                  <a:moveTo>
                    <a:pt x="914319" y="0"/>
                  </a:moveTo>
                  <a:cubicBezTo>
                    <a:pt x="1419281" y="0"/>
                    <a:pt x="1828635" y="128363"/>
                    <a:pt x="1828635" y="286708"/>
                  </a:cubicBezTo>
                  <a:lnTo>
                    <a:pt x="1824758" y="298768"/>
                  </a:lnTo>
                  <a:lnTo>
                    <a:pt x="3877" y="298768"/>
                  </a:lnTo>
                  <a:lnTo>
                    <a:pt x="0" y="286708"/>
                  </a:lnTo>
                  <a:cubicBezTo>
                    <a:pt x="0" y="128363"/>
                    <a:pt x="409354" y="0"/>
                    <a:pt x="914319" y="0"/>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grpSp>
    </p:spTree>
    <p:extLst>
      <p:ext uri="{BB962C8B-B14F-4D97-AF65-F5344CB8AC3E}">
        <p14:creationId xmlns:p14="http://schemas.microsoft.com/office/powerpoint/2010/main" val="34544808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10000" fill="hold"/>
                                        <p:tgtEl>
                                          <p:spTgt spid="9"/>
                                        </p:tgtEl>
                                        <p:attrNameLst>
                                          <p:attrName>ppt_x</p:attrName>
                                        </p:attrNameLst>
                                      </p:cBhvr>
                                      <p:tavLst>
                                        <p:tav tm="0">
                                          <p:val>
                                            <p:strVal val="#ppt_x"/>
                                          </p:val>
                                        </p:tav>
                                        <p:tav tm="100000">
                                          <p:val>
                                            <p:strVal val="#ppt_x"/>
                                          </p:val>
                                        </p:tav>
                                      </p:tavLst>
                                    </p:anim>
                                    <p:anim calcmode="lin" valueType="num">
                                      <p:cBhvr additive="base">
                                        <p:cTn id="8" dur="10000" fill="hold"/>
                                        <p:tgtEl>
                                          <p:spTgt spid="9"/>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EB1587-9469-4418-8271-9C10B5FA0FFB}"/>
              </a:ext>
            </a:extLst>
          </p:cNvPr>
          <p:cNvSpPr>
            <a:spLocks noGrp="1"/>
          </p:cNvSpPr>
          <p:nvPr>
            <p:ph type="title"/>
          </p:nvPr>
        </p:nvSpPr>
        <p:spPr>
          <a:xfrm>
            <a:off x="385010" y="386846"/>
            <a:ext cx="11018520" cy="553998"/>
          </a:xfrm>
        </p:spPr>
        <p:txBody>
          <a:bodyPr/>
          <a:lstStyle/>
          <a:p>
            <a:r>
              <a:rPr lang="en-US" dirty="0"/>
              <a:t>Learn more </a:t>
            </a:r>
          </a:p>
        </p:txBody>
      </p:sp>
      <p:pic>
        <p:nvPicPr>
          <p:cNvPr id="8" name="Picture 7" descr="A picture containing text&#10;&#10;Description automatically generated">
            <a:extLst>
              <a:ext uri="{FF2B5EF4-FFF2-40B4-BE49-F238E27FC236}">
                <a16:creationId xmlns:a16="http://schemas.microsoft.com/office/drawing/2014/main" id="{B882A5E8-58C3-46F4-ACAE-7A9B03E459B6}"/>
              </a:ext>
            </a:extLst>
          </p:cNvPr>
          <p:cNvPicPr>
            <a:picLocks noChangeAspect="1"/>
          </p:cNvPicPr>
          <p:nvPr/>
        </p:nvPicPr>
        <p:blipFill>
          <a:blip r:embed="rId3"/>
          <a:stretch>
            <a:fillRect/>
          </a:stretch>
        </p:blipFill>
        <p:spPr>
          <a:xfrm>
            <a:off x="9638851" y="3242742"/>
            <a:ext cx="2355635" cy="3361991"/>
          </a:xfrm>
          <a:prstGeom prst="rect">
            <a:avLst/>
          </a:prstGeom>
        </p:spPr>
      </p:pic>
      <p:sp>
        <p:nvSpPr>
          <p:cNvPr id="10" name="TextBox 9">
            <a:extLst>
              <a:ext uri="{FF2B5EF4-FFF2-40B4-BE49-F238E27FC236}">
                <a16:creationId xmlns:a16="http://schemas.microsoft.com/office/drawing/2014/main" id="{3F0FF318-DC7F-48E5-A671-424D48FC4818}"/>
              </a:ext>
            </a:extLst>
          </p:cNvPr>
          <p:cNvSpPr txBox="1"/>
          <p:nvPr/>
        </p:nvSpPr>
        <p:spPr>
          <a:xfrm>
            <a:off x="8608194" y="253267"/>
            <a:ext cx="3138680" cy="923330"/>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hlinkClick r:id="rId4"/>
              </a:rPr>
              <a:t>http://aka.ms/bobwardms</a:t>
            </a:r>
            <a:endParaRPr lang="en-US" sz="2000" dirty="0">
              <a:gradFill>
                <a:gsLst>
                  <a:gs pos="2917">
                    <a:schemeClr val="tx1"/>
                  </a:gs>
                  <a:gs pos="30000">
                    <a:schemeClr val="tx1"/>
                  </a:gs>
                </a:gsLst>
                <a:lin ang="5400000" scaled="0"/>
              </a:gradFill>
            </a:endParaRPr>
          </a:p>
          <a:p>
            <a:pPr algn="l"/>
            <a:r>
              <a:rPr lang="en-US" sz="2000" dirty="0">
                <a:gradFill>
                  <a:gsLst>
                    <a:gs pos="2917">
                      <a:schemeClr val="tx1"/>
                    </a:gs>
                    <a:gs pos="30000">
                      <a:schemeClr val="tx1"/>
                    </a:gs>
                  </a:gsLst>
                  <a:lin ang="5400000" scaled="0"/>
                </a:gradFill>
                <a:hlinkClick r:id="rId5"/>
              </a:rPr>
              <a:t>http://aka.ms/bobsqldemos</a:t>
            </a:r>
            <a:endParaRPr lang="en-US" sz="2000" dirty="0">
              <a:gradFill>
                <a:gsLst>
                  <a:gs pos="2917">
                    <a:schemeClr val="tx1"/>
                  </a:gs>
                  <a:gs pos="30000">
                    <a:schemeClr val="tx1"/>
                  </a:gs>
                </a:gsLst>
                <a:lin ang="5400000" scaled="0"/>
              </a:gradFill>
            </a:endParaRPr>
          </a:p>
          <a:p>
            <a:pPr algn="l"/>
            <a:r>
              <a:rPr lang="en-US" sz="2000" dirty="0">
                <a:gradFill>
                  <a:gsLst>
                    <a:gs pos="2917">
                      <a:schemeClr val="tx1"/>
                    </a:gs>
                    <a:gs pos="30000">
                      <a:schemeClr val="tx1"/>
                    </a:gs>
                  </a:gsLst>
                  <a:lin ang="5400000" scaled="0"/>
                </a:gradFill>
                <a:hlinkClick r:id="rId6"/>
              </a:rPr>
              <a:t>http://aka.ms/sqllinuxbook</a:t>
            </a:r>
            <a:endParaRPr lang="en-US" sz="2000" dirty="0">
              <a:gradFill>
                <a:gsLst>
                  <a:gs pos="2917">
                    <a:schemeClr val="tx1"/>
                  </a:gs>
                  <a:gs pos="30000">
                    <a:schemeClr val="tx1"/>
                  </a:gs>
                </a:gsLst>
                <a:lin ang="5400000" scaled="0"/>
              </a:gradFill>
            </a:endParaRPr>
          </a:p>
        </p:txBody>
      </p:sp>
      <p:sp>
        <p:nvSpPr>
          <p:cNvPr id="11" name="Text Placeholder 2">
            <a:extLst>
              <a:ext uri="{FF2B5EF4-FFF2-40B4-BE49-F238E27FC236}">
                <a16:creationId xmlns:a16="http://schemas.microsoft.com/office/drawing/2014/main" id="{957A48FD-0AA2-4348-8B19-70D665187B38}"/>
              </a:ext>
            </a:extLst>
          </p:cNvPr>
          <p:cNvSpPr>
            <a:spLocks noGrp="1"/>
          </p:cNvSpPr>
          <p:nvPr>
            <p:ph type="body" sz="quarter" idx="10"/>
          </p:nvPr>
        </p:nvSpPr>
        <p:spPr>
          <a:xfrm>
            <a:off x="197514" y="1045454"/>
            <a:ext cx="9604891" cy="2051844"/>
          </a:xfrm>
        </p:spPr>
        <p:txBody>
          <a:bodyPr/>
          <a:lstStyle/>
          <a:p>
            <a:r>
              <a:rPr lang="en-US" dirty="0"/>
              <a:t>Get the workshop at </a:t>
            </a:r>
            <a:r>
              <a:rPr lang="en-US" dirty="0">
                <a:hlinkClick r:id="rId7"/>
              </a:rPr>
              <a:t>https://aka.ms/sqlworkshops</a:t>
            </a:r>
            <a:endParaRPr lang="en-US" dirty="0"/>
          </a:p>
          <a:p>
            <a:r>
              <a:rPr lang="en-US" dirty="0"/>
              <a:t>Free SQL Linux and Container training at </a:t>
            </a:r>
            <a:r>
              <a:rPr lang="en-US" dirty="0">
                <a:hlinkClick r:id="rId8"/>
              </a:rPr>
              <a:t>http://aka.ms/sqllinuxlabs</a:t>
            </a:r>
            <a:endParaRPr lang="en-US" dirty="0"/>
          </a:p>
          <a:p>
            <a:r>
              <a:rPr lang="en-US" dirty="0"/>
              <a:t>Download and try it at </a:t>
            </a:r>
            <a:r>
              <a:rPr lang="en-US" dirty="0">
                <a:hlinkClick r:id="rId9"/>
              </a:rPr>
              <a:t>http://aka.ms/ss19</a:t>
            </a:r>
            <a:endParaRPr lang="en-US" dirty="0"/>
          </a:p>
          <a:p>
            <a:r>
              <a:rPr lang="en-US" dirty="0"/>
              <a:t>What’s new for SQL 2019 </a:t>
            </a:r>
            <a:r>
              <a:rPr lang="en-US" dirty="0">
                <a:hlinkClick r:id="rId10"/>
              </a:rPr>
              <a:t>documentation</a:t>
            </a:r>
            <a:endParaRPr lang="en-US" dirty="0"/>
          </a:p>
          <a:p>
            <a:r>
              <a:rPr lang="en-US" dirty="0"/>
              <a:t>Sign-up for the EAP program at </a:t>
            </a:r>
            <a:r>
              <a:rPr lang="en-US" dirty="0">
                <a:hlinkClick r:id="rId11"/>
              </a:rPr>
              <a:t>https://aka.ms/eapsignup</a:t>
            </a:r>
            <a:endParaRPr lang="en-US" dirty="0"/>
          </a:p>
        </p:txBody>
      </p:sp>
      <p:sp>
        <p:nvSpPr>
          <p:cNvPr id="6" name="TextBox 5">
            <a:extLst>
              <a:ext uri="{FF2B5EF4-FFF2-40B4-BE49-F238E27FC236}">
                <a16:creationId xmlns:a16="http://schemas.microsoft.com/office/drawing/2014/main" id="{2C034511-7D8A-42B3-BD88-891A463E54EA}"/>
              </a:ext>
            </a:extLst>
          </p:cNvPr>
          <p:cNvSpPr txBox="1"/>
          <p:nvPr/>
        </p:nvSpPr>
        <p:spPr>
          <a:xfrm>
            <a:off x="385010" y="3437652"/>
            <a:ext cx="6342506" cy="492443"/>
          </a:xfrm>
          <a:prstGeom prst="rect">
            <a:avLst/>
          </a:prstGeom>
          <a:noFill/>
        </p:spPr>
        <p:txBody>
          <a:bodyPr wrap="none" lIns="0" tIns="0" rIns="0" bIns="0" rtlCol="0">
            <a:spAutoFit/>
          </a:bodyPr>
          <a:lstStyle/>
          <a:p>
            <a:pPr algn="l"/>
            <a:r>
              <a:rPr lang="en-US" sz="3200" dirty="0">
                <a:gradFill>
                  <a:gsLst>
                    <a:gs pos="2917">
                      <a:schemeClr val="tx1"/>
                    </a:gs>
                    <a:gs pos="30000">
                      <a:schemeClr val="tx1"/>
                    </a:gs>
                  </a:gsLst>
                  <a:lin ang="5400000" scaled="0"/>
                </a:gradFill>
              </a:rPr>
              <a:t>SQLBits Guide – Microsoft Sessions</a:t>
            </a:r>
          </a:p>
        </p:txBody>
      </p:sp>
      <p:sp>
        <p:nvSpPr>
          <p:cNvPr id="12" name="Text Placeholder 2">
            <a:extLst>
              <a:ext uri="{FF2B5EF4-FFF2-40B4-BE49-F238E27FC236}">
                <a16:creationId xmlns:a16="http://schemas.microsoft.com/office/drawing/2014/main" id="{9C415EE5-18A9-4C31-A1DB-D80DE0D4EEA7}"/>
              </a:ext>
            </a:extLst>
          </p:cNvPr>
          <p:cNvSpPr txBox="1">
            <a:spLocks/>
          </p:cNvSpPr>
          <p:nvPr/>
        </p:nvSpPr>
        <p:spPr>
          <a:xfrm>
            <a:off x="197513" y="4030546"/>
            <a:ext cx="9604891" cy="2708434"/>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ts val="1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dirty="0"/>
              <a:t>Microsoft SQL Server Big Data Clusters Architecture – Buck Woody, Thursday</a:t>
            </a:r>
          </a:p>
          <a:p>
            <a:r>
              <a:rPr lang="en-US" sz="1800" dirty="0"/>
              <a:t>Inside SQL Server Containers – Bob Ward, Friday</a:t>
            </a:r>
          </a:p>
          <a:p>
            <a:r>
              <a:rPr lang="en-US" sz="1800" dirty="0"/>
              <a:t>SQL Server ML End-to-End – Anna Thomas, Friday</a:t>
            </a:r>
          </a:p>
          <a:p>
            <a:r>
              <a:rPr lang="en-US" sz="1800" dirty="0"/>
              <a:t>Introducing Azure Data Studio – Vicky Harp, Friday</a:t>
            </a:r>
          </a:p>
          <a:p>
            <a:r>
              <a:rPr lang="en-US" sz="1800" dirty="0"/>
              <a:t>What's New - Query Performance Insights – Pedro Lopes, Friday</a:t>
            </a:r>
          </a:p>
          <a:p>
            <a:r>
              <a:rPr lang="en-US" sz="1800" dirty="0"/>
              <a:t>SQL 2019 Big Data Architecture Overview – Buck Woody, Saturday</a:t>
            </a:r>
          </a:p>
          <a:p>
            <a:r>
              <a:rPr lang="en-US" sz="1800" dirty="0"/>
              <a:t>Modernizing your SQL Server the right way – Pedro Lopes, Saturday</a:t>
            </a:r>
          </a:p>
        </p:txBody>
      </p:sp>
    </p:spTree>
    <p:extLst>
      <p:ext uri="{BB962C8B-B14F-4D97-AF65-F5344CB8AC3E}">
        <p14:creationId xmlns:p14="http://schemas.microsoft.com/office/powerpoint/2010/main" val="2765760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863" y="488"/>
            <a:ext cx="4675798" cy="899537"/>
          </a:xfrm>
          <a:prstGeom prst="rect">
            <a:avLst/>
          </a:prstGeom>
        </p:spPr>
        <p:txBody>
          <a:bodyPr lIns="365708" tIns="365708">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spcBef>
                <a:spcPts val="1200"/>
              </a:spcBef>
              <a:defRPr/>
            </a:pPr>
            <a:r>
              <a:rPr lang="en-US" sz="2800" cap="all" spc="800" dirty="0">
                <a:solidFill>
                  <a:srgbClr val="0078D7"/>
                </a:solidFill>
                <a:latin typeface="Segoe UI Semilight" charset="0"/>
                <a:ea typeface="Segoe UI Semilight" charset="0"/>
                <a:cs typeface="Segoe UI Semilight" charset="0"/>
              </a:rPr>
              <a:t>SQL SERVER 2019 </a:t>
            </a:r>
          </a:p>
        </p:txBody>
      </p:sp>
      <p:sp>
        <p:nvSpPr>
          <p:cNvPr id="155" name="Title 1">
            <a:extLst>
              <a:ext uri="{FF2B5EF4-FFF2-40B4-BE49-F238E27FC236}">
                <a16:creationId xmlns:a16="http://schemas.microsoft.com/office/drawing/2014/main" id="{1A979F03-27B5-439D-9049-850E8A1E6D08}"/>
              </a:ext>
            </a:extLst>
          </p:cNvPr>
          <p:cNvSpPr txBox="1">
            <a:spLocks/>
          </p:cNvSpPr>
          <p:nvPr/>
        </p:nvSpPr>
        <p:spPr>
          <a:xfrm>
            <a:off x="20832" y="468553"/>
            <a:ext cx="3811866" cy="899537"/>
          </a:xfrm>
          <a:prstGeom prst="rect">
            <a:avLst/>
          </a:prstGeom>
        </p:spPr>
        <p:txBody>
          <a:bodyPr lIns="365708" tIns="365708">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spcBef>
                <a:spcPts val="1200"/>
              </a:spcBef>
              <a:defRPr/>
            </a:pPr>
            <a:r>
              <a:rPr lang="en-US" sz="1600" spc="0" dirty="0">
                <a:solidFill>
                  <a:srgbClr val="0078D7"/>
                </a:solidFill>
                <a:latin typeface="Segoe UI Semilight" charset="0"/>
                <a:ea typeface="Segoe UI Semilight" charset="0"/>
                <a:cs typeface="Segoe UI Semilight" charset="0"/>
              </a:rPr>
              <a:t>Key New Functionality</a:t>
            </a:r>
          </a:p>
        </p:txBody>
      </p:sp>
      <p:grpSp>
        <p:nvGrpSpPr>
          <p:cNvPr id="3" name="Group 2">
            <a:extLst>
              <a:ext uri="{FF2B5EF4-FFF2-40B4-BE49-F238E27FC236}">
                <a16:creationId xmlns:a16="http://schemas.microsoft.com/office/drawing/2014/main" id="{FAC1151D-0DCE-4714-8951-2A494A078F5E}"/>
              </a:ext>
            </a:extLst>
          </p:cNvPr>
          <p:cNvGrpSpPr/>
          <p:nvPr/>
        </p:nvGrpSpPr>
        <p:grpSpPr>
          <a:xfrm>
            <a:off x="4532988" y="855263"/>
            <a:ext cx="2588016" cy="2714265"/>
            <a:chOff x="7720721" y="2327445"/>
            <a:chExt cx="2639911" cy="2768692"/>
          </a:xfrm>
        </p:grpSpPr>
        <p:sp>
          <p:nvSpPr>
            <p:cNvPr id="16" name="TextBox 15">
              <a:extLst>
                <a:ext uri="{FF2B5EF4-FFF2-40B4-BE49-F238E27FC236}">
                  <a16:creationId xmlns:a16="http://schemas.microsoft.com/office/drawing/2014/main" id="{BBF52E43-AE25-4477-BCE9-E7FAD6503773}"/>
                </a:ext>
              </a:extLst>
            </p:cNvPr>
            <p:cNvSpPr txBox="1"/>
            <p:nvPr/>
          </p:nvSpPr>
          <p:spPr>
            <a:xfrm>
              <a:off x="8693924" y="2742541"/>
              <a:ext cx="658515" cy="237782"/>
            </a:xfrm>
            <a:prstGeom prst="rect">
              <a:avLst/>
            </a:prstGeom>
            <a:noFill/>
            <a:ln w="38100">
              <a:noFill/>
              <a:miter lim="800000"/>
            </a:ln>
          </p:spPr>
          <p:txBody>
            <a:bodyPr wrap="square" lIns="75428" tIns="37714" rIns="75428" bIns="37714" rtlCol="0">
              <a:sp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algn="ctr" defTabSz="753730">
                <a:lnSpc>
                  <a:spcPct val="100000"/>
                </a:lnSpc>
                <a:defRPr/>
              </a:pPr>
              <a:r>
                <a:rPr lang="en-US" sz="1000" b="1" kern="0" spc="0" dirty="0">
                  <a:ln>
                    <a:solidFill>
                      <a:srgbClr val="FFFFFF">
                        <a:alpha val="0"/>
                      </a:srgbClr>
                    </a:solidFill>
                  </a:ln>
                  <a:solidFill>
                    <a:srgbClr val="000000"/>
                  </a:solidFill>
                  <a:latin typeface="Segoe UI Semibold" charset="0"/>
                  <a:cs typeface="Segoe UI Semibold" charset="0"/>
                </a:rPr>
                <a:t>Query</a:t>
              </a:r>
            </a:p>
          </p:txBody>
        </p:sp>
        <p:sp>
          <p:nvSpPr>
            <p:cNvPr id="17" name="TextBox 16">
              <a:extLst>
                <a:ext uri="{FF2B5EF4-FFF2-40B4-BE49-F238E27FC236}">
                  <a16:creationId xmlns:a16="http://schemas.microsoft.com/office/drawing/2014/main" id="{D50D4F34-827D-436D-8415-BD75979D31E9}"/>
                </a:ext>
              </a:extLst>
            </p:cNvPr>
            <p:cNvSpPr txBox="1"/>
            <p:nvPr/>
          </p:nvSpPr>
          <p:spPr>
            <a:xfrm>
              <a:off x="9669663" y="3727823"/>
              <a:ext cx="690969" cy="397873"/>
            </a:xfrm>
            <a:prstGeom prst="rect">
              <a:avLst/>
            </a:prstGeom>
            <a:noFill/>
            <a:ln w="38100">
              <a:noFill/>
              <a:miter lim="800000"/>
            </a:ln>
          </p:spPr>
          <p:txBody>
            <a:bodyPr wrap="square" lIns="75428" tIns="37714" rIns="75428" bIns="37714" rtlCol="0">
              <a:sp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algn="ctr" defTabSz="753730">
                <a:lnSpc>
                  <a:spcPct val="100000"/>
                </a:lnSpc>
                <a:defRPr/>
              </a:pPr>
              <a:r>
                <a:rPr lang="en-US" sz="1000" b="1" kern="0" spc="0" dirty="0">
                  <a:ln>
                    <a:solidFill>
                      <a:srgbClr val="FFFFFF">
                        <a:alpha val="0"/>
                      </a:srgbClr>
                    </a:solidFill>
                  </a:ln>
                  <a:solidFill>
                    <a:srgbClr val="000000"/>
                  </a:solidFill>
                  <a:latin typeface="Segoe UI Semibold" charset="0"/>
                  <a:cs typeface="Segoe UI Semibold" charset="0"/>
                </a:rPr>
                <a:t>Memory grant</a:t>
              </a:r>
            </a:p>
          </p:txBody>
        </p:sp>
        <p:sp>
          <p:nvSpPr>
            <p:cNvPr id="18" name="Arc 17">
              <a:extLst>
                <a:ext uri="{FF2B5EF4-FFF2-40B4-BE49-F238E27FC236}">
                  <a16:creationId xmlns:a16="http://schemas.microsoft.com/office/drawing/2014/main" id="{BD4D2719-BEA6-40DE-9620-DD837343B4CC}"/>
                </a:ext>
              </a:extLst>
            </p:cNvPr>
            <p:cNvSpPr/>
            <p:nvPr/>
          </p:nvSpPr>
          <p:spPr>
            <a:xfrm>
              <a:off x="8620100" y="2526673"/>
              <a:ext cx="1391377" cy="1391378"/>
            </a:xfrm>
            <a:prstGeom prst="arc">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754235">
                <a:defRPr/>
              </a:pPr>
              <a:endParaRPr lang="en-US" sz="1485" dirty="0">
                <a:solidFill>
                  <a:srgbClr val="505050"/>
                </a:solidFill>
                <a:latin typeface="Segoe UI"/>
              </a:endParaRPr>
            </a:p>
          </p:txBody>
        </p:sp>
        <p:sp>
          <p:nvSpPr>
            <p:cNvPr id="19" name="Arc 18">
              <a:extLst>
                <a:ext uri="{FF2B5EF4-FFF2-40B4-BE49-F238E27FC236}">
                  <a16:creationId xmlns:a16="http://schemas.microsoft.com/office/drawing/2014/main" id="{736492EC-EE24-4292-B22B-5237A056DA8E}"/>
                </a:ext>
              </a:extLst>
            </p:cNvPr>
            <p:cNvSpPr/>
            <p:nvPr/>
          </p:nvSpPr>
          <p:spPr>
            <a:xfrm rot="5400000">
              <a:off x="8611894" y="3240141"/>
              <a:ext cx="1391378" cy="1391377"/>
            </a:xfrm>
            <a:prstGeom prst="arc">
              <a:avLst>
                <a:gd name="adj1" fmla="val 17160506"/>
                <a:gd name="adj2" fmla="val 0"/>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754235">
                <a:defRPr/>
              </a:pPr>
              <a:endParaRPr lang="en-US" sz="1485" dirty="0">
                <a:solidFill>
                  <a:srgbClr val="505050"/>
                </a:solidFill>
                <a:latin typeface="Segoe UI"/>
              </a:endParaRPr>
            </a:p>
          </p:txBody>
        </p:sp>
        <p:sp>
          <p:nvSpPr>
            <p:cNvPr id="20" name="Arc 19">
              <a:extLst>
                <a:ext uri="{FF2B5EF4-FFF2-40B4-BE49-F238E27FC236}">
                  <a16:creationId xmlns:a16="http://schemas.microsoft.com/office/drawing/2014/main" id="{F761C144-D349-4D9A-9C00-4CD32064CB85}"/>
                </a:ext>
              </a:extLst>
            </p:cNvPr>
            <p:cNvSpPr/>
            <p:nvPr/>
          </p:nvSpPr>
          <p:spPr>
            <a:xfrm rot="10800000">
              <a:off x="7990655" y="3240139"/>
              <a:ext cx="1391377" cy="1391377"/>
            </a:xfrm>
            <a:prstGeom prst="arc">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754235">
                <a:defRPr/>
              </a:pPr>
              <a:endParaRPr lang="en-US" sz="1485" dirty="0">
                <a:solidFill>
                  <a:srgbClr val="505050"/>
                </a:solidFill>
                <a:latin typeface="Segoe UI"/>
              </a:endParaRPr>
            </a:p>
          </p:txBody>
        </p:sp>
        <p:sp>
          <p:nvSpPr>
            <p:cNvPr id="21" name="Arc 20">
              <a:extLst>
                <a:ext uri="{FF2B5EF4-FFF2-40B4-BE49-F238E27FC236}">
                  <a16:creationId xmlns:a16="http://schemas.microsoft.com/office/drawing/2014/main" id="{A763928B-C3FF-4F6D-94AD-F4D62B40D6B3}"/>
                </a:ext>
              </a:extLst>
            </p:cNvPr>
            <p:cNvSpPr/>
            <p:nvPr/>
          </p:nvSpPr>
          <p:spPr>
            <a:xfrm rot="16200000">
              <a:off x="7992617" y="2526675"/>
              <a:ext cx="1391377" cy="1391377"/>
            </a:xfrm>
            <a:prstGeom prst="arc">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754235">
                <a:defRPr/>
              </a:pPr>
              <a:endParaRPr lang="en-US" sz="1485" dirty="0">
                <a:solidFill>
                  <a:srgbClr val="505050"/>
                </a:solidFill>
                <a:latin typeface="Segoe UI"/>
              </a:endParaRPr>
            </a:p>
          </p:txBody>
        </p:sp>
        <p:sp>
          <p:nvSpPr>
            <p:cNvPr id="22" name="TextBox 21">
              <a:extLst>
                <a:ext uri="{FF2B5EF4-FFF2-40B4-BE49-F238E27FC236}">
                  <a16:creationId xmlns:a16="http://schemas.microsoft.com/office/drawing/2014/main" id="{578848E3-C901-46E5-A01C-2AF61463946F}"/>
                </a:ext>
              </a:extLst>
            </p:cNvPr>
            <p:cNvSpPr txBox="1"/>
            <p:nvPr/>
          </p:nvSpPr>
          <p:spPr>
            <a:xfrm>
              <a:off x="7720721" y="3691035"/>
              <a:ext cx="554139" cy="237782"/>
            </a:xfrm>
            <a:prstGeom prst="rect">
              <a:avLst/>
            </a:prstGeom>
            <a:noFill/>
            <a:ln w="38100">
              <a:noFill/>
              <a:miter lim="800000"/>
            </a:ln>
          </p:spPr>
          <p:txBody>
            <a:bodyPr wrap="square" lIns="75428" tIns="37714" rIns="75428" bIns="37714" rtlCol="0">
              <a:sp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algn="ctr" defTabSz="753730">
                <a:lnSpc>
                  <a:spcPct val="100000"/>
                </a:lnSpc>
                <a:defRPr/>
              </a:pPr>
              <a:r>
                <a:rPr lang="en-US" sz="1000" b="1" kern="0" spc="0" dirty="0">
                  <a:ln>
                    <a:solidFill>
                      <a:srgbClr val="FFFFFF">
                        <a:alpha val="0"/>
                      </a:srgbClr>
                    </a:solidFill>
                  </a:ln>
                  <a:solidFill>
                    <a:srgbClr val="000000"/>
                  </a:solidFill>
                  <a:latin typeface="Segoe UI Semibold" charset="0"/>
                  <a:cs typeface="Segoe UI Semibold" charset="0"/>
                </a:rPr>
                <a:t>Learn</a:t>
              </a:r>
            </a:p>
          </p:txBody>
        </p:sp>
        <p:sp>
          <p:nvSpPr>
            <p:cNvPr id="23" name="TextBox 22">
              <a:extLst>
                <a:ext uri="{FF2B5EF4-FFF2-40B4-BE49-F238E27FC236}">
                  <a16:creationId xmlns:a16="http://schemas.microsoft.com/office/drawing/2014/main" id="{EB4847C6-4B9C-4453-ADDF-1667B7C6D281}"/>
                </a:ext>
              </a:extLst>
            </p:cNvPr>
            <p:cNvSpPr txBox="1"/>
            <p:nvPr/>
          </p:nvSpPr>
          <p:spPr>
            <a:xfrm>
              <a:off x="8579356" y="4858355"/>
              <a:ext cx="842810" cy="237782"/>
            </a:xfrm>
            <a:prstGeom prst="rect">
              <a:avLst/>
            </a:prstGeom>
            <a:noFill/>
            <a:ln w="38100">
              <a:noFill/>
              <a:miter lim="800000"/>
            </a:ln>
          </p:spPr>
          <p:txBody>
            <a:bodyPr wrap="square" lIns="75428" tIns="37714" rIns="75428" bIns="37714" rtlCol="0">
              <a:sp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algn="ctr" defTabSz="753730">
                <a:lnSpc>
                  <a:spcPct val="100000"/>
                </a:lnSpc>
                <a:defRPr/>
              </a:pPr>
              <a:r>
                <a:rPr lang="en-US" sz="1000" b="1" kern="0" spc="0" dirty="0">
                  <a:ln>
                    <a:solidFill>
                      <a:srgbClr val="FFFFFF">
                        <a:alpha val="0"/>
                      </a:srgbClr>
                    </a:solidFill>
                  </a:ln>
                  <a:solidFill>
                    <a:srgbClr val="000000"/>
                  </a:solidFill>
                  <a:latin typeface="Segoe UI Semibold" charset="0"/>
                  <a:cs typeface="Segoe UI Semibold" charset="0"/>
                </a:rPr>
                <a:t>Run query</a:t>
              </a:r>
            </a:p>
          </p:txBody>
        </p:sp>
        <p:sp>
          <p:nvSpPr>
            <p:cNvPr id="24" name="Rectangle 23">
              <a:extLst>
                <a:ext uri="{FF2B5EF4-FFF2-40B4-BE49-F238E27FC236}">
                  <a16:creationId xmlns:a16="http://schemas.microsoft.com/office/drawing/2014/main" id="{88B9E8BC-0196-4072-AFFA-74AFB64859E6}"/>
                </a:ext>
              </a:extLst>
            </p:cNvPr>
            <p:cNvSpPr/>
            <p:nvPr/>
          </p:nvSpPr>
          <p:spPr>
            <a:xfrm>
              <a:off x="8388240" y="3396210"/>
              <a:ext cx="1273927" cy="414353"/>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Intelligent </a:t>
              </a:r>
              <a:br>
                <a:rPr lang="en-US" sz="1000" b="1" kern="0" dirty="0">
                  <a:ln>
                    <a:solidFill>
                      <a:srgbClr val="FFFFFF">
                        <a:alpha val="0"/>
                      </a:srgbClr>
                    </a:solidFill>
                  </a:ln>
                  <a:solidFill>
                    <a:srgbClr val="0078D7"/>
                  </a:solidFill>
                  <a:latin typeface="Segoe UI" charset="0"/>
                  <a:cs typeface="Segoe UI" charset="0"/>
                </a:rPr>
              </a:br>
              <a:r>
                <a:rPr lang="en-US" sz="1000" b="1" kern="0" dirty="0">
                  <a:ln>
                    <a:solidFill>
                      <a:srgbClr val="FFFFFF">
                        <a:alpha val="0"/>
                      </a:srgbClr>
                    </a:solidFill>
                  </a:ln>
                  <a:solidFill>
                    <a:srgbClr val="0078D7"/>
                  </a:solidFill>
                  <a:latin typeface="Segoe UI" charset="0"/>
                  <a:cs typeface="Segoe UI" charset="0"/>
                </a:rPr>
                <a:t>Query Processing</a:t>
              </a:r>
            </a:p>
          </p:txBody>
        </p:sp>
        <p:sp>
          <p:nvSpPr>
            <p:cNvPr id="25" name="Rectangle: Rounded Corners 44">
              <a:extLst>
                <a:ext uri="{FF2B5EF4-FFF2-40B4-BE49-F238E27FC236}">
                  <a16:creationId xmlns:a16="http://schemas.microsoft.com/office/drawing/2014/main" id="{8E5F8F9F-AB8D-4795-A9FA-EB9C9065B417}"/>
                </a:ext>
              </a:extLst>
            </p:cNvPr>
            <p:cNvSpPr/>
            <p:nvPr/>
          </p:nvSpPr>
          <p:spPr>
            <a:xfrm>
              <a:off x="9782932" y="3273436"/>
              <a:ext cx="455648" cy="440182"/>
            </a:xfrm>
            <a:prstGeom prst="round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27428" tIns="0" rIns="0" bIns="0" rtlCol="0" anchor="ctr"/>
            <a:lstStyle/>
            <a:p>
              <a:pPr algn="ctr" defTabSz="754235">
                <a:defRPr/>
              </a:pPr>
              <a:r>
                <a:rPr lang="en-US" sz="800" spc="248" dirty="0">
                  <a:solidFill>
                    <a:srgbClr val="0078D7"/>
                  </a:solidFill>
                  <a:latin typeface="Segoe UI"/>
                  <a:cs typeface="Segoe UI Semilight" panose="020B0402040204020203" pitchFamily="34" charset="0"/>
                </a:rPr>
                <a:t>101001010110</a:t>
              </a:r>
            </a:p>
          </p:txBody>
        </p:sp>
        <p:grpSp>
          <p:nvGrpSpPr>
            <p:cNvPr id="26" name="Group 11">
              <a:extLst>
                <a:ext uri="{FF2B5EF4-FFF2-40B4-BE49-F238E27FC236}">
                  <a16:creationId xmlns:a16="http://schemas.microsoft.com/office/drawing/2014/main" id="{46388ED4-3C9C-497A-9D5D-F518686B1D48}"/>
                </a:ext>
              </a:extLst>
            </p:cNvPr>
            <p:cNvGrpSpPr>
              <a:grpSpLocks noChangeAspect="1"/>
            </p:cNvGrpSpPr>
            <p:nvPr/>
          </p:nvGrpSpPr>
          <p:grpSpPr bwMode="auto">
            <a:xfrm>
              <a:off x="7864779" y="3383528"/>
              <a:ext cx="251750" cy="274229"/>
              <a:chOff x="3861" y="4291602"/>
              <a:chExt cx="112" cy="244433"/>
            </a:xfrm>
          </p:grpSpPr>
          <p:sp>
            <p:nvSpPr>
              <p:cNvPr id="27" name="Freeform 12">
                <a:extLst>
                  <a:ext uri="{FF2B5EF4-FFF2-40B4-BE49-F238E27FC236}">
                    <a16:creationId xmlns:a16="http://schemas.microsoft.com/office/drawing/2014/main" id="{E5F84F15-AC40-4784-BDF3-C354C0D6794D}"/>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sp>
            <p:nvSpPr>
              <p:cNvPr id="28" name="Line 13">
                <a:extLst>
                  <a:ext uri="{FF2B5EF4-FFF2-40B4-BE49-F238E27FC236}">
                    <a16:creationId xmlns:a16="http://schemas.microsoft.com/office/drawing/2014/main" id="{818783FE-20F7-441F-99FF-17EFCE67D990}"/>
                  </a:ext>
                </a:extLst>
              </p:cNvPr>
              <p:cNvSpPr>
                <a:spLocks noChangeShapeType="1"/>
              </p:cNvSpPr>
              <p:nvPr/>
            </p:nvSpPr>
            <p:spPr bwMode="auto">
              <a:xfrm>
                <a:off x="3872" y="4469918"/>
                <a:ext cx="9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sp>
            <p:nvSpPr>
              <p:cNvPr id="29" name="Line 14">
                <a:extLst>
                  <a:ext uri="{FF2B5EF4-FFF2-40B4-BE49-F238E27FC236}">
                    <a16:creationId xmlns:a16="http://schemas.microsoft.com/office/drawing/2014/main" id="{1ED67DE1-6777-4150-A2E6-7F028F412A01}"/>
                  </a:ext>
                </a:extLst>
              </p:cNvPr>
              <p:cNvSpPr>
                <a:spLocks noChangeShapeType="1"/>
              </p:cNvSpPr>
              <p:nvPr/>
            </p:nvSpPr>
            <p:spPr bwMode="auto">
              <a:xfrm>
                <a:off x="3923" y="4335680"/>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sp>
            <p:nvSpPr>
              <p:cNvPr id="30" name="Line 15">
                <a:extLst>
                  <a:ext uri="{FF2B5EF4-FFF2-40B4-BE49-F238E27FC236}">
                    <a16:creationId xmlns:a16="http://schemas.microsoft.com/office/drawing/2014/main" id="{7AB8A36D-3CC2-427C-B1A1-F76057119E1A}"/>
                  </a:ext>
                </a:extLst>
              </p:cNvPr>
              <p:cNvSpPr>
                <a:spLocks noChangeShapeType="1"/>
              </p:cNvSpPr>
              <p:nvPr/>
            </p:nvSpPr>
            <p:spPr bwMode="auto">
              <a:xfrm>
                <a:off x="3923" y="4379758"/>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sp>
            <p:nvSpPr>
              <p:cNvPr id="31" name="Line 16">
                <a:extLst>
                  <a:ext uri="{FF2B5EF4-FFF2-40B4-BE49-F238E27FC236}">
                    <a16:creationId xmlns:a16="http://schemas.microsoft.com/office/drawing/2014/main" id="{7D94F86A-E248-4B3C-9F6A-1C3D8FFB193F}"/>
                  </a:ext>
                </a:extLst>
              </p:cNvPr>
              <p:cNvSpPr>
                <a:spLocks noChangeShapeType="1"/>
              </p:cNvSpPr>
              <p:nvPr/>
            </p:nvSpPr>
            <p:spPr bwMode="auto">
              <a:xfrm>
                <a:off x="3923" y="4425840"/>
                <a:ext cx="2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sp>
            <p:nvSpPr>
              <p:cNvPr id="32" name="Line 17">
                <a:extLst>
                  <a:ext uri="{FF2B5EF4-FFF2-40B4-BE49-F238E27FC236}">
                    <a16:creationId xmlns:a16="http://schemas.microsoft.com/office/drawing/2014/main" id="{B5D18D42-3F8B-4091-AAAB-684D7DA961C1}"/>
                  </a:ext>
                </a:extLst>
              </p:cNvPr>
              <p:cNvSpPr>
                <a:spLocks noChangeShapeType="1"/>
              </p:cNvSpPr>
              <p:nvPr/>
            </p:nvSpPr>
            <p:spPr bwMode="auto">
              <a:xfrm>
                <a:off x="3883" y="4291602"/>
                <a:ext cx="6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grpSp>
        <p:grpSp>
          <p:nvGrpSpPr>
            <p:cNvPr id="33" name="Group 4">
              <a:extLst>
                <a:ext uri="{FF2B5EF4-FFF2-40B4-BE49-F238E27FC236}">
                  <a16:creationId xmlns:a16="http://schemas.microsoft.com/office/drawing/2014/main" id="{3604A716-40A3-4A62-93A4-0108FB4C12D2}"/>
                </a:ext>
              </a:extLst>
            </p:cNvPr>
            <p:cNvGrpSpPr>
              <a:grpSpLocks noChangeAspect="1"/>
            </p:cNvGrpSpPr>
            <p:nvPr/>
          </p:nvGrpSpPr>
          <p:grpSpPr bwMode="auto">
            <a:xfrm>
              <a:off x="8918138" y="2327445"/>
              <a:ext cx="210086" cy="368034"/>
              <a:chOff x="866" y="3346"/>
              <a:chExt cx="137" cy="240"/>
            </a:xfrm>
          </p:grpSpPr>
          <p:sp>
            <p:nvSpPr>
              <p:cNvPr id="34" name="Freeform 5">
                <a:extLst>
                  <a:ext uri="{FF2B5EF4-FFF2-40B4-BE49-F238E27FC236}">
                    <a16:creationId xmlns:a16="http://schemas.microsoft.com/office/drawing/2014/main" id="{4502F041-5BBA-4AFF-8B9B-C6FA269DCD72}"/>
                  </a:ext>
                </a:extLst>
              </p:cNvPr>
              <p:cNvSpPr>
                <a:spLocks/>
              </p:cNvSpPr>
              <p:nvPr/>
            </p:nvSpPr>
            <p:spPr bwMode="auto">
              <a:xfrm>
                <a:off x="866" y="3346"/>
                <a:ext cx="137" cy="158"/>
              </a:xfrm>
              <a:custGeom>
                <a:avLst/>
                <a:gdLst>
                  <a:gd name="T0" fmla="*/ 86 w 99"/>
                  <a:gd name="T1" fmla="*/ 82 h 114"/>
                  <a:gd name="T2" fmla="*/ 74 w 99"/>
                  <a:gd name="T3" fmla="*/ 114 h 114"/>
                  <a:gd name="T4" fmla="*/ 24 w 99"/>
                  <a:gd name="T5" fmla="*/ 114 h 114"/>
                  <a:gd name="T6" fmla="*/ 13 w 99"/>
                  <a:gd name="T7" fmla="*/ 84 h 114"/>
                  <a:gd name="T8" fmla="*/ 10 w 99"/>
                  <a:gd name="T9" fmla="*/ 79 h 114"/>
                  <a:gd name="T10" fmla="*/ 0 w 99"/>
                  <a:gd name="T11" fmla="*/ 49 h 114"/>
                  <a:gd name="T12" fmla="*/ 49 w 99"/>
                  <a:gd name="T13" fmla="*/ 0 h 114"/>
                  <a:gd name="T14" fmla="*/ 99 w 99"/>
                  <a:gd name="T15" fmla="*/ 49 h 114"/>
                  <a:gd name="T16" fmla="*/ 88 w 99"/>
                  <a:gd name="T17" fmla="*/ 78 h 114"/>
                  <a:gd name="T18" fmla="*/ 86 w 99"/>
                  <a:gd name="T19" fmla="*/ 82 h 114"/>
                  <a:gd name="T20" fmla="*/ 86 w 99"/>
                  <a:gd name="T21" fmla="*/ 8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114">
                    <a:moveTo>
                      <a:pt x="86" y="82"/>
                    </a:moveTo>
                    <a:cubicBezTo>
                      <a:pt x="75" y="99"/>
                      <a:pt x="74" y="114"/>
                      <a:pt x="74" y="114"/>
                    </a:cubicBezTo>
                    <a:cubicBezTo>
                      <a:pt x="24" y="114"/>
                      <a:pt x="24" y="114"/>
                      <a:pt x="24" y="114"/>
                    </a:cubicBezTo>
                    <a:cubicBezTo>
                      <a:pt x="25" y="105"/>
                      <a:pt x="13" y="84"/>
                      <a:pt x="13" y="84"/>
                    </a:cubicBezTo>
                    <a:cubicBezTo>
                      <a:pt x="10" y="79"/>
                      <a:pt x="10" y="79"/>
                      <a:pt x="10" y="79"/>
                    </a:cubicBezTo>
                    <a:cubicBezTo>
                      <a:pt x="3" y="71"/>
                      <a:pt x="0" y="61"/>
                      <a:pt x="0" y="49"/>
                    </a:cubicBezTo>
                    <a:cubicBezTo>
                      <a:pt x="0" y="21"/>
                      <a:pt x="22" y="0"/>
                      <a:pt x="49" y="0"/>
                    </a:cubicBezTo>
                    <a:cubicBezTo>
                      <a:pt x="77" y="0"/>
                      <a:pt x="99" y="21"/>
                      <a:pt x="99" y="49"/>
                    </a:cubicBezTo>
                    <a:cubicBezTo>
                      <a:pt x="99" y="61"/>
                      <a:pt x="96" y="70"/>
                      <a:pt x="88" y="78"/>
                    </a:cubicBezTo>
                    <a:cubicBezTo>
                      <a:pt x="86" y="82"/>
                      <a:pt x="86" y="82"/>
                      <a:pt x="86" y="82"/>
                    </a:cubicBezTo>
                    <a:cubicBezTo>
                      <a:pt x="86" y="82"/>
                      <a:pt x="86" y="82"/>
                      <a:pt x="86" y="82"/>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1800" dirty="0">
                  <a:solidFill>
                    <a:srgbClr val="000000"/>
                  </a:solidFill>
                  <a:latin typeface="Segoe UI"/>
                </a:endParaRPr>
              </a:p>
            </p:txBody>
          </p:sp>
          <p:sp>
            <p:nvSpPr>
              <p:cNvPr id="35" name="Freeform 6">
                <a:extLst>
                  <a:ext uri="{FF2B5EF4-FFF2-40B4-BE49-F238E27FC236}">
                    <a16:creationId xmlns:a16="http://schemas.microsoft.com/office/drawing/2014/main" id="{5815514F-0C35-43C2-B6C7-7033DEA99F95}"/>
                  </a:ext>
                </a:extLst>
              </p:cNvPr>
              <p:cNvSpPr>
                <a:spLocks/>
              </p:cNvSpPr>
              <p:nvPr/>
            </p:nvSpPr>
            <p:spPr bwMode="auto">
              <a:xfrm>
                <a:off x="899" y="3534"/>
                <a:ext cx="70" cy="0"/>
              </a:xfrm>
              <a:custGeom>
                <a:avLst/>
                <a:gdLst>
                  <a:gd name="T0" fmla="*/ 0 w 50"/>
                  <a:gd name="T1" fmla="*/ 50 w 50"/>
                </a:gdLst>
                <a:ahLst/>
                <a:cxnLst>
                  <a:cxn ang="0">
                    <a:pos x="T0" y="0"/>
                  </a:cxn>
                  <a:cxn ang="0">
                    <a:pos x="T1" y="0"/>
                  </a:cxn>
                </a:cxnLst>
                <a:rect l="0" t="0" r="r" b="b"/>
                <a:pathLst>
                  <a:path w="50">
                    <a:moveTo>
                      <a:pt x="0" y="0"/>
                    </a:moveTo>
                    <a:cubicBezTo>
                      <a:pt x="50" y="0"/>
                      <a:pt x="50" y="0"/>
                      <a:pt x="50" y="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1800" dirty="0">
                  <a:solidFill>
                    <a:srgbClr val="000000"/>
                  </a:solidFill>
                  <a:latin typeface="Segoe UI"/>
                </a:endParaRPr>
              </a:p>
            </p:txBody>
          </p:sp>
          <p:sp>
            <p:nvSpPr>
              <p:cNvPr id="36" name="Freeform 7">
                <a:extLst>
                  <a:ext uri="{FF2B5EF4-FFF2-40B4-BE49-F238E27FC236}">
                    <a16:creationId xmlns:a16="http://schemas.microsoft.com/office/drawing/2014/main" id="{CA32C27D-A4A5-451D-9681-13490CDA2E23}"/>
                  </a:ext>
                </a:extLst>
              </p:cNvPr>
              <p:cNvSpPr>
                <a:spLocks/>
              </p:cNvSpPr>
              <p:nvPr/>
            </p:nvSpPr>
            <p:spPr bwMode="auto">
              <a:xfrm>
                <a:off x="899" y="3560"/>
                <a:ext cx="70" cy="0"/>
              </a:xfrm>
              <a:custGeom>
                <a:avLst/>
                <a:gdLst>
                  <a:gd name="T0" fmla="*/ 0 w 50"/>
                  <a:gd name="T1" fmla="*/ 50 w 50"/>
                </a:gdLst>
                <a:ahLst/>
                <a:cxnLst>
                  <a:cxn ang="0">
                    <a:pos x="T0" y="0"/>
                  </a:cxn>
                  <a:cxn ang="0">
                    <a:pos x="T1" y="0"/>
                  </a:cxn>
                </a:cxnLst>
                <a:rect l="0" t="0" r="r" b="b"/>
                <a:pathLst>
                  <a:path w="50">
                    <a:moveTo>
                      <a:pt x="0" y="0"/>
                    </a:moveTo>
                    <a:cubicBezTo>
                      <a:pt x="50" y="0"/>
                      <a:pt x="50" y="0"/>
                      <a:pt x="50" y="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1800" dirty="0">
                  <a:solidFill>
                    <a:srgbClr val="000000"/>
                  </a:solidFill>
                  <a:latin typeface="Segoe UI"/>
                </a:endParaRPr>
              </a:p>
            </p:txBody>
          </p:sp>
          <p:sp>
            <p:nvSpPr>
              <p:cNvPr id="37" name="Freeform 8">
                <a:extLst>
                  <a:ext uri="{FF2B5EF4-FFF2-40B4-BE49-F238E27FC236}">
                    <a16:creationId xmlns:a16="http://schemas.microsoft.com/office/drawing/2014/main" id="{DD6EB556-77C8-4AFB-85E0-A93538BE6D4C}"/>
                  </a:ext>
                </a:extLst>
              </p:cNvPr>
              <p:cNvSpPr>
                <a:spLocks/>
              </p:cNvSpPr>
              <p:nvPr/>
            </p:nvSpPr>
            <p:spPr bwMode="auto">
              <a:xfrm>
                <a:off x="908" y="3586"/>
                <a:ext cx="54" cy="0"/>
              </a:xfrm>
              <a:custGeom>
                <a:avLst/>
                <a:gdLst>
                  <a:gd name="T0" fmla="*/ 0 w 39"/>
                  <a:gd name="T1" fmla="*/ 39 w 39"/>
                </a:gdLst>
                <a:ahLst/>
                <a:cxnLst>
                  <a:cxn ang="0">
                    <a:pos x="T0" y="0"/>
                  </a:cxn>
                  <a:cxn ang="0">
                    <a:pos x="T1" y="0"/>
                  </a:cxn>
                </a:cxnLst>
                <a:rect l="0" t="0" r="r" b="b"/>
                <a:pathLst>
                  <a:path w="39">
                    <a:moveTo>
                      <a:pt x="0" y="0"/>
                    </a:moveTo>
                    <a:cubicBezTo>
                      <a:pt x="39" y="0"/>
                      <a:pt x="39" y="0"/>
                      <a:pt x="39" y="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1800" dirty="0">
                  <a:solidFill>
                    <a:srgbClr val="000000"/>
                  </a:solidFill>
                  <a:latin typeface="Segoe UI"/>
                </a:endParaRPr>
              </a:p>
            </p:txBody>
          </p:sp>
        </p:grpSp>
        <p:grpSp>
          <p:nvGrpSpPr>
            <p:cNvPr id="38" name="Group 37">
              <a:extLst>
                <a:ext uri="{FF2B5EF4-FFF2-40B4-BE49-F238E27FC236}">
                  <a16:creationId xmlns:a16="http://schemas.microsoft.com/office/drawing/2014/main" id="{6305C487-D3F1-4FEB-97DB-7AD8A1C7107D}"/>
                </a:ext>
              </a:extLst>
            </p:cNvPr>
            <p:cNvGrpSpPr/>
            <p:nvPr/>
          </p:nvGrpSpPr>
          <p:grpSpPr>
            <a:xfrm>
              <a:off x="8816788" y="4469712"/>
              <a:ext cx="358220" cy="358220"/>
              <a:chOff x="8264695" y="4371468"/>
              <a:chExt cx="373230" cy="373230"/>
            </a:xfrm>
          </p:grpSpPr>
          <p:sp>
            <p:nvSpPr>
              <p:cNvPr id="39" name="Oval 38">
                <a:extLst>
                  <a:ext uri="{FF2B5EF4-FFF2-40B4-BE49-F238E27FC236}">
                    <a16:creationId xmlns:a16="http://schemas.microsoft.com/office/drawing/2014/main" id="{01009A6A-014E-4C8D-90CC-E1EEC322D128}"/>
                  </a:ext>
                </a:extLst>
              </p:cNvPr>
              <p:cNvSpPr/>
              <p:nvPr/>
            </p:nvSpPr>
            <p:spPr bwMode="auto">
              <a:xfrm>
                <a:off x="8264695" y="4371468"/>
                <a:ext cx="373230" cy="373230"/>
              </a:xfrm>
              <a:prstGeom prst="ellipse">
                <a:avLst/>
              </a:prstGeom>
              <a:no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40" name="Isosceles Triangle 39">
                <a:extLst>
                  <a:ext uri="{FF2B5EF4-FFF2-40B4-BE49-F238E27FC236}">
                    <a16:creationId xmlns:a16="http://schemas.microsoft.com/office/drawing/2014/main" id="{365F35CC-2337-452F-9D6E-ADB40926FEB0}"/>
                  </a:ext>
                </a:extLst>
              </p:cNvPr>
              <p:cNvSpPr/>
              <p:nvPr/>
            </p:nvSpPr>
            <p:spPr bwMode="auto">
              <a:xfrm rot="5400000">
                <a:off x="8391585" y="4511018"/>
                <a:ext cx="153781" cy="94132"/>
              </a:xfrm>
              <a:prstGeom prst="triangle">
                <a:avLst/>
              </a:prstGeom>
              <a:no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grpSp>
      </p:grpSp>
      <p:grpSp>
        <p:nvGrpSpPr>
          <p:cNvPr id="119" name="Group 118">
            <a:extLst>
              <a:ext uri="{FF2B5EF4-FFF2-40B4-BE49-F238E27FC236}">
                <a16:creationId xmlns:a16="http://schemas.microsoft.com/office/drawing/2014/main" id="{87D03AEF-D5C8-45FD-816A-277DB883901B}"/>
              </a:ext>
            </a:extLst>
          </p:cNvPr>
          <p:cNvGrpSpPr/>
          <p:nvPr/>
        </p:nvGrpSpPr>
        <p:grpSpPr>
          <a:xfrm>
            <a:off x="4747473" y="4830517"/>
            <a:ext cx="1530672" cy="355140"/>
            <a:chOff x="6576577" y="3318208"/>
            <a:chExt cx="2213304" cy="504999"/>
          </a:xfrm>
        </p:grpSpPr>
        <p:sp>
          <p:nvSpPr>
            <p:cNvPr id="120" name="Freeform 130">
              <a:extLst>
                <a:ext uri="{FF2B5EF4-FFF2-40B4-BE49-F238E27FC236}">
                  <a16:creationId xmlns:a16="http://schemas.microsoft.com/office/drawing/2014/main" id="{C43ACB19-E53C-4A50-B6D2-13459181181D}"/>
                </a:ext>
              </a:extLst>
            </p:cNvPr>
            <p:cNvSpPr>
              <a:spLocks noChangeAspect="1" noEditPoints="1"/>
            </p:cNvSpPr>
            <p:nvPr/>
          </p:nvSpPr>
          <p:spPr bwMode="black">
            <a:xfrm>
              <a:off x="7320545" y="3331545"/>
              <a:ext cx="480274" cy="478324"/>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178D7"/>
            </a:solidFill>
            <a:ln>
              <a:noFill/>
            </a:ln>
            <a:extLst/>
          </p:spPr>
          <p:txBody>
            <a:bodyPr vert="horz" wrap="square" lIns="91414" tIns="45706" rIns="91414" bIns="45706" numCol="1" anchor="t" anchorCtr="0" compatLnSpc="1">
              <a:prstTxWarp prst="textNoShape">
                <a:avLst/>
              </a:prstTxWarp>
            </a:bodyPr>
            <a:lstStyle/>
            <a:p>
              <a:pPr defTabSz="932384">
                <a:defRPr/>
              </a:pPr>
              <a:endParaRPr lang="en-US" sz="1800" kern="0" dirty="0">
                <a:solidFill>
                  <a:prstClr val="white"/>
                </a:solidFill>
                <a:latin typeface="Segoe UI"/>
              </a:endParaRPr>
            </a:p>
          </p:txBody>
        </p:sp>
        <p:sp>
          <p:nvSpPr>
            <p:cNvPr id="121" name="Freeform: Shape 390">
              <a:extLst>
                <a:ext uri="{FF2B5EF4-FFF2-40B4-BE49-F238E27FC236}">
                  <a16:creationId xmlns:a16="http://schemas.microsoft.com/office/drawing/2014/main" id="{DDDC94EB-88F4-4DB7-B451-36889D448983}"/>
                </a:ext>
              </a:extLst>
            </p:cNvPr>
            <p:cNvSpPr/>
            <p:nvPr/>
          </p:nvSpPr>
          <p:spPr>
            <a:xfrm>
              <a:off x="8113431" y="3356687"/>
              <a:ext cx="676450" cy="428040"/>
            </a:xfrm>
            <a:custGeom>
              <a:avLst/>
              <a:gdLst>
                <a:gd name="connsiteX0" fmla="*/ 1849531 w 7529578"/>
                <a:gd name="connsiteY0" fmla="*/ 3903502 h 4764516"/>
                <a:gd name="connsiteX1" fmla="*/ 1273554 w 7529578"/>
                <a:gd name="connsiteY1" fmla="*/ 3987984 h 4764516"/>
                <a:gd name="connsiteX2" fmla="*/ 1013662 w 7529578"/>
                <a:gd name="connsiteY2" fmla="*/ 3995024 h 4764516"/>
                <a:gd name="connsiteX3" fmla="*/ 676505 w 7529578"/>
                <a:gd name="connsiteY3" fmla="*/ 3987984 h 4764516"/>
                <a:gd name="connsiteX4" fmla="*/ 2439556 w 7529578"/>
                <a:gd name="connsiteY4" fmla="*/ 4677914 h 4764516"/>
                <a:gd name="connsiteX5" fmla="*/ 2636231 w 7529578"/>
                <a:gd name="connsiteY5" fmla="*/ 4677914 h 4764516"/>
                <a:gd name="connsiteX6" fmla="*/ 1849531 w 7529578"/>
                <a:gd name="connsiteY6" fmla="*/ 3903502 h 4764516"/>
                <a:gd name="connsiteX7" fmla="*/ 2161836 w 7529578"/>
                <a:gd name="connsiteY7" fmla="*/ 3452194 h 4764516"/>
                <a:gd name="connsiteX8" fmla="*/ 2209829 w 7529578"/>
                <a:gd name="connsiteY8" fmla="*/ 3459914 h 4764516"/>
                <a:gd name="connsiteX9" fmla="*/ 2185833 w 7529578"/>
                <a:gd name="connsiteY9" fmla="*/ 3506232 h 4764516"/>
                <a:gd name="connsiteX10" fmla="*/ 2241825 w 7529578"/>
                <a:gd name="connsiteY10" fmla="*/ 3560270 h 4764516"/>
                <a:gd name="connsiteX11" fmla="*/ 2289818 w 7529578"/>
                <a:gd name="connsiteY11" fmla="*/ 3529391 h 4764516"/>
                <a:gd name="connsiteX12" fmla="*/ 2297817 w 7529578"/>
                <a:gd name="connsiteY12" fmla="*/ 3583429 h 4764516"/>
                <a:gd name="connsiteX13" fmla="*/ 2161836 w 7529578"/>
                <a:gd name="connsiteY13" fmla="*/ 3714663 h 4764516"/>
                <a:gd name="connsiteX14" fmla="*/ 2017856 w 7529578"/>
                <a:gd name="connsiteY14" fmla="*/ 3583429 h 4764516"/>
                <a:gd name="connsiteX15" fmla="*/ 2161836 w 7529578"/>
                <a:gd name="connsiteY15" fmla="*/ 3452194 h 4764516"/>
                <a:gd name="connsiteX16" fmla="*/ 2157831 w 7529578"/>
                <a:gd name="connsiteY16" fmla="*/ 3399707 h 4764516"/>
                <a:gd name="connsiteX17" fmla="*/ 1965358 w 7529578"/>
                <a:gd name="connsiteY17" fmla="*/ 3583434 h 4764516"/>
                <a:gd name="connsiteX18" fmla="*/ 2157831 w 7529578"/>
                <a:gd name="connsiteY18" fmla="*/ 3767161 h 4764516"/>
                <a:gd name="connsiteX19" fmla="*/ 2350304 w 7529578"/>
                <a:gd name="connsiteY19" fmla="*/ 3583434 h 4764516"/>
                <a:gd name="connsiteX20" fmla="*/ 2157831 w 7529578"/>
                <a:gd name="connsiteY20" fmla="*/ 3399707 h 4764516"/>
                <a:gd name="connsiteX21" fmla="*/ 3907591 w 7529578"/>
                <a:gd name="connsiteY21" fmla="*/ 1579947 h 4764516"/>
                <a:gd name="connsiteX22" fmla="*/ 4607493 w 7529578"/>
                <a:gd name="connsiteY22" fmla="*/ 1579947 h 4764516"/>
                <a:gd name="connsiteX23" fmla="*/ 4607493 w 7529578"/>
                <a:gd name="connsiteY23" fmla="*/ 2279850 h 4764516"/>
                <a:gd name="connsiteX24" fmla="*/ 3907591 w 7529578"/>
                <a:gd name="connsiteY24" fmla="*/ 2279850 h 4764516"/>
                <a:gd name="connsiteX25" fmla="*/ 3102704 w 7529578"/>
                <a:gd name="connsiteY25" fmla="*/ 1579947 h 4764516"/>
                <a:gd name="connsiteX26" fmla="*/ 3802606 w 7529578"/>
                <a:gd name="connsiteY26" fmla="*/ 1579947 h 4764516"/>
                <a:gd name="connsiteX27" fmla="*/ 3802606 w 7529578"/>
                <a:gd name="connsiteY27" fmla="*/ 2279850 h 4764516"/>
                <a:gd name="connsiteX28" fmla="*/ 3102704 w 7529578"/>
                <a:gd name="connsiteY28" fmla="*/ 2279850 h 4764516"/>
                <a:gd name="connsiteX29" fmla="*/ 2315309 w 7529578"/>
                <a:gd name="connsiteY29" fmla="*/ 1579947 h 4764516"/>
                <a:gd name="connsiteX30" fmla="*/ 3015211 w 7529578"/>
                <a:gd name="connsiteY30" fmla="*/ 1579947 h 4764516"/>
                <a:gd name="connsiteX31" fmla="*/ 3015211 w 7529578"/>
                <a:gd name="connsiteY31" fmla="*/ 2279850 h 4764516"/>
                <a:gd name="connsiteX32" fmla="*/ 2315309 w 7529578"/>
                <a:gd name="connsiteY32" fmla="*/ 2279850 h 4764516"/>
                <a:gd name="connsiteX33" fmla="*/ 1510422 w 7529578"/>
                <a:gd name="connsiteY33" fmla="*/ 1579947 h 4764516"/>
                <a:gd name="connsiteX34" fmla="*/ 2210324 w 7529578"/>
                <a:gd name="connsiteY34" fmla="*/ 1579947 h 4764516"/>
                <a:gd name="connsiteX35" fmla="*/ 2210324 w 7529578"/>
                <a:gd name="connsiteY35" fmla="*/ 2279850 h 4764516"/>
                <a:gd name="connsiteX36" fmla="*/ 1510422 w 7529578"/>
                <a:gd name="connsiteY36" fmla="*/ 2279850 h 4764516"/>
                <a:gd name="connsiteX37" fmla="*/ 705534 w 7529578"/>
                <a:gd name="connsiteY37" fmla="*/ 1579947 h 4764516"/>
                <a:gd name="connsiteX38" fmla="*/ 1405436 w 7529578"/>
                <a:gd name="connsiteY38" fmla="*/ 1579947 h 4764516"/>
                <a:gd name="connsiteX39" fmla="*/ 1405436 w 7529578"/>
                <a:gd name="connsiteY39" fmla="*/ 2279850 h 4764516"/>
                <a:gd name="connsiteX40" fmla="*/ 705534 w 7529578"/>
                <a:gd name="connsiteY40" fmla="*/ 2279850 h 4764516"/>
                <a:gd name="connsiteX41" fmla="*/ 6082271 w 7529578"/>
                <a:gd name="connsiteY41" fmla="*/ 862558 h 4764516"/>
                <a:gd name="connsiteX42" fmla="*/ 6535589 w 7529578"/>
                <a:gd name="connsiteY42" fmla="*/ 1754155 h 4764516"/>
                <a:gd name="connsiteX43" fmla="*/ 7529578 w 7529578"/>
                <a:gd name="connsiteY43" fmla="*/ 1761959 h 4764516"/>
                <a:gd name="connsiteX44" fmla="*/ 6394775 w 7529578"/>
                <a:gd name="connsiteY44" fmla="*/ 2238778 h 4764516"/>
                <a:gd name="connsiteX45" fmla="*/ 2451200 w 7529578"/>
                <a:gd name="connsiteY45" fmla="*/ 4764516 h 4764516"/>
                <a:gd name="connsiteX46" fmla="*/ 518946 w 7529578"/>
                <a:gd name="connsiteY46" fmla="*/ 4005975 h 4764516"/>
                <a:gd name="connsiteX47" fmla="*/ 518946 w 7529578"/>
                <a:gd name="connsiteY47" fmla="*/ 3998172 h 4764516"/>
                <a:gd name="connsiteX48" fmla="*/ 400721 w 7529578"/>
                <a:gd name="connsiteY48" fmla="*/ 3872918 h 4764516"/>
                <a:gd name="connsiteX49" fmla="*/ 283250 w 7529578"/>
                <a:gd name="connsiteY49" fmla="*/ 3693428 h 4764516"/>
                <a:gd name="connsiteX50" fmla="*/ 220749 w 7529578"/>
                <a:gd name="connsiteY50" fmla="*/ 3583783 h 4764516"/>
                <a:gd name="connsiteX51" fmla="*/ 9903 w 7529578"/>
                <a:gd name="connsiteY51" fmla="*/ 2403051 h 4764516"/>
                <a:gd name="connsiteX52" fmla="*/ 5143252 w 7529578"/>
                <a:gd name="connsiteY52" fmla="*/ 2403051 h 4764516"/>
                <a:gd name="connsiteX53" fmla="*/ 6175645 w 7529578"/>
                <a:gd name="connsiteY53" fmla="*/ 2074506 h 4764516"/>
                <a:gd name="connsiteX54" fmla="*/ 6082271 w 7529578"/>
                <a:gd name="connsiteY54" fmla="*/ 862558 h 4764516"/>
                <a:gd name="connsiteX55" fmla="*/ 3102704 w 7529578"/>
                <a:gd name="connsiteY55" fmla="*/ 792564 h 4764516"/>
                <a:gd name="connsiteX56" fmla="*/ 3802606 w 7529578"/>
                <a:gd name="connsiteY56" fmla="*/ 792564 h 4764516"/>
                <a:gd name="connsiteX57" fmla="*/ 3802606 w 7529578"/>
                <a:gd name="connsiteY57" fmla="*/ 1492467 h 4764516"/>
                <a:gd name="connsiteX58" fmla="*/ 3102704 w 7529578"/>
                <a:gd name="connsiteY58" fmla="*/ 1492467 h 4764516"/>
                <a:gd name="connsiteX59" fmla="*/ 2315309 w 7529578"/>
                <a:gd name="connsiteY59" fmla="*/ 792564 h 4764516"/>
                <a:gd name="connsiteX60" fmla="*/ 3015211 w 7529578"/>
                <a:gd name="connsiteY60" fmla="*/ 792564 h 4764516"/>
                <a:gd name="connsiteX61" fmla="*/ 3015211 w 7529578"/>
                <a:gd name="connsiteY61" fmla="*/ 1492467 h 4764516"/>
                <a:gd name="connsiteX62" fmla="*/ 2315309 w 7529578"/>
                <a:gd name="connsiteY62" fmla="*/ 1492467 h 4764516"/>
                <a:gd name="connsiteX63" fmla="*/ 1510422 w 7529578"/>
                <a:gd name="connsiteY63" fmla="*/ 792564 h 4764516"/>
                <a:gd name="connsiteX64" fmla="*/ 2210324 w 7529578"/>
                <a:gd name="connsiteY64" fmla="*/ 792564 h 4764516"/>
                <a:gd name="connsiteX65" fmla="*/ 2210324 w 7529578"/>
                <a:gd name="connsiteY65" fmla="*/ 1492467 h 4764516"/>
                <a:gd name="connsiteX66" fmla="*/ 1510422 w 7529578"/>
                <a:gd name="connsiteY66" fmla="*/ 1492467 h 4764516"/>
                <a:gd name="connsiteX67" fmla="*/ 3102704 w 7529578"/>
                <a:gd name="connsiteY67" fmla="*/ 0 h 4764516"/>
                <a:gd name="connsiteX68" fmla="*/ 3802606 w 7529578"/>
                <a:gd name="connsiteY68" fmla="*/ 0 h 4764516"/>
                <a:gd name="connsiteX69" fmla="*/ 3802606 w 7529578"/>
                <a:gd name="connsiteY69" fmla="*/ 699903 h 4764516"/>
                <a:gd name="connsiteX70" fmla="*/ 3102704 w 7529578"/>
                <a:gd name="connsiteY70" fmla="*/ 699903 h 4764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7529578" h="4764516">
                  <a:moveTo>
                    <a:pt x="1849531" y="3903502"/>
                  </a:moveTo>
                  <a:cubicBezTo>
                    <a:pt x="1687977" y="3945743"/>
                    <a:pt x="1498326" y="3973903"/>
                    <a:pt x="1273554" y="3987984"/>
                  </a:cubicBezTo>
                  <a:cubicBezTo>
                    <a:pt x="1196289" y="3995024"/>
                    <a:pt x="1104976" y="3995024"/>
                    <a:pt x="1013662" y="3995024"/>
                  </a:cubicBezTo>
                  <a:cubicBezTo>
                    <a:pt x="908301" y="3995024"/>
                    <a:pt x="795915" y="3995024"/>
                    <a:pt x="676505" y="3987984"/>
                  </a:cubicBezTo>
                  <a:cubicBezTo>
                    <a:pt x="1069855" y="4375190"/>
                    <a:pt x="1547495" y="4670874"/>
                    <a:pt x="2439556" y="4677914"/>
                  </a:cubicBezTo>
                  <a:cubicBezTo>
                    <a:pt x="2502773" y="4677914"/>
                    <a:pt x="2573014" y="4677914"/>
                    <a:pt x="2636231" y="4677914"/>
                  </a:cubicBezTo>
                  <a:cubicBezTo>
                    <a:pt x="2207761" y="4473751"/>
                    <a:pt x="1975965" y="4199187"/>
                    <a:pt x="1849531" y="3903502"/>
                  </a:cubicBezTo>
                  <a:close/>
                  <a:moveTo>
                    <a:pt x="2161836" y="3452194"/>
                  </a:moveTo>
                  <a:cubicBezTo>
                    <a:pt x="2177834" y="3452194"/>
                    <a:pt x="2193832" y="3452194"/>
                    <a:pt x="2209829" y="3459914"/>
                  </a:cubicBezTo>
                  <a:cubicBezTo>
                    <a:pt x="2193832" y="3467633"/>
                    <a:pt x="2185833" y="3483073"/>
                    <a:pt x="2185833" y="3506232"/>
                  </a:cubicBezTo>
                  <a:cubicBezTo>
                    <a:pt x="2185833" y="3537111"/>
                    <a:pt x="2209829" y="3560270"/>
                    <a:pt x="2241825" y="3560270"/>
                  </a:cubicBezTo>
                  <a:cubicBezTo>
                    <a:pt x="2257823" y="3560270"/>
                    <a:pt x="2281819" y="3552550"/>
                    <a:pt x="2289818" y="3529391"/>
                  </a:cubicBezTo>
                  <a:cubicBezTo>
                    <a:pt x="2297817" y="3544830"/>
                    <a:pt x="2297817" y="3567989"/>
                    <a:pt x="2297817" y="3583429"/>
                  </a:cubicBezTo>
                  <a:cubicBezTo>
                    <a:pt x="2297817" y="3660626"/>
                    <a:pt x="2241825" y="3714663"/>
                    <a:pt x="2161836" y="3714663"/>
                  </a:cubicBezTo>
                  <a:cubicBezTo>
                    <a:pt x="2081847" y="3714663"/>
                    <a:pt x="2017856" y="3660626"/>
                    <a:pt x="2017856" y="3583429"/>
                  </a:cubicBezTo>
                  <a:cubicBezTo>
                    <a:pt x="2017856" y="3506232"/>
                    <a:pt x="2081847" y="3452194"/>
                    <a:pt x="2161836" y="3452194"/>
                  </a:cubicBezTo>
                  <a:close/>
                  <a:moveTo>
                    <a:pt x="2157831" y="3399707"/>
                  </a:moveTo>
                  <a:cubicBezTo>
                    <a:pt x="2051531" y="3399707"/>
                    <a:pt x="1965358" y="3481964"/>
                    <a:pt x="1965358" y="3583434"/>
                  </a:cubicBezTo>
                  <a:cubicBezTo>
                    <a:pt x="1965358" y="3684904"/>
                    <a:pt x="2051531" y="3767161"/>
                    <a:pt x="2157831" y="3767161"/>
                  </a:cubicBezTo>
                  <a:cubicBezTo>
                    <a:pt x="2264131" y="3767161"/>
                    <a:pt x="2350304" y="3684904"/>
                    <a:pt x="2350304" y="3583434"/>
                  </a:cubicBezTo>
                  <a:cubicBezTo>
                    <a:pt x="2350304" y="3481964"/>
                    <a:pt x="2264131" y="3399707"/>
                    <a:pt x="2157831" y="3399707"/>
                  </a:cubicBezTo>
                  <a:close/>
                  <a:moveTo>
                    <a:pt x="3907591" y="1579947"/>
                  </a:moveTo>
                  <a:lnTo>
                    <a:pt x="4607493" y="1579947"/>
                  </a:lnTo>
                  <a:lnTo>
                    <a:pt x="4607493" y="2279850"/>
                  </a:lnTo>
                  <a:lnTo>
                    <a:pt x="3907591" y="2279850"/>
                  </a:lnTo>
                  <a:close/>
                  <a:moveTo>
                    <a:pt x="3102704" y="1579947"/>
                  </a:moveTo>
                  <a:lnTo>
                    <a:pt x="3802606" y="1579947"/>
                  </a:lnTo>
                  <a:lnTo>
                    <a:pt x="3802606" y="2279850"/>
                  </a:lnTo>
                  <a:lnTo>
                    <a:pt x="3102704" y="2279850"/>
                  </a:lnTo>
                  <a:close/>
                  <a:moveTo>
                    <a:pt x="2315309" y="1579947"/>
                  </a:moveTo>
                  <a:lnTo>
                    <a:pt x="3015211" y="1579947"/>
                  </a:lnTo>
                  <a:lnTo>
                    <a:pt x="3015211" y="2279850"/>
                  </a:lnTo>
                  <a:lnTo>
                    <a:pt x="2315309" y="2279850"/>
                  </a:lnTo>
                  <a:close/>
                  <a:moveTo>
                    <a:pt x="1510422" y="1579947"/>
                  </a:moveTo>
                  <a:lnTo>
                    <a:pt x="2210324" y="1579947"/>
                  </a:lnTo>
                  <a:lnTo>
                    <a:pt x="2210324" y="2279850"/>
                  </a:lnTo>
                  <a:lnTo>
                    <a:pt x="1510422" y="2279850"/>
                  </a:lnTo>
                  <a:close/>
                  <a:moveTo>
                    <a:pt x="705534" y="1579947"/>
                  </a:moveTo>
                  <a:lnTo>
                    <a:pt x="1405436" y="1579947"/>
                  </a:lnTo>
                  <a:lnTo>
                    <a:pt x="1405436" y="2279850"/>
                  </a:lnTo>
                  <a:lnTo>
                    <a:pt x="705534" y="2279850"/>
                  </a:lnTo>
                  <a:close/>
                  <a:moveTo>
                    <a:pt x="6082271" y="862558"/>
                  </a:moveTo>
                  <a:cubicBezTo>
                    <a:pt x="6278056" y="1019026"/>
                    <a:pt x="6590560" y="1347181"/>
                    <a:pt x="6535589" y="1754155"/>
                  </a:cubicBezTo>
                  <a:cubicBezTo>
                    <a:pt x="6778063" y="1636706"/>
                    <a:pt x="7200507" y="1574275"/>
                    <a:pt x="7529578" y="1761959"/>
                  </a:cubicBezTo>
                  <a:cubicBezTo>
                    <a:pt x="7326262" y="2168543"/>
                    <a:pt x="6872190" y="2285602"/>
                    <a:pt x="6394775" y="2238778"/>
                  </a:cubicBezTo>
                  <a:cubicBezTo>
                    <a:pt x="5729856" y="3982564"/>
                    <a:pt x="4226825" y="4764516"/>
                    <a:pt x="2451200" y="4764516"/>
                  </a:cubicBezTo>
                  <a:cubicBezTo>
                    <a:pt x="1613840" y="4764516"/>
                    <a:pt x="941391" y="4483185"/>
                    <a:pt x="518946" y="4005975"/>
                  </a:cubicBezTo>
                  <a:lnTo>
                    <a:pt x="518946" y="3998172"/>
                  </a:lnTo>
                  <a:cubicBezTo>
                    <a:pt x="499367" y="3975930"/>
                    <a:pt x="420300" y="3893989"/>
                    <a:pt x="400721" y="3872918"/>
                  </a:cubicBezTo>
                  <a:cubicBezTo>
                    <a:pt x="362318" y="3810487"/>
                    <a:pt x="323160" y="3748056"/>
                    <a:pt x="283250" y="3693428"/>
                  </a:cubicBezTo>
                  <a:cubicBezTo>
                    <a:pt x="262165" y="3656750"/>
                    <a:pt x="241834" y="3620462"/>
                    <a:pt x="220749" y="3583783"/>
                  </a:cubicBezTo>
                  <a:cubicBezTo>
                    <a:pt x="49061" y="3239631"/>
                    <a:pt x="-29254" y="2840851"/>
                    <a:pt x="9903" y="2403051"/>
                  </a:cubicBezTo>
                  <a:lnTo>
                    <a:pt x="5143252" y="2403051"/>
                  </a:lnTo>
                  <a:cubicBezTo>
                    <a:pt x="5565697" y="2403051"/>
                    <a:pt x="5979859" y="2246582"/>
                    <a:pt x="6175645" y="2074506"/>
                  </a:cubicBezTo>
                  <a:cubicBezTo>
                    <a:pt x="5823231" y="1793175"/>
                    <a:pt x="5863141" y="1120477"/>
                    <a:pt x="6082271" y="862558"/>
                  </a:cubicBezTo>
                  <a:close/>
                  <a:moveTo>
                    <a:pt x="3102704" y="792564"/>
                  </a:moveTo>
                  <a:lnTo>
                    <a:pt x="3802606" y="792564"/>
                  </a:lnTo>
                  <a:lnTo>
                    <a:pt x="3802606" y="1492467"/>
                  </a:lnTo>
                  <a:lnTo>
                    <a:pt x="3102704" y="1492467"/>
                  </a:lnTo>
                  <a:close/>
                  <a:moveTo>
                    <a:pt x="2315309" y="792564"/>
                  </a:moveTo>
                  <a:lnTo>
                    <a:pt x="3015211" y="792564"/>
                  </a:lnTo>
                  <a:lnTo>
                    <a:pt x="3015211" y="1492467"/>
                  </a:lnTo>
                  <a:lnTo>
                    <a:pt x="2315309" y="1492467"/>
                  </a:lnTo>
                  <a:close/>
                  <a:moveTo>
                    <a:pt x="1510422" y="792564"/>
                  </a:moveTo>
                  <a:lnTo>
                    <a:pt x="2210324" y="792564"/>
                  </a:lnTo>
                  <a:lnTo>
                    <a:pt x="2210324" y="1492467"/>
                  </a:lnTo>
                  <a:lnTo>
                    <a:pt x="1510422" y="1492467"/>
                  </a:lnTo>
                  <a:close/>
                  <a:moveTo>
                    <a:pt x="3102704" y="0"/>
                  </a:moveTo>
                  <a:lnTo>
                    <a:pt x="3802606" y="0"/>
                  </a:lnTo>
                  <a:lnTo>
                    <a:pt x="3802606" y="699903"/>
                  </a:lnTo>
                  <a:lnTo>
                    <a:pt x="3102704" y="699903"/>
                  </a:lnTo>
                  <a:close/>
                </a:path>
              </a:pathLst>
            </a:custGeom>
            <a:solidFill>
              <a:srgbClr val="0178D7"/>
            </a:solidFill>
            <a:ln w="10795" cap="flat" cmpd="sng" algn="ctr">
              <a:noFill/>
              <a:prstDash val="solid"/>
            </a:ln>
            <a:effectLst/>
          </p:spPr>
          <p:txBody>
            <a:bodyPr rtlCol="0" anchor="ctr"/>
            <a:lstStyle/>
            <a:p>
              <a:pPr algn="ctr" defTabSz="932418">
                <a:defRPr/>
              </a:pPr>
              <a:endParaRPr lang="en-US" sz="1836" kern="0" dirty="0">
                <a:solidFill>
                  <a:prstClr val="white"/>
                </a:solidFill>
                <a:latin typeface="Segoe UI"/>
              </a:endParaRPr>
            </a:p>
          </p:txBody>
        </p:sp>
        <p:pic>
          <p:nvPicPr>
            <p:cNvPr id="122" name="Picture 121">
              <a:extLst>
                <a:ext uri="{FF2B5EF4-FFF2-40B4-BE49-F238E27FC236}">
                  <a16:creationId xmlns:a16="http://schemas.microsoft.com/office/drawing/2014/main" id="{7BA4BC3A-07B3-4AD2-B242-F0637200EBE0}"/>
                </a:ext>
              </a:extLst>
            </p:cNvPr>
            <p:cNvPicPr>
              <a:picLocks noChangeAspect="1"/>
            </p:cNvPicPr>
            <p:nvPr/>
          </p:nvPicPr>
          <p:blipFill>
            <a:blip r:embed="rId3" cstate="print">
              <a:duotone>
                <a:srgbClr val="0078D7">
                  <a:shade val="45000"/>
                  <a:satMod val="135000"/>
                </a:srgbClr>
                <a:prstClr val="white"/>
              </a:duotone>
              <a:lum bright="14000" contrast="20000"/>
              <a:extLst>
                <a:ext uri="{28A0092B-C50C-407E-A947-70E740481C1C}">
                  <a14:useLocalDpi xmlns:a14="http://schemas.microsoft.com/office/drawing/2010/main" val="0"/>
                </a:ext>
              </a:extLst>
            </a:blip>
            <a:stretch>
              <a:fillRect/>
            </a:stretch>
          </p:blipFill>
          <p:spPr>
            <a:xfrm>
              <a:off x="6576577" y="3318208"/>
              <a:ext cx="431356" cy="504999"/>
            </a:xfrm>
            <a:prstGeom prst="rect">
              <a:avLst/>
            </a:prstGeom>
          </p:spPr>
        </p:pic>
      </p:grpSp>
      <p:sp>
        <p:nvSpPr>
          <p:cNvPr id="225" name="Rectangle 224">
            <a:extLst>
              <a:ext uri="{FF2B5EF4-FFF2-40B4-BE49-F238E27FC236}">
                <a16:creationId xmlns:a16="http://schemas.microsoft.com/office/drawing/2014/main" id="{4BB33C8A-4342-4DA4-A9B6-EDCDC0ACFFF4}"/>
              </a:ext>
            </a:extLst>
          </p:cNvPr>
          <p:cNvSpPr/>
          <p:nvPr/>
        </p:nvSpPr>
        <p:spPr>
          <a:xfrm>
            <a:off x="5112000" y="4371063"/>
            <a:ext cx="1285928" cy="246221"/>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Modern Platforms</a:t>
            </a:r>
          </a:p>
        </p:txBody>
      </p:sp>
      <p:sp>
        <p:nvSpPr>
          <p:cNvPr id="226" name="Rectangle 225">
            <a:extLst>
              <a:ext uri="{FF2B5EF4-FFF2-40B4-BE49-F238E27FC236}">
                <a16:creationId xmlns:a16="http://schemas.microsoft.com/office/drawing/2014/main" id="{DDE076D6-3A61-462B-8DD2-786AFC380478}"/>
              </a:ext>
            </a:extLst>
          </p:cNvPr>
          <p:cNvSpPr/>
          <p:nvPr/>
        </p:nvSpPr>
        <p:spPr>
          <a:xfrm>
            <a:off x="626197" y="3955199"/>
            <a:ext cx="2775120" cy="246221"/>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Built-in Machine Learning and Extensibility</a:t>
            </a:r>
          </a:p>
        </p:txBody>
      </p:sp>
      <p:pic>
        <p:nvPicPr>
          <p:cNvPr id="118" name="Picture 117">
            <a:extLst>
              <a:ext uri="{FF2B5EF4-FFF2-40B4-BE49-F238E27FC236}">
                <a16:creationId xmlns:a16="http://schemas.microsoft.com/office/drawing/2014/main" id="{AA1EF8F0-5783-4163-AAD7-6A3128165E5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90220" y="4806128"/>
            <a:ext cx="571875" cy="424535"/>
          </a:xfrm>
          <a:prstGeom prst="rect">
            <a:avLst/>
          </a:prstGeom>
        </p:spPr>
      </p:pic>
      <p:grpSp>
        <p:nvGrpSpPr>
          <p:cNvPr id="154" name="Group 153">
            <a:extLst>
              <a:ext uri="{FF2B5EF4-FFF2-40B4-BE49-F238E27FC236}">
                <a16:creationId xmlns:a16="http://schemas.microsoft.com/office/drawing/2014/main" id="{CBBD72D2-4E86-4C5D-9A9D-58D71900A18D}"/>
              </a:ext>
            </a:extLst>
          </p:cNvPr>
          <p:cNvGrpSpPr/>
          <p:nvPr/>
        </p:nvGrpSpPr>
        <p:grpSpPr>
          <a:xfrm>
            <a:off x="704684" y="1670068"/>
            <a:ext cx="958356" cy="847805"/>
            <a:chOff x="828502" y="2442332"/>
            <a:chExt cx="958356" cy="847805"/>
          </a:xfrm>
        </p:grpSpPr>
        <p:sp>
          <p:nvSpPr>
            <p:cNvPr id="156" name="Rectangle 9">
              <a:extLst>
                <a:ext uri="{FF2B5EF4-FFF2-40B4-BE49-F238E27FC236}">
                  <a16:creationId xmlns:a16="http://schemas.microsoft.com/office/drawing/2014/main" id="{1BE92B64-40BD-402C-B30B-1B487EED07C0}"/>
                </a:ext>
              </a:extLst>
            </p:cNvPr>
            <p:cNvSpPr>
              <a:spLocks noChangeArrowheads="1"/>
            </p:cNvSpPr>
            <p:nvPr/>
          </p:nvSpPr>
          <p:spPr bwMode="auto">
            <a:xfrm flipH="1">
              <a:off x="828502" y="2442332"/>
              <a:ext cx="958356" cy="725537"/>
            </a:xfrm>
            <a:prstGeom prst="rect">
              <a:avLst/>
            </a:prstGeom>
            <a:noFill/>
            <a:ln w="1270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nvGrpSpPr>
            <p:cNvPr id="157" name="Group 156">
              <a:extLst>
                <a:ext uri="{FF2B5EF4-FFF2-40B4-BE49-F238E27FC236}">
                  <a16:creationId xmlns:a16="http://schemas.microsoft.com/office/drawing/2014/main" id="{77C0C3A9-8026-444D-A350-CABCE31AB0CB}"/>
                </a:ext>
              </a:extLst>
            </p:cNvPr>
            <p:cNvGrpSpPr/>
            <p:nvPr/>
          </p:nvGrpSpPr>
          <p:grpSpPr>
            <a:xfrm>
              <a:off x="987946" y="2622583"/>
              <a:ext cx="639468" cy="329711"/>
              <a:chOff x="945805" y="2588594"/>
              <a:chExt cx="721336" cy="371920"/>
            </a:xfrm>
          </p:grpSpPr>
          <p:sp>
            <p:nvSpPr>
              <p:cNvPr id="159" name="Freeform: Shape 175">
                <a:extLst>
                  <a:ext uri="{FF2B5EF4-FFF2-40B4-BE49-F238E27FC236}">
                    <a16:creationId xmlns:a16="http://schemas.microsoft.com/office/drawing/2014/main" id="{24A7557D-09C5-4F6A-A7B0-F9B64A200A16}"/>
                  </a:ext>
                </a:extLst>
              </p:cNvPr>
              <p:cNvSpPr/>
              <p:nvPr/>
            </p:nvSpPr>
            <p:spPr bwMode="auto">
              <a:xfrm rot="10800000" flipV="1">
                <a:off x="1214129" y="2588594"/>
                <a:ext cx="187935" cy="146655"/>
              </a:xfrm>
              <a:custGeom>
                <a:avLst/>
                <a:gdLst>
                  <a:gd name="connsiteX0" fmla="*/ 62448 w 640198"/>
                  <a:gd name="connsiteY0" fmla="*/ 117955 h 499576"/>
                  <a:gd name="connsiteX1" fmla="*/ 62448 w 640198"/>
                  <a:gd name="connsiteY1" fmla="*/ 437130 h 499576"/>
                  <a:gd name="connsiteX2" fmla="*/ 304996 w 640198"/>
                  <a:gd name="connsiteY2" fmla="*/ 437130 h 499576"/>
                  <a:gd name="connsiteX3" fmla="*/ 306418 w 640198"/>
                  <a:gd name="connsiteY3" fmla="*/ 446720 h 499576"/>
                  <a:gd name="connsiteX4" fmla="*/ 386035 w 640198"/>
                  <a:gd name="connsiteY4" fmla="*/ 446720 h 499576"/>
                  <a:gd name="connsiteX5" fmla="*/ 384612 w 640198"/>
                  <a:gd name="connsiteY5" fmla="*/ 437130 h 499576"/>
                  <a:gd name="connsiteX6" fmla="*/ 577752 w 640198"/>
                  <a:gd name="connsiteY6" fmla="*/ 437130 h 499576"/>
                  <a:gd name="connsiteX7" fmla="*/ 577752 w 640198"/>
                  <a:gd name="connsiteY7" fmla="*/ 394344 h 499576"/>
                  <a:gd name="connsiteX8" fmla="*/ 584224 w 640198"/>
                  <a:gd name="connsiteY8" fmla="*/ 396513 h 499576"/>
                  <a:gd name="connsiteX9" fmla="*/ 584224 w 640198"/>
                  <a:gd name="connsiteY9" fmla="*/ 313452 h 499576"/>
                  <a:gd name="connsiteX10" fmla="*/ 577752 w 640198"/>
                  <a:gd name="connsiteY10" fmla="*/ 311282 h 499576"/>
                  <a:gd name="connsiteX11" fmla="*/ 577752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384612 w 640198"/>
                  <a:gd name="connsiteY4" fmla="*/ 437130 h 499576"/>
                  <a:gd name="connsiteX5" fmla="*/ 577752 w 640198"/>
                  <a:gd name="connsiteY5" fmla="*/ 437130 h 499576"/>
                  <a:gd name="connsiteX6" fmla="*/ 577752 w 640198"/>
                  <a:gd name="connsiteY6" fmla="*/ 394344 h 499576"/>
                  <a:gd name="connsiteX7" fmla="*/ 584224 w 640198"/>
                  <a:gd name="connsiteY7" fmla="*/ 396513 h 499576"/>
                  <a:gd name="connsiteX8" fmla="*/ 584224 w 640198"/>
                  <a:gd name="connsiteY8" fmla="*/ 313452 h 499576"/>
                  <a:gd name="connsiteX9" fmla="*/ 577752 w 640198"/>
                  <a:gd name="connsiteY9" fmla="*/ 311282 h 499576"/>
                  <a:gd name="connsiteX10" fmla="*/ 577752 w 640198"/>
                  <a:gd name="connsiteY10" fmla="*/ 117955 h 499576"/>
                  <a:gd name="connsiteX11" fmla="*/ 62448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24" fmla="*/ 0 w 640198"/>
                  <a:gd name="connsiteY24" fmla="*/ 0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577752 w 640198"/>
                  <a:gd name="connsiteY4" fmla="*/ 437130 h 499576"/>
                  <a:gd name="connsiteX5" fmla="*/ 577752 w 640198"/>
                  <a:gd name="connsiteY5" fmla="*/ 394344 h 499576"/>
                  <a:gd name="connsiteX6" fmla="*/ 584224 w 640198"/>
                  <a:gd name="connsiteY6" fmla="*/ 396513 h 499576"/>
                  <a:gd name="connsiteX7" fmla="*/ 584224 w 640198"/>
                  <a:gd name="connsiteY7" fmla="*/ 313452 h 499576"/>
                  <a:gd name="connsiteX8" fmla="*/ 577752 w 640198"/>
                  <a:gd name="connsiteY8" fmla="*/ 311282 h 499576"/>
                  <a:gd name="connsiteX9" fmla="*/ 577752 w 640198"/>
                  <a:gd name="connsiteY9" fmla="*/ 117955 h 499576"/>
                  <a:gd name="connsiteX10" fmla="*/ 62448 w 640198"/>
                  <a:gd name="connsiteY10" fmla="*/ 117955 h 499576"/>
                  <a:gd name="connsiteX11" fmla="*/ 0 w 640198"/>
                  <a:gd name="connsiteY11" fmla="*/ 0 h 499576"/>
                  <a:gd name="connsiteX12" fmla="*/ 640198 w 640198"/>
                  <a:gd name="connsiteY12" fmla="*/ 0 h 499576"/>
                  <a:gd name="connsiteX13" fmla="*/ 640198 w 640198"/>
                  <a:gd name="connsiteY13" fmla="*/ 332213 h 499576"/>
                  <a:gd name="connsiteX14" fmla="*/ 629943 w 640198"/>
                  <a:gd name="connsiteY14" fmla="*/ 328776 h 499576"/>
                  <a:gd name="connsiteX15" fmla="*/ 629943 w 640198"/>
                  <a:gd name="connsiteY15" fmla="*/ 411837 h 499576"/>
                  <a:gd name="connsiteX16" fmla="*/ 640198 w 640198"/>
                  <a:gd name="connsiteY16" fmla="*/ 415274 h 499576"/>
                  <a:gd name="connsiteX17" fmla="*/ 640198 w 640198"/>
                  <a:gd name="connsiteY17" fmla="*/ 499576 h 499576"/>
                  <a:gd name="connsiteX18" fmla="*/ 393877 w 640198"/>
                  <a:gd name="connsiteY18" fmla="*/ 499576 h 499576"/>
                  <a:gd name="connsiteX19" fmla="*/ 392818 w 640198"/>
                  <a:gd name="connsiteY19" fmla="*/ 492439 h 499576"/>
                  <a:gd name="connsiteX20" fmla="*/ 313201 w 640198"/>
                  <a:gd name="connsiteY20" fmla="*/ 492439 h 499576"/>
                  <a:gd name="connsiteX21" fmla="*/ 314260 w 640198"/>
                  <a:gd name="connsiteY21" fmla="*/ 499576 h 499576"/>
                  <a:gd name="connsiteX22" fmla="*/ 0 w 640198"/>
                  <a:gd name="connsiteY22" fmla="*/ 499576 h 499576"/>
                  <a:gd name="connsiteX23" fmla="*/ 0 w 640198"/>
                  <a:gd name="connsiteY23" fmla="*/ 0 h 499576"/>
                  <a:gd name="connsiteX0" fmla="*/ 62448 w 640198"/>
                  <a:gd name="connsiteY0" fmla="*/ 117955 h 499576"/>
                  <a:gd name="connsiteX1" fmla="*/ 62448 w 640198"/>
                  <a:gd name="connsiteY1" fmla="*/ 437130 h 499576"/>
                  <a:gd name="connsiteX2" fmla="*/ 304996 w 640198"/>
                  <a:gd name="connsiteY2" fmla="*/ 437130 h 499576"/>
                  <a:gd name="connsiteX3" fmla="*/ 577752 w 640198"/>
                  <a:gd name="connsiteY3" fmla="*/ 437130 h 499576"/>
                  <a:gd name="connsiteX4" fmla="*/ 577752 w 640198"/>
                  <a:gd name="connsiteY4" fmla="*/ 394344 h 499576"/>
                  <a:gd name="connsiteX5" fmla="*/ 584224 w 640198"/>
                  <a:gd name="connsiteY5" fmla="*/ 396513 h 499576"/>
                  <a:gd name="connsiteX6" fmla="*/ 584224 w 640198"/>
                  <a:gd name="connsiteY6" fmla="*/ 313452 h 499576"/>
                  <a:gd name="connsiteX7" fmla="*/ 577752 w 640198"/>
                  <a:gd name="connsiteY7" fmla="*/ 311282 h 499576"/>
                  <a:gd name="connsiteX8" fmla="*/ 577752 w 640198"/>
                  <a:gd name="connsiteY8" fmla="*/ 117955 h 499576"/>
                  <a:gd name="connsiteX9" fmla="*/ 62448 w 640198"/>
                  <a:gd name="connsiteY9" fmla="*/ 117955 h 499576"/>
                  <a:gd name="connsiteX10" fmla="*/ 0 w 640198"/>
                  <a:gd name="connsiteY10" fmla="*/ 0 h 499576"/>
                  <a:gd name="connsiteX11" fmla="*/ 640198 w 640198"/>
                  <a:gd name="connsiteY11" fmla="*/ 0 h 499576"/>
                  <a:gd name="connsiteX12" fmla="*/ 640198 w 640198"/>
                  <a:gd name="connsiteY12" fmla="*/ 332213 h 499576"/>
                  <a:gd name="connsiteX13" fmla="*/ 629943 w 640198"/>
                  <a:gd name="connsiteY13" fmla="*/ 328776 h 499576"/>
                  <a:gd name="connsiteX14" fmla="*/ 629943 w 640198"/>
                  <a:gd name="connsiteY14" fmla="*/ 411837 h 499576"/>
                  <a:gd name="connsiteX15" fmla="*/ 640198 w 640198"/>
                  <a:gd name="connsiteY15" fmla="*/ 415274 h 499576"/>
                  <a:gd name="connsiteX16" fmla="*/ 640198 w 640198"/>
                  <a:gd name="connsiteY16" fmla="*/ 499576 h 499576"/>
                  <a:gd name="connsiteX17" fmla="*/ 393877 w 640198"/>
                  <a:gd name="connsiteY17" fmla="*/ 499576 h 499576"/>
                  <a:gd name="connsiteX18" fmla="*/ 392818 w 640198"/>
                  <a:gd name="connsiteY18" fmla="*/ 492439 h 499576"/>
                  <a:gd name="connsiteX19" fmla="*/ 313201 w 640198"/>
                  <a:gd name="connsiteY19" fmla="*/ 492439 h 499576"/>
                  <a:gd name="connsiteX20" fmla="*/ 314260 w 640198"/>
                  <a:gd name="connsiteY20" fmla="*/ 499576 h 499576"/>
                  <a:gd name="connsiteX21" fmla="*/ 0 w 640198"/>
                  <a:gd name="connsiteY21" fmla="*/ 499576 h 499576"/>
                  <a:gd name="connsiteX22" fmla="*/ 0 w 640198"/>
                  <a:gd name="connsiteY2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311282 h 499576"/>
                  <a:gd name="connsiteX7" fmla="*/ 577752 w 640198"/>
                  <a:gd name="connsiteY7" fmla="*/ 117955 h 499576"/>
                  <a:gd name="connsiteX8" fmla="*/ 62448 w 640198"/>
                  <a:gd name="connsiteY8" fmla="*/ 117955 h 499576"/>
                  <a:gd name="connsiteX9" fmla="*/ 0 w 640198"/>
                  <a:gd name="connsiteY9" fmla="*/ 0 h 499576"/>
                  <a:gd name="connsiteX10" fmla="*/ 640198 w 640198"/>
                  <a:gd name="connsiteY10" fmla="*/ 0 h 499576"/>
                  <a:gd name="connsiteX11" fmla="*/ 640198 w 640198"/>
                  <a:gd name="connsiteY11" fmla="*/ 332213 h 499576"/>
                  <a:gd name="connsiteX12" fmla="*/ 629943 w 640198"/>
                  <a:gd name="connsiteY12" fmla="*/ 328776 h 499576"/>
                  <a:gd name="connsiteX13" fmla="*/ 629943 w 640198"/>
                  <a:gd name="connsiteY13" fmla="*/ 411837 h 499576"/>
                  <a:gd name="connsiteX14" fmla="*/ 640198 w 640198"/>
                  <a:gd name="connsiteY14" fmla="*/ 415274 h 499576"/>
                  <a:gd name="connsiteX15" fmla="*/ 640198 w 640198"/>
                  <a:gd name="connsiteY15" fmla="*/ 499576 h 499576"/>
                  <a:gd name="connsiteX16" fmla="*/ 393877 w 640198"/>
                  <a:gd name="connsiteY16" fmla="*/ 499576 h 499576"/>
                  <a:gd name="connsiteX17" fmla="*/ 392818 w 640198"/>
                  <a:gd name="connsiteY17" fmla="*/ 492439 h 499576"/>
                  <a:gd name="connsiteX18" fmla="*/ 313201 w 640198"/>
                  <a:gd name="connsiteY18" fmla="*/ 492439 h 499576"/>
                  <a:gd name="connsiteX19" fmla="*/ 314260 w 640198"/>
                  <a:gd name="connsiteY19" fmla="*/ 499576 h 499576"/>
                  <a:gd name="connsiteX20" fmla="*/ 0 w 640198"/>
                  <a:gd name="connsiteY20" fmla="*/ 499576 h 499576"/>
                  <a:gd name="connsiteX21" fmla="*/ 0 w 640198"/>
                  <a:gd name="connsiteY2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117955 h 499576"/>
                  <a:gd name="connsiteX7" fmla="*/ 62448 w 640198"/>
                  <a:gd name="connsiteY7" fmla="*/ 117955 h 499576"/>
                  <a:gd name="connsiteX8" fmla="*/ 0 w 640198"/>
                  <a:gd name="connsiteY8" fmla="*/ 0 h 499576"/>
                  <a:gd name="connsiteX9" fmla="*/ 640198 w 640198"/>
                  <a:gd name="connsiteY9" fmla="*/ 0 h 499576"/>
                  <a:gd name="connsiteX10" fmla="*/ 640198 w 640198"/>
                  <a:gd name="connsiteY10" fmla="*/ 332213 h 499576"/>
                  <a:gd name="connsiteX11" fmla="*/ 629943 w 640198"/>
                  <a:gd name="connsiteY11" fmla="*/ 328776 h 499576"/>
                  <a:gd name="connsiteX12" fmla="*/ 629943 w 640198"/>
                  <a:gd name="connsiteY12" fmla="*/ 411837 h 499576"/>
                  <a:gd name="connsiteX13" fmla="*/ 640198 w 640198"/>
                  <a:gd name="connsiteY13" fmla="*/ 415274 h 499576"/>
                  <a:gd name="connsiteX14" fmla="*/ 640198 w 640198"/>
                  <a:gd name="connsiteY14" fmla="*/ 499576 h 499576"/>
                  <a:gd name="connsiteX15" fmla="*/ 393877 w 640198"/>
                  <a:gd name="connsiteY15" fmla="*/ 499576 h 499576"/>
                  <a:gd name="connsiteX16" fmla="*/ 392818 w 640198"/>
                  <a:gd name="connsiteY16" fmla="*/ 492439 h 499576"/>
                  <a:gd name="connsiteX17" fmla="*/ 313201 w 640198"/>
                  <a:gd name="connsiteY17" fmla="*/ 492439 h 499576"/>
                  <a:gd name="connsiteX18" fmla="*/ 314260 w 640198"/>
                  <a:gd name="connsiteY18" fmla="*/ 499576 h 499576"/>
                  <a:gd name="connsiteX19" fmla="*/ 0 w 640198"/>
                  <a:gd name="connsiteY19" fmla="*/ 499576 h 499576"/>
                  <a:gd name="connsiteX20" fmla="*/ 0 w 640198"/>
                  <a:gd name="connsiteY2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77752 w 640198"/>
                  <a:gd name="connsiteY5" fmla="*/ 117955 h 499576"/>
                  <a:gd name="connsiteX6" fmla="*/ 62448 w 640198"/>
                  <a:gd name="connsiteY6" fmla="*/ 117955 h 499576"/>
                  <a:gd name="connsiteX7" fmla="*/ 0 w 640198"/>
                  <a:gd name="connsiteY7" fmla="*/ 0 h 499576"/>
                  <a:gd name="connsiteX8" fmla="*/ 640198 w 640198"/>
                  <a:gd name="connsiteY8" fmla="*/ 0 h 499576"/>
                  <a:gd name="connsiteX9" fmla="*/ 640198 w 640198"/>
                  <a:gd name="connsiteY9" fmla="*/ 332213 h 499576"/>
                  <a:gd name="connsiteX10" fmla="*/ 629943 w 640198"/>
                  <a:gd name="connsiteY10" fmla="*/ 328776 h 499576"/>
                  <a:gd name="connsiteX11" fmla="*/ 629943 w 640198"/>
                  <a:gd name="connsiteY11" fmla="*/ 411837 h 499576"/>
                  <a:gd name="connsiteX12" fmla="*/ 640198 w 640198"/>
                  <a:gd name="connsiteY12" fmla="*/ 415274 h 499576"/>
                  <a:gd name="connsiteX13" fmla="*/ 640198 w 640198"/>
                  <a:gd name="connsiteY13" fmla="*/ 499576 h 499576"/>
                  <a:gd name="connsiteX14" fmla="*/ 393877 w 640198"/>
                  <a:gd name="connsiteY14" fmla="*/ 499576 h 499576"/>
                  <a:gd name="connsiteX15" fmla="*/ 392818 w 640198"/>
                  <a:gd name="connsiteY15" fmla="*/ 492439 h 499576"/>
                  <a:gd name="connsiteX16" fmla="*/ 313201 w 640198"/>
                  <a:gd name="connsiteY16" fmla="*/ 492439 h 499576"/>
                  <a:gd name="connsiteX17" fmla="*/ 314260 w 640198"/>
                  <a:gd name="connsiteY17" fmla="*/ 499576 h 499576"/>
                  <a:gd name="connsiteX18" fmla="*/ 0 w 640198"/>
                  <a:gd name="connsiteY18" fmla="*/ 499576 h 499576"/>
                  <a:gd name="connsiteX19" fmla="*/ 0 w 640198"/>
                  <a:gd name="connsiteY19"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77752 w 640198"/>
                  <a:gd name="connsiteY4" fmla="*/ 117955 h 499576"/>
                  <a:gd name="connsiteX5" fmla="*/ 62448 w 640198"/>
                  <a:gd name="connsiteY5" fmla="*/ 117955 h 499576"/>
                  <a:gd name="connsiteX6" fmla="*/ 0 w 640198"/>
                  <a:gd name="connsiteY6" fmla="*/ 0 h 499576"/>
                  <a:gd name="connsiteX7" fmla="*/ 640198 w 640198"/>
                  <a:gd name="connsiteY7" fmla="*/ 0 h 499576"/>
                  <a:gd name="connsiteX8" fmla="*/ 640198 w 640198"/>
                  <a:gd name="connsiteY8" fmla="*/ 332213 h 499576"/>
                  <a:gd name="connsiteX9" fmla="*/ 629943 w 640198"/>
                  <a:gd name="connsiteY9" fmla="*/ 328776 h 499576"/>
                  <a:gd name="connsiteX10" fmla="*/ 629943 w 640198"/>
                  <a:gd name="connsiteY10" fmla="*/ 411837 h 499576"/>
                  <a:gd name="connsiteX11" fmla="*/ 640198 w 640198"/>
                  <a:gd name="connsiteY11" fmla="*/ 415274 h 499576"/>
                  <a:gd name="connsiteX12" fmla="*/ 640198 w 640198"/>
                  <a:gd name="connsiteY12" fmla="*/ 499576 h 499576"/>
                  <a:gd name="connsiteX13" fmla="*/ 393877 w 640198"/>
                  <a:gd name="connsiteY13" fmla="*/ 499576 h 499576"/>
                  <a:gd name="connsiteX14" fmla="*/ 392818 w 640198"/>
                  <a:gd name="connsiteY14" fmla="*/ 492439 h 499576"/>
                  <a:gd name="connsiteX15" fmla="*/ 313201 w 640198"/>
                  <a:gd name="connsiteY15" fmla="*/ 492439 h 499576"/>
                  <a:gd name="connsiteX16" fmla="*/ 314260 w 640198"/>
                  <a:gd name="connsiteY16" fmla="*/ 499576 h 499576"/>
                  <a:gd name="connsiteX17" fmla="*/ 0 w 640198"/>
                  <a:gd name="connsiteY17" fmla="*/ 499576 h 499576"/>
                  <a:gd name="connsiteX18" fmla="*/ 0 w 640198"/>
                  <a:gd name="connsiteY18"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328776 h 499576"/>
                  <a:gd name="connsiteX9" fmla="*/ 629943 w 640198"/>
                  <a:gd name="connsiteY9" fmla="*/ 411837 h 499576"/>
                  <a:gd name="connsiteX10" fmla="*/ 640198 w 640198"/>
                  <a:gd name="connsiteY10" fmla="*/ 415274 h 499576"/>
                  <a:gd name="connsiteX11" fmla="*/ 640198 w 640198"/>
                  <a:gd name="connsiteY11" fmla="*/ 499576 h 499576"/>
                  <a:gd name="connsiteX12" fmla="*/ 393877 w 640198"/>
                  <a:gd name="connsiteY12" fmla="*/ 499576 h 499576"/>
                  <a:gd name="connsiteX13" fmla="*/ 392818 w 640198"/>
                  <a:gd name="connsiteY13" fmla="*/ 492439 h 499576"/>
                  <a:gd name="connsiteX14" fmla="*/ 313201 w 640198"/>
                  <a:gd name="connsiteY14" fmla="*/ 492439 h 499576"/>
                  <a:gd name="connsiteX15" fmla="*/ 314260 w 640198"/>
                  <a:gd name="connsiteY15" fmla="*/ 499576 h 499576"/>
                  <a:gd name="connsiteX16" fmla="*/ 0 w 640198"/>
                  <a:gd name="connsiteY16" fmla="*/ 499576 h 499576"/>
                  <a:gd name="connsiteX17" fmla="*/ 0 w 640198"/>
                  <a:gd name="connsiteY17"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411837 h 499576"/>
                  <a:gd name="connsiteX9" fmla="*/ 640198 w 640198"/>
                  <a:gd name="connsiteY9" fmla="*/ 415274 h 499576"/>
                  <a:gd name="connsiteX10" fmla="*/ 640198 w 640198"/>
                  <a:gd name="connsiteY10" fmla="*/ 499576 h 499576"/>
                  <a:gd name="connsiteX11" fmla="*/ 393877 w 640198"/>
                  <a:gd name="connsiteY11" fmla="*/ 499576 h 499576"/>
                  <a:gd name="connsiteX12" fmla="*/ 392818 w 640198"/>
                  <a:gd name="connsiteY12" fmla="*/ 492439 h 499576"/>
                  <a:gd name="connsiteX13" fmla="*/ 313201 w 640198"/>
                  <a:gd name="connsiteY13" fmla="*/ 492439 h 499576"/>
                  <a:gd name="connsiteX14" fmla="*/ 314260 w 640198"/>
                  <a:gd name="connsiteY14" fmla="*/ 499576 h 499576"/>
                  <a:gd name="connsiteX15" fmla="*/ 0 w 640198"/>
                  <a:gd name="connsiteY15" fmla="*/ 499576 h 499576"/>
                  <a:gd name="connsiteX16" fmla="*/ 0 w 640198"/>
                  <a:gd name="connsiteY16"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29943 w 640198"/>
                  <a:gd name="connsiteY7" fmla="*/ 411837 h 499576"/>
                  <a:gd name="connsiteX8" fmla="*/ 640198 w 640198"/>
                  <a:gd name="connsiteY8" fmla="*/ 415274 h 499576"/>
                  <a:gd name="connsiteX9" fmla="*/ 640198 w 640198"/>
                  <a:gd name="connsiteY9" fmla="*/ 499576 h 499576"/>
                  <a:gd name="connsiteX10" fmla="*/ 393877 w 640198"/>
                  <a:gd name="connsiteY10" fmla="*/ 499576 h 499576"/>
                  <a:gd name="connsiteX11" fmla="*/ 392818 w 640198"/>
                  <a:gd name="connsiteY11" fmla="*/ 492439 h 499576"/>
                  <a:gd name="connsiteX12" fmla="*/ 313201 w 640198"/>
                  <a:gd name="connsiteY12" fmla="*/ 492439 h 499576"/>
                  <a:gd name="connsiteX13" fmla="*/ 314260 w 640198"/>
                  <a:gd name="connsiteY13" fmla="*/ 499576 h 499576"/>
                  <a:gd name="connsiteX14" fmla="*/ 0 w 640198"/>
                  <a:gd name="connsiteY14" fmla="*/ 499576 h 499576"/>
                  <a:gd name="connsiteX15" fmla="*/ 0 w 640198"/>
                  <a:gd name="connsiteY15"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15274 h 499576"/>
                  <a:gd name="connsiteX8" fmla="*/ 640198 w 640198"/>
                  <a:gd name="connsiteY8" fmla="*/ 499576 h 499576"/>
                  <a:gd name="connsiteX9" fmla="*/ 393877 w 640198"/>
                  <a:gd name="connsiteY9" fmla="*/ 499576 h 499576"/>
                  <a:gd name="connsiteX10" fmla="*/ 392818 w 640198"/>
                  <a:gd name="connsiteY10" fmla="*/ 492439 h 499576"/>
                  <a:gd name="connsiteX11" fmla="*/ 313201 w 640198"/>
                  <a:gd name="connsiteY11" fmla="*/ 492439 h 499576"/>
                  <a:gd name="connsiteX12" fmla="*/ 314260 w 640198"/>
                  <a:gd name="connsiteY12" fmla="*/ 499576 h 499576"/>
                  <a:gd name="connsiteX13" fmla="*/ 0 w 640198"/>
                  <a:gd name="connsiteY13" fmla="*/ 499576 h 499576"/>
                  <a:gd name="connsiteX14" fmla="*/ 0 w 640198"/>
                  <a:gd name="connsiteY14"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314260 w 640198"/>
                  <a:gd name="connsiteY11" fmla="*/ 499576 h 499576"/>
                  <a:gd name="connsiteX12" fmla="*/ 0 w 640198"/>
                  <a:gd name="connsiteY12" fmla="*/ 499576 h 499576"/>
                  <a:gd name="connsiteX13" fmla="*/ 0 w 640198"/>
                  <a:gd name="connsiteY13"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0 w 640198"/>
                  <a:gd name="connsiteY11" fmla="*/ 499576 h 499576"/>
                  <a:gd name="connsiteX12" fmla="*/ 0 w 640198"/>
                  <a:gd name="connsiteY1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0 w 640198"/>
                  <a:gd name="connsiteY10" fmla="*/ 499576 h 499576"/>
                  <a:gd name="connsiteX11" fmla="*/ 0 w 640198"/>
                  <a:gd name="connsiteY1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0 w 640198"/>
                  <a:gd name="connsiteY9" fmla="*/ 499576 h 499576"/>
                  <a:gd name="connsiteX10" fmla="*/ 0 w 640198"/>
                  <a:gd name="connsiteY1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0 w 640198"/>
                  <a:gd name="connsiteY8" fmla="*/ 499576 h 499576"/>
                  <a:gd name="connsiteX9" fmla="*/ 0 w 640198"/>
                  <a:gd name="connsiteY9" fmla="*/ 0 h 499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198" h="499576">
                    <a:moveTo>
                      <a:pt x="62448" y="117955"/>
                    </a:moveTo>
                    <a:lnTo>
                      <a:pt x="62448" y="437130"/>
                    </a:lnTo>
                    <a:lnTo>
                      <a:pt x="577752" y="437130"/>
                    </a:lnTo>
                    <a:lnTo>
                      <a:pt x="577752" y="117955"/>
                    </a:lnTo>
                    <a:lnTo>
                      <a:pt x="62448" y="117955"/>
                    </a:lnTo>
                    <a:close/>
                    <a:moveTo>
                      <a:pt x="0" y="0"/>
                    </a:moveTo>
                    <a:lnTo>
                      <a:pt x="640198" y="0"/>
                    </a:lnTo>
                    <a:lnTo>
                      <a:pt x="640198" y="499576"/>
                    </a:lnTo>
                    <a:lnTo>
                      <a:pt x="0" y="499576"/>
                    </a:lnTo>
                    <a:lnTo>
                      <a:pt x="0" y="0"/>
                    </a:lnTo>
                    <a:close/>
                  </a:path>
                </a:pathLst>
              </a:custGeom>
              <a:solidFill>
                <a:schemeClr val="accent1"/>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nvGrpSpPr>
              <p:cNvPr id="160" name="Group 159">
                <a:extLst>
                  <a:ext uri="{FF2B5EF4-FFF2-40B4-BE49-F238E27FC236}">
                    <a16:creationId xmlns:a16="http://schemas.microsoft.com/office/drawing/2014/main" id="{0464BC0D-A77C-4572-A013-621E646245BC}"/>
                  </a:ext>
                </a:extLst>
              </p:cNvPr>
              <p:cNvGrpSpPr/>
              <p:nvPr/>
            </p:nvGrpSpPr>
            <p:grpSpPr>
              <a:xfrm>
                <a:off x="945805" y="2810039"/>
                <a:ext cx="721336" cy="150475"/>
                <a:chOff x="945805" y="2810039"/>
                <a:chExt cx="721336" cy="150475"/>
              </a:xfrm>
            </p:grpSpPr>
            <p:sp>
              <p:nvSpPr>
                <p:cNvPr id="161" name="Freeform: Shape 171">
                  <a:extLst>
                    <a:ext uri="{FF2B5EF4-FFF2-40B4-BE49-F238E27FC236}">
                      <a16:creationId xmlns:a16="http://schemas.microsoft.com/office/drawing/2014/main" id="{90810E96-FB88-47BE-A61D-53AA21AA87E2}"/>
                    </a:ext>
                  </a:extLst>
                </p:cNvPr>
                <p:cNvSpPr/>
                <p:nvPr/>
              </p:nvSpPr>
              <p:spPr bwMode="auto">
                <a:xfrm rot="10800000" flipV="1">
                  <a:off x="1214129" y="2813860"/>
                  <a:ext cx="187936" cy="146654"/>
                </a:xfrm>
                <a:custGeom>
                  <a:avLst/>
                  <a:gdLst>
                    <a:gd name="connsiteX0" fmla="*/ 62448 w 640198"/>
                    <a:gd name="connsiteY0" fmla="*/ 117955 h 499576"/>
                    <a:gd name="connsiteX1" fmla="*/ 62448 w 640198"/>
                    <a:gd name="connsiteY1" fmla="*/ 437130 h 499576"/>
                    <a:gd name="connsiteX2" fmla="*/ 304996 w 640198"/>
                    <a:gd name="connsiteY2" fmla="*/ 437130 h 499576"/>
                    <a:gd name="connsiteX3" fmla="*/ 306418 w 640198"/>
                    <a:gd name="connsiteY3" fmla="*/ 446720 h 499576"/>
                    <a:gd name="connsiteX4" fmla="*/ 386035 w 640198"/>
                    <a:gd name="connsiteY4" fmla="*/ 446720 h 499576"/>
                    <a:gd name="connsiteX5" fmla="*/ 384612 w 640198"/>
                    <a:gd name="connsiteY5" fmla="*/ 437130 h 499576"/>
                    <a:gd name="connsiteX6" fmla="*/ 577752 w 640198"/>
                    <a:gd name="connsiteY6" fmla="*/ 437130 h 499576"/>
                    <a:gd name="connsiteX7" fmla="*/ 577752 w 640198"/>
                    <a:gd name="connsiteY7" fmla="*/ 394344 h 499576"/>
                    <a:gd name="connsiteX8" fmla="*/ 584224 w 640198"/>
                    <a:gd name="connsiteY8" fmla="*/ 396513 h 499576"/>
                    <a:gd name="connsiteX9" fmla="*/ 584224 w 640198"/>
                    <a:gd name="connsiteY9" fmla="*/ 313452 h 499576"/>
                    <a:gd name="connsiteX10" fmla="*/ 577752 w 640198"/>
                    <a:gd name="connsiteY10" fmla="*/ 311282 h 499576"/>
                    <a:gd name="connsiteX11" fmla="*/ 577752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384612 w 640198"/>
                    <a:gd name="connsiteY4" fmla="*/ 437130 h 499576"/>
                    <a:gd name="connsiteX5" fmla="*/ 577752 w 640198"/>
                    <a:gd name="connsiteY5" fmla="*/ 437130 h 499576"/>
                    <a:gd name="connsiteX6" fmla="*/ 577752 w 640198"/>
                    <a:gd name="connsiteY6" fmla="*/ 394344 h 499576"/>
                    <a:gd name="connsiteX7" fmla="*/ 584224 w 640198"/>
                    <a:gd name="connsiteY7" fmla="*/ 396513 h 499576"/>
                    <a:gd name="connsiteX8" fmla="*/ 584224 w 640198"/>
                    <a:gd name="connsiteY8" fmla="*/ 313452 h 499576"/>
                    <a:gd name="connsiteX9" fmla="*/ 577752 w 640198"/>
                    <a:gd name="connsiteY9" fmla="*/ 311282 h 499576"/>
                    <a:gd name="connsiteX10" fmla="*/ 577752 w 640198"/>
                    <a:gd name="connsiteY10" fmla="*/ 117955 h 499576"/>
                    <a:gd name="connsiteX11" fmla="*/ 62448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24" fmla="*/ 0 w 640198"/>
                    <a:gd name="connsiteY24" fmla="*/ 0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577752 w 640198"/>
                    <a:gd name="connsiteY4" fmla="*/ 437130 h 499576"/>
                    <a:gd name="connsiteX5" fmla="*/ 577752 w 640198"/>
                    <a:gd name="connsiteY5" fmla="*/ 394344 h 499576"/>
                    <a:gd name="connsiteX6" fmla="*/ 584224 w 640198"/>
                    <a:gd name="connsiteY6" fmla="*/ 396513 h 499576"/>
                    <a:gd name="connsiteX7" fmla="*/ 584224 w 640198"/>
                    <a:gd name="connsiteY7" fmla="*/ 313452 h 499576"/>
                    <a:gd name="connsiteX8" fmla="*/ 577752 w 640198"/>
                    <a:gd name="connsiteY8" fmla="*/ 311282 h 499576"/>
                    <a:gd name="connsiteX9" fmla="*/ 577752 w 640198"/>
                    <a:gd name="connsiteY9" fmla="*/ 117955 h 499576"/>
                    <a:gd name="connsiteX10" fmla="*/ 62448 w 640198"/>
                    <a:gd name="connsiteY10" fmla="*/ 117955 h 499576"/>
                    <a:gd name="connsiteX11" fmla="*/ 0 w 640198"/>
                    <a:gd name="connsiteY11" fmla="*/ 0 h 499576"/>
                    <a:gd name="connsiteX12" fmla="*/ 640198 w 640198"/>
                    <a:gd name="connsiteY12" fmla="*/ 0 h 499576"/>
                    <a:gd name="connsiteX13" fmla="*/ 640198 w 640198"/>
                    <a:gd name="connsiteY13" fmla="*/ 332213 h 499576"/>
                    <a:gd name="connsiteX14" fmla="*/ 629943 w 640198"/>
                    <a:gd name="connsiteY14" fmla="*/ 328776 h 499576"/>
                    <a:gd name="connsiteX15" fmla="*/ 629943 w 640198"/>
                    <a:gd name="connsiteY15" fmla="*/ 411837 h 499576"/>
                    <a:gd name="connsiteX16" fmla="*/ 640198 w 640198"/>
                    <a:gd name="connsiteY16" fmla="*/ 415274 h 499576"/>
                    <a:gd name="connsiteX17" fmla="*/ 640198 w 640198"/>
                    <a:gd name="connsiteY17" fmla="*/ 499576 h 499576"/>
                    <a:gd name="connsiteX18" fmla="*/ 393877 w 640198"/>
                    <a:gd name="connsiteY18" fmla="*/ 499576 h 499576"/>
                    <a:gd name="connsiteX19" fmla="*/ 392818 w 640198"/>
                    <a:gd name="connsiteY19" fmla="*/ 492439 h 499576"/>
                    <a:gd name="connsiteX20" fmla="*/ 313201 w 640198"/>
                    <a:gd name="connsiteY20" fmla="*/ 492439 h 499576"/>
                    <a:gd name="connsiteX21" fmla="*/ 314260 w 640198"/>
                    <a:gd name="connsiteY21" fmla="*/ 499576 h 499576"/>
                    <a:gd name="connsiteX22" fmla="*/ 0 w 640198"/>
                    <a:gd name="connsiteY22" fmla="*/ 499576 h 499576"/>
                    <a:gd name="connsiteX23" fmla="*/ 0 w 640198"/>
                    <a:gd name="connsiteY23" fmla="*/ 0 h 499576"/>
                    <a:gd name="connsiteX0" fmla="*/ 62448 w 640198"/>
                    <a:gd name="connsiteY0" fmla="*/ 117955 h 499576"/>
                    <a:gd name="connsiteX1" fmla="*/ 62448 w 640198"/>
                    <a:gd name="connsiteY1" fmla="*/ 437130 h 499576"/>
                    <a:gd name="connsiteX2" fmla="*/ 304996 w 640198"/>
                    <a:gd name="connsiteY2" fmla="*/ 437130 h 499576"/>
                    <a:gd name="connsiteX3" fmla="*/ 577752 w 640198"/>
                    <a:gd name="connsiteY3" fmla="*/ 437130 h 499576"/>
                    <a:gd name="connsiteX4" fmla="*/ 577752 w 640198"/>
                    <a:gd name="connsiteY4" fmla="*/ 394344 h 499576"/>
                    <a:gd name="connsiteX5" fmla="*/ 584224 w 640198"/>
                    <a:gd name="connsiteY5" fmla="*/ 396513 h 499576"/>
                    <a:gd name="connsiteX6" fmla="*/ 584224 w 640198"/>
                    <a:gd name="connsiteY6" fmla="*/ 313452 h 499576"/>
                    <a:gd name="connsiteX7" fmla="*/ 577752 w 640198"/>
                    <a:gd name="connsiteY7" fmla="*/ 311282 h 499576"/>
                    <a:gd name="connsiteX8" fmla="*/ 577752 w 640198"/>
                    <a:gd name="connsiteY8" fmla="*/ 117955 h 499576"/>
                    <a:gd name="connsiteX9" fmla="*/ 62448 w 640198"/>
                    <a:gd name="connsiteY9" fmla="*/ 117955 h 499576"/>
                    <a:gd name="connsiteX10" fmla="*/ 0 w 640198"/>
                    <a:gd name="connsiteY10" fmla="*/ 0 h 499576"/>
                    <a:gd name="connsiteX11" fmla="*/ 640198 w 640198"/>
                    <a:gd name="connsiteY11" fmla="*/ 0 h 499576"/>
                    <a:gd name="connsiteX12" fmla="*/ 640198 w 640198"/>
                    <a:gd name="connsiteY12" fmla="*/ 332213 h 499576"/>
                    <a:gd name="connsiteX13" fmla="*/ 629943 w 640198"/>
                    <a:gd name="connsiteY13" fmla="*/ 328776 h 499576"/>
                    <a:gd name="connsiteX14" fmla="*/ 629943 w 640198"/>
                    <a:gd name="connsiteY14" fmla="*/ 411837 h 499576"/>
                    <a:gd name="connsiteX15" fmla="*/ 640198 w 640198"/>
                    <a:gd name="connsiteY15" fmla="*/ 415274 h 499576"/>
                    <a:gd name="connsiteX16" fmla="*/ 640198 w 640198"/>
                    <a:gd name="connsiteY16" fmla="*/ 499576 h 499576"/>
                    <a:gd name="connsiteX17" fmla="*/ 393877 w 640198"/>
                    <a:gd name="connsiteY17" fmla="*/ 499576 h 499576"/>
                    <a:gd name="connsiteX18" fmla="*/ 392818 w 640198"/>
                    <a:gd name="connsiteY18" fmla="*/ 492439 h 499576"/>
                    <a:gd name="connsiteX19" fmla="*/ 313201 w 640198"/>
                    <a:gd name="connsiteY19" fmla="*/ 492439 h 499576"/>
                    <a:gd name="connsiteX20" fmla="*/ 314260 w 640198"/>
                    <a:gd name="connsiteY20" fmla="*/ 499576 h 499576"/>
                    <a:gd name="connsiteX21" fmla="*/ 0 w 640198"/>
                    <a:gd name="connsiteY21" fmla="*/ 499576 h 499576"/>
                    <a:gd name="connsiteX22" fmla="*/ 0 w 640198"/>
                    <a:gd name="connsiteY2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311282 h 499576"/>
                    <a:gd name="connsiteX7" fmla="*/ 577752 w 640198"/>
                    <a:gd name="connsiteY7" fmla="*/ 117955 h 499576"/>
                    <a:gd name="connsiteX8" fmla="*/ 62448 w 640198"/>
                    <a:gd name="connsiteY8" fmla="*/ 117955 h 499576"/>
                    <a:gd name="connsiteX9" fmla="*/ 0 w 640198"/>
                    <a:gd name="connsiteY9" fmla="*/ 0 h 499576"/>
                    <a:gd name="connsiteX10" fmla="*/ 640198 w 640198"/>
                    <a:gd name="connsiteY10" fmla="*/ 0 h 499576"/>
                    <a:gd name="connsiteX11" fmla="*/ 640198 w 640198"/>
                    <a:gd name="connsiteY11" fmla="*/ 332213 h 499576"/>
                    <a:gd name="connsiteX12" fmla="*/ 629943 w 640198"/>
                    <a:gd name="connsiteY12" fmla="*/ 328776 h 499576"/>
                    <a:gd name="connsiteX13" fmla="*/ 629943 w 640198"/>
                    <a:gd name="connsiteY13" fmla="*/ 411837 h 499576"/>
                    <a:gd name="connsiteX14" fmla="*/ 640198 w 640198"/>
                    <a:gd name="connsiteY14" fmla="*/ 415274 h 499576"/>
                    <a:gd name="connsiteX15" fmla="*/ 640198 w 640198"/>
                    <a:gd name="connsiteY15" fmla="*/ 499576 h 499576"/>
                    <a:gd name="connsiteX16" fmla="*/ 393877 w 640198"/>
                    <a:gd name="connsiteY16" fmla="*/ 499576 h 499576"/>
                    <a:gd name="connsiteX17" fmla="*/ 392818 w 640198"/>
                    <a:gd name="connsiteY17" fmla="*/ 492439 h 499576"/>
                    <a:gd name="connsiteX18" fmla="*/ 313201 w 640198"/>
                    <a:gd name="connsiteY18" fmla="*/ 492439 h 499576"/>
                    <a:gd name="connsiteX19" fmla="*/ 314260 w 640198"/>
                    <a:gd name="connsiteY19" fmla="*/ 499576 h 499576"/>
                    <a:gd name="connsiteX20" fmla="*/ 0 w 640198"/>
                    <a:gd name="connsiteY20" fmla="*/ 499576 h 499576"/>
                    <a:gd name="connsiteX21" fmla="*/ 0 w 640198"/>
                    <a:gd name="connsiteY2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117955 h 499576"/>
                    <a:gd name="connsiteX7" fmla="*/ 62448 w 640198"/>
                    <a:gd name="connsiteY7" fmla="*/ 117955 h 499576"/>
                    <a:gd name="connsiteX8" fmla="*/ 0 w 640198"/>
                    <a:gd name="connsiteY8" fmla="*/ 0 h 499576"/>
                    <a:gd name="connsiteX9" fmla="*/ 640198 w 640198"/>
                    <a:gd name="connsiteY9" fmla="*/ 0 h 499576"/>
                    <a:gd name="connsiteX10" fmla="*/ 640198 w 640198"/>
                    <a:gd name="connsiteY10" fmla="*/ 332213 h 499576"/>
                    <a:gd name="connsiteX11" fmla="*/ 629943 w 640198"/>
                    <a:gd name="connsiteY11" fmla="*/ 328776 h 499576"/>
                    <a:gd name="connsiteX12" fmla="*/ 629943 w 640198"/>
                    <a:gd name="connsiteY12" fmla="*/ 411837 h 499576"/>
                    <a:gd name="connsiteX13" fmla="*/ 640198 w 640198"/>
                    <a:gd name="connsiteY13" fmla="*/ 415274 h 499576"/>
                    <a:gd name="connsiteX14" fmla="*/ 640198 w 640198"/>
                    <a:gd name="connsiteY14" fmla="*/ 499576 h 499576"/>
                    <a:gd name="connsiteX15" fmla="*/ 393877 w 640198"/>
                    <a:gd name="connsiteY15" fmla="*/ 499576 h 499576"/>
                    <a:gd name="connsiteX16" fmla="*/ 392818 w 640198"/>
                    <a:gd name="connsiteY16" fmla="*/ 492439 h 499576"/>
                    <a:gd name="connsiteX17" fmla="*/ 313201 w 640198"/>
                    <a:gd name="connsiteY17" fmla="*/ 492439 h 499576"/>
                    <a:gd name="connsiteX18" fmla="*/ 314260 w 640198"/>
                    <a:gd name="connsiteY18" fmla="*/ 499576 h 499576"/>
                    <a:gd name="connsiteX19" fmla="*/ 0 w 640198"/>
                    <a:gd name="connsiteY19" fmla="*/ 499576 h 499576"/>
                    <a:gd name="connsiteX20" fmla="*/ 0 w 640198"/>
                    <a:gd name="connsiteY2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77752 w 640198"/>
                    <a:gd name="connsiteY5" fmla="*/ 117955 h 499576"/>
                    <a:gd name="connsiteX6" fmla="*/ 62448 w 640198"/>
                    <a:gd name="connsiteY6" fmla="*/ 117955 h 499576"/>
                    <a:gd name="connsiteX7" fmla="*/ 0 w 640198"/>
                    <a:gd name="connsiteY7" fmla="*/ 0 h 499576"/>
                    <a:gd name="connsiteX8" fmla="*/ 640198 w 640198"/>
                    <a:gd name="connsiteY8" fmla="*/ 0 h 499576"/>
                    <a:gd name="connsiteX9" fmla="*/ 640198 w 640198"/>
                    <a:gd name="connsiteY9" fmla="*/ 332213 h 499576"/>
                    <a:gd name="connsiteX10" fmla="*/ 629943 w 640198"/>
                    <a:gd name="connsiteY10" fmla="*/ 328776 h 499576"/>
                    <a:gd name="connsiteX11" fmla="*/ 629943 w 640198"/>
                    <a:gd name="connsiteY11" fmla="*/ 411837 h 499576"/>
                    <a:gd name="connsiteX12" fmla="*/ 640198 w 640198"/>
                    <a:gd name="connsiteY12" fmla="*/ 415274 h 499576"/>
                    <a:gd name="connsiteX13" fmla="*/ 640198 w 640198"/>
                    <a:gd name="connsiteY13" fmla="*/ 499576 h 499576"/>
                    <a:gd name="connsiteX14" fmla="*/ 393877 w 640198"/>
                    <a:gd name="connsiteY14" fmla="*/ 499576 h 499576"/>
                    <a:gd name="connsiteX15" fmla="*/ 392818 w 640198"/>
                    <a:gd name="connsiteY15" fmla="*/ 492439 h 499576"/>
                    <a:gd name="connsiteX16" fmla="*/ 313201 w 640198"/>
                    <a:gd name="connsiteY16" fmla="*/ 492439 h 499576"/>
                    <a:gd name="connsiteX17" fmla="*/ 314260 w 640198"/>
                    <a:gd name="connsiteY17" fmla="*/ 499576 h 499576"/>
                    <a:gd name="connsiteX18" fmla="*/ 0 w 640198"/>
                    <a:gd name="connsiteY18" fmla="*/ 499576 h 499576"/>
                    <a:gd name="connsiteX19" fmla="*/ 0 w 640198"/>
                    <a:gd name="connsiteY19"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77752 w 640198"/>
                    <a:gd name="connsiteY4" fmla="*/ 117955 h 499576"/>
                    <a:gd name="connsiteX5" fmla="*/ 62448 w 640198"/>
                    <a:gd name="connsiteY5" fmla="*/ 117955 h 499576"/>
                    <a:gd name="connsiteX6" fmla="*/ 0 w 640198"/>
                    <a:gd name="connsiteY6" fmla="*/ 0 h 499576"/>
                    <a:gd name="connsiteX7" fmla="*/ 640198 w 640198"/>
                    <a:gd name="connsiteY7" fmla="*/ 0 h 499576"/>
                    <a:gd name="connsiteX8" fmla="*/ 640198 w 640198"/>
                    <a:gd name="connsiteY8" fmla="*/ 332213 h 499576"/>
                    <a:gd name="connsiteX9" fmla="*/ 629943 w 640198"/>
                    <a:gd name="connsiteY9" fmla="*/ 328776 h 499576"/>
                    <a:gd name="connsiteX10" fmla="*/ 629943 w 640198"/>
                    <a:gd name="connsiteY10" fmla="*/ 411837 h 499576"/>
                    <a:gd name="connsiteX11" fmla="*/ 640198 w 640198"/>
                    <a:gd name="connsiteY11" fmla="*/ 415274 h 499576"/>
                    <a:gd name="connsiteX12" fmla="*/ 640198 w 640198"/>
                    <a:gd name="connsiteY12" fmla="*/ 499576 h 499576"/>
                    <a:gd name="connsiteX13" fmla="*/ 393877 w 640198"/>
                    <a:gd name="connsiteY13" fmla="*/ 499576 h 499576"/>
                    <a:gd name="connsiteX14" fmla="*/ 392818 w 640198"/>
                    <a:gd name="connsiteY14" fmla="*/ 492439 h 499576"/>
                    <a:gd name="connsiteX15" fmla="*/ 313201 w 640198"/>
                    <a:gd name="connsiteY15" fmla="*/ 492439 h 499576"/>
                    <a:gd name="connsiteX16" fmla="*/ 314260 w 640198"/>
                    <a:gd name="connsiteY16" fmla="*/ 499576 h 499576"/>
                    <a:gd name="connsiteX17" fmla="*/ 0 w 640198"/>
                    <a:gd name="connsiteY17" fmla="*/ 499576 h 499576"/>
                    <a:gd name="connsiteX18" fmla="*/ 0 w 640198"/>
                    <a:gd name="connsiteY18"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328776 h 499576"/>
                    <a:gd name="connsiteX9" fmla="*/ 629943 w 640198"/>
                    <a:gd name="connsiteY9" fmla="*/ 411837 h 499576"/>
                    <a:gd name="connsiteX10" fmla="*/ 640198 w 640198"/>
                    <a:gd name="connsiteY10" fmla="*/ 415274 h 499576"/>
                    <a:gd name="connsiteX11" fmla="*/ 640198 w 640198"/>
                    <a:gd name="connsiteY11" fmla="*/ 499576 h 499576"/>
                    <a:gd name="connsiteX12" fmla="*/ 393877 w 640198"/>
                    <a:gd name="connsiteY12" fmla="*/ 499576 h 499576"/>
                    <a:gd name="connsiteX13" fmla="*/ 392818 w 640198"/>
                    <a:gd name="connsiteY13" fmla="*/ 492439 h 499576"/>
                    <a:gd name="connsiteX14" fmla="*/ 313201 w 640198"/>
                    <a:gd name="connsiteY14" fmla="*/ 492439 h 499576"/>
                    <a:gd name="connsiteX15" fmla="*/ 314260 w 640198"/>
                    <a:gd name="connsiteY15" fmla="*/ 499576 h 499576"/>
                    <a:gd name="connsiteX16" fmla="*/ 0 w 640198"/>
                    <a:gd name="connsiteY16" fmla="*/ 499576 h 499576"/>
                    <a:gd name="connsiteX17" fmla="*/ 0 w 640198"/>
                    <a:gd name="connsiteY17"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411837 h 499576"/>
                    <a:gd name="connsiteX9" fmla="*/ 640198 w 640198"/>
                    <a:gd name="connsiteY9" fmla="*/ 415274 h 499576"/>
                    <a:gd name="connsiteX10" fmla="*/ 640198 w 640198"/>
                    <a:gd name="connsiteY10" fmla="*/ 499576 h 499576"/>
                    <a:gd name="connsiteX11" fmla="*/ 393877 w 640198"/>
                    <a:gd name="connsiteY11" fmla="*/ 499576 h 499576"/>
                    <a:gd name="connsiteX12" fmla="*/ 392818 w 640198"/>
                    <a:gd name="connsiteY12" fmla="*/ 492439 h 499576"/>
                    <a:gd name="connsiteX13" fmla="*/ 313201 w 640198"/>
                    <a:gd name="connsiteY13" fmla="*/ 492439 h 499576"/>
                    <a:gd name="connsiteX14" fmla="*/ 314260 w 640198"/>
                    <a:gd name="connsiteY14" fmla="*/ 499576 h 499576"/>
                    <a:gd name="connsiteX15" fmla="*/ 0 w 640198"/>
                    <a:gd name="connsiteY15" fmla="*/ 499576 h 499576"/>
                    <a:gd name="connsiteX16" fmla="*/ 0 w 640198"/>
                    <a:gd name="connsiteY16"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29943 w 640198"/>
                    <a:gd name="connsiteY7" fmla="*/ 411837 h 499576"/>
                    <a:gd name="connsiteX8" fmla="*/ 640198 w 640198"/>
                    <a:gd name="connsiteY8" fmla="*/ 415274 h 499576"/>
                    <a:gd name="connsiteX9" fmla="*/ 640198 w 640198"/>
                    <a:gd name="connsiteY9" fmla="*/ 499576 h 499576"/>
                    <a:gd name="connsiteX10" fmla="*/ 393877 w 640198"/>
                    <a:gd name="connsiteY10" fmla="*/ 499576 h 499576"/>
                    <a:gd name="connsiteX11" fmla="*/ 392818 w 640198"/>
                    <a:gd name="connsiteY11" fmla="*/ 492439 h 499576"/>
                    <a:gd name="connsiteX12" fmla="*/ 313201 w 640198"/>
                    <a:gd name="connsiteY12" fmla="*/ 492439 h 499576"/>
                    <a:gd name="connsiteX13" fmla="*/ 314260 w 640198"/>
                    <a:gd name="connsiteY13" fmla="*/ 499576 h 499576"/>
                    <a:gd name="connsiteX14" fmla="*/ 0 w 640198"/>
                    <a:gd name="connsiteY14" fmla="*/ 499576 h 499576"/>
                    <a:gd name="connsiteX15" fmla="*/ 0 w 640198"/>
                    <a:gd name="connsiteY15"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15274 h 499576"/>
                    <a:gd name="connsiteX8" fmla="*/ 640198 w 640198"/>
                    <a:gd name="connsiteY8" fmla="*/ 499576 h 499576"/>
                    <a:gd name="connsiteX9" fmla="*/ 393877 w 640198"/>
                    <a:gd name="connsiteY9" fmla="*/ 499576 h 499576"/>
                    <a:gd name="connsiteX10" fmla="*/ 392818 w 640198"/>
                    <a:gd name="connsiteY10" fmla="*/ 492439 h 499576"/>
                    <a:gd name="connsiteX11" fmla="*/ 313201 w 640198"/>
                    <a:gd name="connsiteY11" fmla="*/ 492439 h 499576"/>
                    <a:gd name="connsiteX12" fmla="*/ 314260 w 640198"/>
                    <a:gd name="connsiteY12" fmla="*/ 499576 h 499576"/>
                    <a:gd name="connsiteX13" fmla="*/ 0 w 640198"/>
                    <a:gd name="connsiteY13" fmla="*/ 499576 h 499576"/>
                    <a:gd name="connsiteX14" fmla="*/ 0 w 640198"/>
                    <a:gd name="connsiteY14"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314260 w 640198"/>
                    <a:gd name="connsiteY11" fmla="*/ 499576 h 499576"/>
                    <a:gd name="connsiteX12" fmla="*/ 0 w 640198"/>
                    <a:gd name="connsiteY12" fmla="*/ 499576 h 499576"/>
                    <a:gd name="connsiteX13" fmla="*/ 0 w 640198"/>
                    <a:gd name="connsiteY13"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0 w 640198"/>
                    <a:gd name="connsiteY11" fmla="*/ 499576 h 499576"/>
                    <a:gd name="connsiteX12" fmla="*/ 0 w 640198"/>
                    <a:gd name="connsiteY1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0 w 640198"/>
                    <a:gd name="connsiteY10" fmla="*/ 499576 h 499576"/>
                    <a:gd name="connsiteX11" fmla="*/ 0 w 640198"/>
                    <a:gd name="connsiteY1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0 w 640198"/>
                    <a:gd name="connsiteY9" fmla="*/ 499576 h 499576"/>
                    <a:gd name="connsiteX10" fmla="*/ 0 w 640198"/>
                    <a:gd name="connsiteY1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0 w 640198"/>
                    <a:gd name="connsiteY8" fmla="*/ 499576 h 499576"/>
                    <a:gd name="connsiteX9" fmla="*/ 0 w 640198"/>
                    <a:gd name="connsiteY9" fmla="*/ 0 h 499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198" h="499576">
                      <a:moveTo>
                        <a:pt x="62448" y="117955"/>
                      </a:moveTo>
                      <a:lnTo>
                        <a:pt x="62448" y="437130"/>
                      </a:lnTo>
                      <a:lnTo>
                        <a:pt x="577752" y="437130"/>
                      </a:lnTo>
                      <a:lnTo>
                        <a:pt x="577752" y="117955"/>
                      </a:lnTo>
                      <a:lnTo>
                        <a:pt x="62448" y="117955"/>
                      </a:lnTo>
                      <a:close/>
                      <a:moveTo>
                        <a:pt x="0" y="0"/>
                      </a:moveTo>
                      <a:lnTo>
                        <a:pt x="640198" y="0"/>
                      </a:lnTo>
                      <a:lnTo>
                        <a:pt x="640198" y="499576"/>
                      </a:lnTo>
                      <a:lnTo>
                        <a:pt x="0" y="499576"/>
                      </a:lnTo>
                      <a:lnTo>
                        <a:pt x="0" y="0"/>
                      </a:lnTo>
                      <a:close/>
                    </a:path>
                  </a:pathLst>
                </a:custGeom>
                <a:solidFill>
                  <a:schemeClr val="accent1"/>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62" name="Freeform: Shape 173">
                  <a:extLst>
                    <a:ext uri="{FF2B5EF4-FFF2-40B4-BE49-F238E27FC236}">
                      <a16:creationId xmlns:a16="http://schemas.microsoft.com/office/drawing/2014/main" id="{E2E0B0C4-EE92-4810-A4D7-880DF904D23C}"/>
                    </a:ext>
                  </a:extLst>
                </p:cNvPr>
                <p:cNvSpPr/>
                <p:nvPr/>
              </p:nvSpPr>
              <p:spPr bwMode="auto">
                <a:xfrm rot="10800000" flipV="1">
                  <a:off x="945805" y="2813853"/>
                  <a:ext cx="187936" cy="146654"/>
                </a:xfrm>
                <a:custGeom>
                  <a:avLst/>
                  <a:gdLst>
                    <a:gd name="connsiteX0" fmla="*/ 62448 w 640198"/>
                    <a:gd name="connsiteY0" fmla="*/ 117955 h 499576"/>
                    <a:gd name="connsiteX1" fmla="*/ 62448 w 640198"/>
                    <a:gd name="connsiteY1" fmla="*/ 437130 h 499576"/>
                    <a:gd name="connsiteX2" fmla="*/ 304996 w 640198"/>
                    <a:gd name="connsiteY2" fmla="*/ 437130 h 499576"/>
                    <a:gd name="connsiteX3" fmla="*/ 306418 w 640198"/>
                    <a:gd name="connsiteY3" fmla="*/ 446720 h 499576"/>
                    <a:gd name="connsiteX4" fmla="*/ 386035 w 640198"/>
                    <a:gd name="connsiteY4" fmla="*/ 446720 h 499576"/>
                    <a:gd name="connsiteX5" fmla="*/ 384612 w 640198"/>
                    <a:gd name="connsiteY5" fmla="*/ 437130 h 499576"/>
                    <a:gd name="connsiteX6" fmla="*/ 577752 w 640198"/>
                    <a:gd name="connsiteY6" fmla="*/ 437130 h 499576"/>
                    <a:gd name="connsiteX7" fmla="*/ 577752 w 640198"/>
                    <a:gd name="connsiteY7" fmla="*/ 394344 h 499576"/>
                    <a:gd name="connsiteX8" fmla="*/ 584224 w 640198"/>
                    <a:gd name="connsiteY8" fmla="*/ 396513 h 499576"/>
                    <a:gd name="connsiteX9" fmla="*/ 584224 w 640198"/>
                    <a:gd name="connsiteY9" fmla="*/ 313452 h 499576"/>
                    <a:gd name="connsiteX10" fmla="*/ 577752 w 640198"/>
                    <a:gd name="connsiteY10" fmla="*/ 311282 h 499576"/>
                    <a:gd name="connsiteX11" fmla="*/ 577752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384612 w 640198"/>
                    <a:gd name="connsiteY4" fmla="*/ 437130 h 499576"/>
                    <a:gd name="connsiteX5" fmla="*/ 577752 w 640198"/>
                    <a:gd name="connsiteY5" fmla="*/ 437130 h 499576"/>
                    <a:gd name="connsiteX6" fmla="*/ 577752 w 640198"/>
                    <a:gd name="connsiteY6" fmla="*/ 394344 h 499576"/>
                    <a:gd name="connsiteX7" fmla="*/ 584224 w 640198"/>
                    <a:gd name="connsiteY7" fmla="*/ 396513 h 499576"/>
                    <a:gd name="connsiteX8" fmla="*/ 584224 w 640198"/>
                    <a:gd name="connsiteY8" fmla="*/ 313452 h 499576"/>
                    <a:gd name="connsiteX9" fmla="*/ 577752 w 640198"/>
                    <a:gd name="connsiteY9" fmla="*/ 311282 h 499576"/>
                    <a:gd name="connsiteX10" fmla="*/ 577752 w 640198"/>
                    <a:gd name="connsiteY10" fmla="*/ 117955 h 499576"/>
                    <a:gd name="connsiteX11" fmla="*/ 62448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24" fmla="*/ 0 w 640198"/>
                    <a:gd name="connsiteY24" fmla="*/ 0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577752 w 640198"/>
                    <a:gd name="connsiteY4" fmla="*/ 437130 h 499576"/>
                    <a:gd name="connsiteX5" fmla="*/ 577752 w 640198"/>
                    <a:gd name="connsiteY5" fmla="*/ 394344 h 499576"/>
                    <a:gd name="connsiteX6" fmla="*/ 584224 w 640198"/>
                    <a:gd name="connsiteY6" fmla="*/ 396513 h 499576"/>
                    <a:gd name="connsiteX7" fmla="*/ 584224 w 640198"/>
                    <a:gd name="connsiteY7" fmla="*/ 313452 h 499576"/>
                    <a:gd name="connsiteX8" fmla="*/ 577752 w 640198"/>
                    <a:gd name="connsiteY8" fmla="*/ 311282 h 499576"/>
                    <a:gd name="connsiteX9" fmla="*/ 577752 w 640198"/>
                    <a:gd name="connsiteY9" fmla="*/ 117955 h 499576"/>
                    <a:gd name="connsiteX10" fmla="*/ 62448 w 640198"/>
                    <a:gd name="connsiteY10" fmla="*/ 117955 h 499576"/>
                    <a:gd name="connsiteX11" fmla="*/ 0 w 640198"/>
                    <a:gd name="connsiteY11" fmla="*/ 0 h 499576"/>
                    <a:gd name="connsiteX12" fmla="*/ 640198 w 640198"/>
                    <a:gd name="connsiteY12" fmla="*/ 0 h 499576"/>
                    <a:gd name="connsiteX13" fmla="*/ 640198 w 640198"/>
                    <a:gd name="connsiteY13" fmla="*/ 332213 h 499576"/>
                    <a:gd name="connsiteX14" fmla="*/ 629943 w 640198"/>
                    <a:gd name="connsiteY14" fmla="*/ 328776 h 499576"/>
                    <a:gd name="connsiteX15" fmla="*/ 629943 w 640198"/>
                    <a:gd name="connsiteY15" fmla="*/ 411837 h 499576"/>
                    <a:gd name="connsiteX16" fmla="*/ 640198 w 640198"/>
                    <a:gd name="connsiteY16" fmla="*/ 415274 h 499576"/>
                    <a:gd name="connsiteX17" fmla="*/ 640198 w 640198"/>
                    <a:gd name="connsiteY17" fmla="*/ 499576 h 499576"/>
                    <a:gd name="connsiteX18" fmla="*/ 393877 w 640198"/>
                    <a:gd name="connsiteY18" fmla="*/ 499576 h 499576"/>
                    <a:gd name="connsiteX19" fmla="*/ 392818 w 640198"/>
                    <a:gd name="connsiteY19" fmla="*/ 492439 h 499576"/>
                    <a:gd name="connsiteX20" fmla="*/ 313201 w 640198"/>
                    <a:gd name="connsiteY20" fmla="*/ 492439 h 499576"/>
                    <a:gd name="connsiteX21" fmla="*/ 314260 w 640198"/>
                    <a:gd name="connsiteY21" fmla="*/ 499576 h 499576"/>
                    <a:gd name="connsiteX22" fmla="*/ 0 w 640198"/>
                    <a:gd name="connsiteY22" fmla="*/ 499576 h 499576"/>
                    <a:gd name="connsiteX23" fmla="*/ 0 w 640198"/>
                    <a:gd name="connsiteY23" fmla="*/ 0 h 499576"/>
                    <a:gd name="connsiteX0" fmla="*/ 62448 w 640198"/>
                    <a:gd name="connsiteY0" fmla="*/ 117955 h 499576"/>
                    <a:gd name="connsiteX1" fmla="*/ 62448 w 640198"/>
                    <a:gd name="connsiteY1" fmla="*/ 437130 h 499576"/>
                    <a:gd name="connsiteX2" fmla="*/ 304996 w 640198"/>
                    <a:gd name="connsiteY2" fmla="*/ 437130 h 499576"/>
                    <a:gd name="connsiteX3" fmla="*/ 577752 w 640198"/>
                    <a:gd name="connsiteY3" fmla="*/ 437130 h 499576"/>
                    <a:gd name="connsiteX4" fmla="*/ 577752 w 640198"/>
                    <a:gd name="connsiteY4" fmla="*/ 394344 h 499576"/>
                    <a:gd name="connsiteX5" fmla="*/ 584224 w 640198"/>
                    <a:gd name="connsiteY5" fmla="*/ 396513 h 499576"/>
                    <a:gd name="connsiteX6" fmla="*/ 584224 w 640198"/>
                    <a:gd name="connsiteY6" fmla="*/ 313452 h 499576"/>
                    <a:gd name="connsiteX7" fmla="*/ 577752 w 640198"/>
                    <a:gd name="connsiteY7" fmla="*/ 311282 h 499576"/>
                    <a:gd name="connsiteX8" fmla="*/ 577752 w 640198"/>
                    <a:gd name="connsiteY8" fmla="*/ 117955 h 499576"/>
                    <a:gd name="connsiteX9" fmla="*/ 62448 w 640198"/>
                    <a:gd name="connsiteY9" fmla="*/ 117955 h 499576"/>
                    <a:gd name="connsiteX10" fmla="*/ 0 w 640198"/>
                    <a:gd name="connsiteY10" fmla="*/ 0 h 499576"/>
                    <a:gd name="connsiteX11" fmla="*/ 640198 w 640198"/>
                    <a:gd name="connsiteY11" fmla="*/ 0 h 499576"/>
                    <a:gd name="connsiteX12" fmla="*/ 640198 w 640198"/>
                    <a:gd name="connsiteY12" fmla="*/ 332213 h 499576"/>
                    <a:gd name="connsiteX13" fmla="*/ 629943 w 640198"/>
                    <a:gd name="connsiteY13" fmla="*/ 328776 h 499576"/>
                    <a:gd name="connsiteX14" fmla="*/ 629943 w 640198"/>
                    <a:gd name="connsiteY14" fmla="*/ 411837 h 499576"/>
                    <a:gd name="connsiteX15" fmla="*/ 640198 w 640198"/>
                    <a:gd name="connsiteY15" fmla="*/ 415274 h 499576"/>
                    <a:gd name="connsiteX16" fmla="*/ 640198 w 640198"/>
                    <a:gd name="connsiteY16" fmla="*/ 499576 h 499576"/>
                    <a:gd name="connsiteX17" fmla="*/ 393877 w 640198"/>
                    <a:gd name="connsiteY17" fmla="*/ 499576 h 499576"/>
                    <a:gd name="connsiteX18" fmla="*/ 392818 w 640198"/>
                    <a:gd name="connsiteY18" fmla="*/ 492439 h 499576"/>
                    <a:gd name="connsiteX19" fmla="*/ 313201 w 640198"/>
                    <a:gd name="connsiteY19" fmla="*/ 492439 h 499576"/>
                    <a:gd name="connsiteX20" fmla="*/ 314260 w 640198"/>
                    <a:gd name="connsiteY20" fmla="*/ 499576 h 499576"/>
                    <a:gd name="connsiteX21" fmla="*/ 0 w 640198"/>
                    <a:gd name="connsiteY21" fmla="*/ 499576 h 499576"/>
                    <a:gd name="connsiteX22" fmla="*/ 0 w 640198"/>
                    <a:gd name="connsiteY2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311282 h 499576"/>
                    <a:gd name="connsiteX7" fmla="*/ 577752 w 640198"/>
                    <a:gd name="connsiteY7" fmla="*/ 117955 h 499576"/>
                    <a:gd name="connsiteX8" fmla="*/ 62448 w 640198"/>
                    <a:gd name="connsiteY8" fmla="*/ 117955 h 499576"/>
                    <a:gd name="connsiteX9" fmla="*/ 0 w 640198"/>
                    <a:gd name="connsiteY9" fmla="*/ 0 h 499576"/>
                    <a:gd name="connsiteX10" fmla="*/ 640198 w 640198"/>
                    <a:gd name="connsiteY10" fmla="*/ 0 h 499576"/>
                    <a:gd name="connsiteX11" fmla="*/ 640198 w 640198"/>
                    <a:gd name="connsiteY11" fmla="*/ 332213 h 499576"/>
                    <a:gd name="connsiteX12" fmla="*/ 629943 w 640198"/>
                    <a:gd name="connsiteY12" fmla="*/ 328776 h 499576"/>
                    <a:gd name="connsiteX13" fmla="*/ 629943 w 640198"/>
                    <a:gd name="connsiteY13" fmla="*/ 411837 h 499576"/>
                    <a:gd name="connsiteX14" fmla="*/ 640198 w 640198"/>
                    <a:gd name="connsiteY14" fmla="*/ 415274 h 499576"/>
                    <a:gd name="connsiteX15" fmla="*/ 640198 w 640198"/>
                    <a:gd name="connsiteY15" fmla="*/ 499576 h 499576"/>
                    <a:gd name="connsiteX16" fmla="*/ 393877 w 640198"/>
                    <a:gd name="connsiteY16" fmla="*/ 499576 h 499576"/>
                    <a:gd name="connsiteX17" fmla="*/ 392818 w 640198"/>
                    <a:gd name="connsiteY17" fmla="*/ 492439 h 499576"/>
                    <a:gd name="connsiteX18" fmla="*/ 313201 w 640198"/>
                    <a:gd name="connsiteY18" fmla="*/ 492439 h 499576"/>
                    <a:gd name="connsiteX19" fmla="*/ 314260 w 640198"/>
                    <a:gd name="connsiteY19" fmla="*/ 499576 h 499576"/>
                    <a:gd name="connsiteX20" fmla="*/ 0 w 640198"/>
                    <a:gd name="connsiteY20" fmla="*/ 499576 h 499576"/>
                    <a:gd name="connsiteX21" fmla="*/ 0 w 640198"/>
                    <a:gd name="connsiteY2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117955 h 499576"/>
                    <a:gd name="connsiteX7" fmla="*/ 62448 w 640198"/>
                    <a:gd name="connsiteY7" fmla="*/ 117955 h 499576"/>
                    <a:gd name="connsiteX8" fmla="*/ 0 w 640198"/>
                    <a:gd name="connsiteY8" fmla="*/ 0 h 499576"/>
                    <a:gd name="connsiteX9" fmla="*/ 640198 w 640198"/>
                    <a:gd name="connsiteY9" fmla="*/ 0 h 499576"/>
                    <a:gd name="connsiteX10" fmla="*/ 640198 w 640198"/>
                    <a:gd name="connsiteY10" fmla="*/ 332213 h 499576"/>
                    <a:gd name="connsiteX11" fmla="*/ 629943 w 640198"/>
                    <a:gd name="connsiteY11" fmla="*/ 328776 h 499576"/>
                    <a:gd name="connsiteX12" fmla="*/ 629943 w 640198"/>
                    <a:gd name="connsiteY12" fmla="*/ 411837 h 499576"/>
                    <a:gd name="connsiteX13" fmla="*/ 640198 w 640198"/>
                    <a:gd name="connsiteY13" fmla="*/ 415274 h 499576"/>
                    <a:gd name="connsiteX14" fmla="*/ 640198 w 640198"/>
                    <a:gd name="connsiteY14" fmla="*/ 499576 h 499576"/>
                    <a:gd name="connsiteX15" fmla="*/ 393877 w 640198"/>
                    <a:gd name="connsiteY15" fmla="*/ 499576 h 499576"/>
                    <a:gd name="connsiteX16" fmla="*/ 392818 w 640198"/>
                    <a:gd name="connsiteY16" fmla="*/ 492439 h 499576"/>
                    <a:gd name="connsiteX17" fmla="*/ 313201 w 640198"/>
                    <a:gd name="connsiteY17" fmla="*/ 492439 h 499576"/>
                    <a:gd name="connsiteX18" fmla="*/ 314260 w 640198"/>
                    <a:gd name="connsiteY18" fmla="*/ 499576 h 499576"/>
                    <a:gd name="connsiteX19" fmla="*/ 0 w 640198"/>
                    <a:gd name="connsiteY19" fmla="*/ 499576 h 499576"/>
                    <a:gd name="connsiteX20" fmla="*/ 0 w 640198"/>
                    <a:gd name="connsiteY2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77752 w 640198"/>
                    <a:gd name="connsiteY5" fmla="*/ 117955 h 499576"/>
                    <a:gd name="connsiteX6" fmla="*/ 62448 w 640198"/>
                    <a:gd name="connsiteY6" fmla="*/ 117955 h 499576"/>
                    <a:gd name="connsiteX7" fmla="*/ 0 w 640198"/>
                    <a:gd name="connsiteY7" fmla="*/ 0 h 499576"/>
                    <a:gd name="connsiteX8" fmla="*/ 640198 w 640198"/>
                    <a:gd name="connsiteY8" fmla="*/ 0 h 499576"/>
                    <a:gd name="connsiteX9" fmla="*/ 640198 w 640198"/>
                    <a:gd name="connsiteY9" fmla="*/ 332213 h 499576"/>
                    <a:gd name="connsiteX10" fmla="*/ 629943 w 640198"/>
                    <a:gd name="connsiteY10" fmla="*/ 328776 h 499576"/>
                    <a:gd name="connsiteX11" fmla="*/ 629943 w 640198"/>
                    <a:gd name="connsiteY11" fmla="*/ 411837 h 499576"/>
                    <a:gd name="connsiteX12" fmla="*/ 640198 w 640198"/>
                    <a:gd name="connsiteY12" fmla="*/ 415274 h 499576"/>
                    <a:gd name="connsiteX13" fmla="*/ 640198 w 640198"/>
                    <a:gd name="connsiteY13" fmla="*/ 499576 h 499576"/>
                    <a:gd name="connsiteX14" fmla="*/ 393877 w 640198"/>
                    <a:gd name="connsiteY14" fmla="*/ 499576 h 499576"/>
                    <a:gd name="connsiteX15" fmla="*/ 392818 w 640198"/>
                    <a:gd name="connsiteY15" fmla="*/ 492439 h 499576"/>
                    <a:gd name="connsiteX16" fmla="*/ 313201 w 640198"/>
                    <a:gd name="connsiteY16" fmla="*/ 492439 h 499576"/>
                    <a:gd name="connsiteX17" fmla="*/ 314260 w 640198"/>
                    <a:gd name="connsiteY17" fmla="*/ 499576 h 499576"/>
                    <a:gd name="connsiteX18" fmla="*/ 0 w 640198"/>
                    <a:gd name="connsiteY18" fmla="*/ 499576 h 499576"/>
                    <a:gd name="connsiteX19" fmla="*/ 0 w 640198"/>
                    <a:gd name="connsiteY19"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77752 w 640198"/>
                    <a:gd name="connsiteY4" fmla="*/ 117955 h 499576"/>
                    <a:gd name="connsiteX5" fmla="*/ 62448 w 640198"/>
                    <a:gd name="connsiteY5" fmla="*/ 117955 h 499576"/>
                    <a:gd name="connsiteX6" fmla="*/ 0 w 640198"/>
                    <a:gd name="connsiteY6" fmla="*/ 0 h 499576"/>
                    <a:gd name="connsiteX7" fmla="*/ 640198 w 640198"/>
                    <a:gd name="connsiteY7" fmla="*/ 0 h 499576"/>
                    <a:gd name="connsiteX8" fmla="*/ 640198 w 640198"/>
                    <a:gd name="connsiteY8" fmla="*/ 332213 h 499576"/>
                    <a:gd name="connsiteX9" fmla="*/ 629943 w 640198"/>
                    <a:gd name="connsiteY9" fmla="*/ 328776 h 499576"/>
                    <a:gd name="connsiteX10" fmla="*/ 629943 w 640198"/>
                    <a:gd name="connsiteY10" fmla="*/ 411837 h 499576"/>
                    <a:gd name="connsiteX11" fmla="*/ 640198 w 640198"/>
                    <a:gd name="connsiteY11" fmla="*/ 415274 h 499576"/>
                    <a:gd name="connsiteX12" fmla="*/ 640198 w 640198"/>
                    <a:gd name="connsiteY12" fmla="*/ 499576 h 499576"/>
                    <a:gd name="connsiteX13" fmla="*/ 393877 w 640198"/>
                    <a:gd name="connsiteY13" fmla="*/ 499576 h 499576"/>
                    <a:gd name="connsiteX14" fmla="*/ 392818 w 640198"/>
                    <a:gd name="connsiteY14" fmla="*/ 492439 h 499576"/>
                    <a:gd name="connsiteX15" fmla="*/ 313201 w 640198"/>
                    <a:gd name="connsiteY15" fmla="*/ 492439 h 499576"/>
                    <a:gd name="connsiteX16" fmla="*/ 314260 w 640198"/>
                    <a:gd name="connsiteY16" fmla="*/ 499576 h 499576"/>
                    <a:gd name="connsiteX17" fmla="*/ 0 w 640198"/>
                    <a:gd name="connsiteY17" fmla="*/ 499576 h 499576"/>
                    <a:gd name="connsiteX18" fmla="*/ 0 w 640198"/>
                    <a:gd name="connsiteY18"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328776 h 499576"/>
                    <a:gd name="connsiteX9" fmla="*/ 629943 w 640198"/>
                    <a:gd name="connsiteY9" fmla="*/ 411837 h 499576"/>
                    <a:gd name="connsiteX10" fmla="*/ 640198 w 640198"/>
                    <a:gd name="connsiteY10" fmla="*/ 415274 h 499576"/>
                    <a:gd name="connsiteX11" fmla="*/ 640198 w 640198"/>
                    <a:gd name="connsiteY11" fmla="*/ 499576 h 499576"/>
                    <a:gd name="connsiteX12" fmla="*/ 393877 w 640198"/>
                    <a:gd name="connsiteY12" fmla="*/ 499576 h 499576"/>
                    <a:gd name="connsiteX13" fmla="*/ 392818 w 640198"/>
                    <a:gd name="connsiteY13" fmla="*/ 492439 h 499576"/>
                    <a:gd name="connsiteX14" fmla="*/ 313201 w 640198"/>
                    <a:gd name="connsiteY14" fmla="*/ 492439 h 499576"/>
                    <a:gd name="connsiteX15" fmla="*/ 314260 w 640198"/>
                    <a:gd name="connsiteY15" fmla="*/ 499576 h 499576"/>
                    <a:gd name="connsiteX16" fmla="*/ 0 w 640198"/>
                    <a:gd name="connsiteY16" fmla="*/ 499576 h 499576"/>
                    <a:gd name="connsiteX17" fmla="*/ 0 w 640198"/>
                    <a:gd name="connsiteY17"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411837 h 499576"/>
                    <a:gd name="connsiteX9" fmla="*/ 640198 w 640198"/>
                    <a:gd name="connsiteY9" fmla="*/ 415274 h 499576"/>
                    <a:gd name="connsiteX10" fmla="*/ 640198 w 640198"/>
                    <a:gd name="connsiteY10" fmla="*/ 499576 h 499576"/>
                    <a:gd name="connsiteX11" fmla="*/ 393877 w 640198"/>
                    <a:gd name="connsiteY11" fmla="*/ 499576 h 499576"/>
                    <a:gd name="connsiteX12" fmla="*/ 392818 w 640198"/>
                    <a:gd name="connsiteY12" fmla="*/ 492439 h 499576"/>
                    <a:gd name="connsiteX13" fmla="*/ 313201 w 640198"/>
                    <a:gd name="connsiteY13" fmla="*/ 492439 h 499576"/>
                    <a:gd name="connsiteX14" fmla="*/ 314260 w 640198"/>
                    <a:gd name="connsiteY14" fmla="*/ 499576 h 499576"/>
                    <a:gd name="connsiteX15" fmla="*/ 0 w 640198"/>
                    <a:gd name="connsiteY15" fmla="*/ 499576 h 499576"/>
                    <a:gd name="connsiteX16" fmla="*/ 0 w 640198"/>
                    <a:gd name="connsiteY16"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29943 w 640198"/>
                    <a:gd name="connsiteY7" fmla="*/ 411837 h 499576"/>
                    <a:gd name="connsiteX8" fmla="*/ 640198 w 640198"/>
                    <a:gd name="connsiteY8" fmla="*/ 415274 h 499576"/>
                    <a:gd name="connsiteX9" fmla="*/ 640198 w 640198"/>
                    <a:gd name="connsiteY9" fmla="*/ 499576 h 499576"/>
                    <a:gd name="connsiteX10" fmla="*/ 393877 w 640198"/>
                    <a:gd name="connsiteY10" fmla="*/ 499576 h 499576"/>
                    <a:gd name="connsiteX11" fmla="*/ 392818 w 640198"/>
                    <a:gd name="connsiteY11" fmla="*/ 492439 h 499576"/>
                    <a:gd name="connsiteX12" fmla="*/ 313201 w 640198"/>
                    <a:gd name="connsiteY12" fmla="*/ 492439 h 499576"/>
                    <a:gd name="connsiteX13" fmla="*/ 314260 w 640198"/>
                    <a:gd name="connsiteY13" fmla="*/ 499576 h 499576"/>
                    <a:gd name="connsiteX14" fmla="*/ 0 w 640198"/>
                    <a:gd name="connsiteY14" fmla="*/ 499576 h 499576"/>
                    <a:gd name="connsiteX15" fmla="*/ 0 w 640198"/>
                    <a:gd name="connsiteY15"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15274 h 499576"/>
                    <a:gd name="connsiteX8" fmla="*/ 640198 w 640198"/>
                    <a:gd name="connsiteY8" fmla="*/ 499576 h 499576"/>
                    <a:gd name="connsiteX9" fmla="*/ 393877 w 640198"/>
                    <a:gd name="connsiteY9" fmla="*/ 499576 h 499576"/>
                    <a:gd name="connsiteX10" fmla="*/ 392818 w 640198"/>
                    <a:gd name="connsiteY10" fmla="*/ 492439 h 499576"/>
                    <a:gd name="connsiteX11" fmla="*/ 313201 w 640198"/>
                    <a:gd name="connsiteY11" fmla="*/ 492439 h 499576"/>
                    <a:gd name="connsiteX12" fmla="*/ 314260 w 640198"/>
                    <a:gd name="connsiteY12" fmla="*/ 499576 h 499576"/>
                    <a:gd name="connsiteX13" fmla="*/ 0 w 640198"/>
                    <a:gd name="connsiteY13" fmla="*/ 499576 h 499576"/>
                    <a:gd name="connsiteX14" fmla="*/ 0 w 640198"/>
                    <a:gd name="connsiteY14"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314260 w 640198"/>
                    <a:gd name="connsiteY11" fmla="*/ 499576 h 499576"/>
                    <a:gd name="connsiteX12" fmla="*/ 0 w 640198"/>
                    <a:gd name="connsiteY12" fmla="*/ 499576 h 499576"/>
                    <a:gd name="connsiteX13" fmla="*/ 0 w 640198"/>
                    <a:gd name="connsiteY13"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0 w 640198"/>
                    <a:gd name="connsiteY11" fmla="*/ 499576 h 499576"/>
                    <a:gd name="connsiteX12" fmla="*/ 0 w 640198"/>
                    <a:gd name="connsiteY1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0 w 640198"/>
                    <a:gd name="connsiteY10" fmla="*/ 499576 h 499576"/>
                    <a:gd name="connsiteX11" fmla="*/ 0 w 640198"/>
                    <a:gd name="connsiteY1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0 w 640198"/>
                    <a:gd name="connsiteY9" fmla="*/ 499576 h 499576"/>
                    <a:gd name="connsiteX10" fmla="*/ 0 w 640198"/>
                    <a:gd name="connsiteY1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0 w 640198"/>
                    <a:gd name="connsiteY8" fmla="*/ 499576 h 499576"/>
                    <a:gd name="connsiteX9" fmla="*/ 0 w 640198"/>
                    <a:gd name="connsiteY9" fmla="*/ 0 h 499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198" h="499576">
                      <a:moveTo>
                        <a:pt x="62448" y="117955"/>
                      </a:moveTo>
                      <a:lnTo>
                        <a:pt x="62448" y="437130"/>
                      </a:lnTo>
                      <a:lnTo>
                        <a:pt x="577752" y="437130"/>
                      </a:lnTo>
                      <a:lnTo>
                        <a:pt x="577752" y="117955"/>
                      </a:lnTo>
                      <a:lnTo>
                        <a:pt x="62448" y="117955"/>
                      </a:lnTo>
                      <a:close/>
                      <a:moveTo>
                        <a:pt x="0" y="0"/>
                      </a:moveTo>
                      <a:lnTo>
                        <a:pt x="640198" y="0"/>
                      </a:lnTo>
                      <a:lnTo>
                        <a:pt x="640198" y="499576"/>
                      </a:lnTo>
                      <a:lnTo>
                        <a:pt x="0" y="499576"/>
                      </a:lnTo>
                      <a:lnTo>
                        <a:pt x="0" y="0"/>
                      </a:lnTo>
                      <a:close/>
                    </a:path>
                  </a:pathLst>
                </a:custGeom>
                <a:solidFill>
                  <a:schemeClr val="accent1"/>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63" name="Freeform: Shape 173">
                  <a:extLst>
                    <a:ext uri="{FF2B5EF4-FFF2-40B4-BE49-F238E27FC236}">
                      <a16:creationId xmlns:a16="http://schemas.microsoft.com/office/drawing/2014/main" id="{D3EA73BB-4B62-4B70-8CE6-6D466C524CCD}"/>
                    </a:ext>
                  </a:extLst>
                </p:cNvPr>
                <p:cNvSpPr/>
                <p:nvPr/>
              </p:nvSpPr>
              <p:spPr bwMode="auto">
                <a:xfrm rot="10800000" flipV="1">
                  <a:off x="1479206" y="2810039"/>
                  <a:ext cx="187935" cy="146656"/>
                </a:xfrm>
                <a:custGeom>
                  <a:avLst/>
                  <a:gdLst>
                    <a:gd name="connsiteX0" fmla="*/ 62448 w 640198"/>
                    <a:gd name="connsiteY0" fmla="*/ 117955 h 499576"/>
                    <a:gd name="connsiteX1" fmla="*/ 62448 w 640198"/>
                    <a:gd name="connsiteY1" fmla="*/ 437130 h 499576"/>
                    <a:gd name="connsiteX2" fmla="*/ 304996 w 640198"/>
                    <a:gd name="connsiteY2" fmla="*/ 437130 h 499576"/>
                    <a:gd name="connsiteX3" fmla="*/ 306418 w 640198"/>
                    <a:gd name="connsiteY3" fmla="*/ 446720 h 499576"/>
                    <a:gd name="connsiteX4" fmla="*/ 386035 w 640198"/>
                    <a:gd name="connsiteY4" fmla="*/ 446720 h 499576"/>
                    <a:gd name="connsiteX5" fmla="*/ 384612 w 640198"/>
                    <a:gd name="connsiteY5" fmla="*/ 437130 h 499576"/>
                    <a:gd name="connsiteX6" fmla="*/ 577752 w 640198"/>
                    <a:gd name="connsiteY6" fmla="*/ 437130 h 499576"/>
                    <a:gd name="connsiteX7" fmla="*/ 577752 w 640198"/>
                    <a:gd name="connsiteY7" fmla="*/ 394344 h 499576"/>
                    <a:gd name="connsiteX8" fmla="*/ 584224 w 640198"/>
                    <a:gd name="connsiteY8" fmla="*/ 396513 h 499576"/>
                    <a:gd name="connsiteX9" fmla="*/ 584224 w 640198"/>
                    <a:gd name="connsiteY9" fmla="*/ 313452 h 499576"/>
                    <a:gd name="connsiteX10" fmla="*/ 577752 w 640198"/>
                    <a:gd name="connsiteY10" fmla="*/ 311282 h 499576"/>
                    <a:gd name="connsiteX11" fmla="*/ 577752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384612 w 640198"/>
                    <a:gd name="connsiteY4" fmla="*/ 437130 h 499576"/>
                    <a:gd name="connsiteX5" fmla="*/ 577752 w 640198"/>
                    <a:gd name="connsiteY5" fmla="*/ 437130 h 499576"/>
                    <a:gd name="connsiteX6" fmla="*/ 577752 w 640198"/>
                    <a:gd name="connsiteY6" fmla="*/ 394344 h 499576"/>
                    <a:gd name="connsiteX7" fmla="*/ 584224 w 640198"/>
                    <a:gd name="connsiteY7" fmla="*/ 396513 h 499576"/>
                    <a:gd name="connsiteX8" fmla="*/ 584224 w 640198"/>
                    <a:gd name="connsiteY8" fmla="*/ 313452 h 499576"/>
                    <a:gd name="connsiteX9" fmla="*/ 577752 w 640198"/>
                    <a:gd name="connsiteY9" fmla="*/ 311282 h 499576"/>
                    <a:gd name="connsiteX10" fmla="*/ 577752 w 640198"/>
                    <a:gd name="connsiteY10" fmla="*/ 117955 h 499576"/>
                    <a:gd name="connsiteX11" fmla="*/ 62448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24" fmla="*/ 0 w 640198"/>
                    <a:gd name="connsiteY24" fmla="*/ 0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577752 w 640198"/>
                    <a:gd name="connsiteY4" fmla="*/ 437130 h 499576"/>
                    <a:gd name="connsiteX5" fmla="*/ 577752 w 640198"/>
                    <a:gd name="connsiteY5" fmla="*/ 394344 h 499576"/>
                    <a:gd name="connsiteX6" fmla="*/ 584224 w 640198"/>
                    <a:gd name="connsiteY6" fmla="*/ 396513 h 499576"/>
                    <a:gd name="connsiteX7" fmla="*/ 584224 w 640198"/>
                    <a:gd name="connsiteY7" fmla="*/ 313452 h 499576"/>
                    <a:gd name="connsiteX8" fmla="*/ 577752 w 640198"/>
                    <a:gd name="connsiteY8" fmla="*/ 311282 h 499576"/>
                    <a:gd name="connsiteX9" fmla="*/ 577752 w 640198"/>
                    <a:gd name="connsiteY9" fmla="*/ 117955 h 499576"/>
                    <a:gd name="connsiteX10" fmla="*/ 62448 w 640198"/>
                    <a:gd name="connsiteY10" fmla="*/ 117955 h 499576"/>
                    <a:gd name="connsiteX11" fmla="*/ 0 w 640198"/>
                    <a:gd name="connsiteY11" fmla="*/ 0 h 499576"/>
                    <a:gd name="connsiteX12" fmla="*/ 640198 w 640198"/>
                    <a:gd name="connsiteY12" fmla="*/ 0 h 499576"/>
                    <a:gd name="connsiteX13" fmla="*/ 640198 w 640198"/>
                    <a:gd name="connsiteY13" fmla="*/ 332213 h 499576"/>
                    <a:gd name="connsiteX14" fmla="*/ 629943 w 640198"/>
                    <a:gd name="connsiteY14" fmla="*/ 328776 h 499576"/>
                    <a:gd name="connsiteX15" fmla="*/ 629943 w 640198"/>
                    <a:gd name="connsiteY15" fmla="*/ 411837 h 499576"/>
                    <a:gd name="connsiteX16" fmla="*/ 640198 w 640198"/>
                    <a:gd name="connsiteY16" fmla="*/ 415274 h 499576"/>
                    <a:gd name="connsiteX17" fmla="*/ 640198 w 640198"/>
                    <a:gd name="connsiteY17" fmla="*/ 499576 h 499576"/>
                    <a:gd name="connsiteX18" fmla="*/ 393877 w 640198"/>
                    <a:gd name="connsiteY18" fmla="*/ 499576 h 499576"/>
                    <a:gd name="connsiteX19" fmla="*/ 392818 w 640198"/>
                    <a:gd name="connsiteY19" fmla="*/ 492439 h 499576"/>
                    <a:gd name="connsiteX20" fmla="*/ 313201 w 640198"/>
                    <a:gd name="connsiteY20" fmla="*/ 492439 h 499576"/>
                    <a:gd name="connsiteX21" fmla="*/ 314260 w 640198"/>
                    <a:gd name="connsiteY21" fmla="*/ 499576 h 499576"/>
                    <a:gd name="connsiteX22" fmla="*/ 0 w 640198"/>
                    <a:gd name="connsiteY22" fmla="*/ 499576 h 499576"/>
                    <a:gd name="connsiteX23" fmla="*/ 0 w 640198"/>
                    <a:gd name="connsiteY23" fmla="*/ 0 h 499576"/>
                    <a:gd name="connsiteX0" fmla="*/ 62448 w 640198"/>
                    <a:gd name="connsiteY0" fmla="*/ 117955 h 499576"/>
                    <a:gd name="connsiteX1" fmla="*/ 62448 w 640198"/>
                    <a:gd name="connsiteY1" fmla="*/ 437130 h 499576"/>
                    <a:gd name="connsiteX2" fmla="*/ 304996 w 640198"/>
                    <a:gd name="connsiteY2" fmla="*/ 437130 h 499576"/>
                    <a:gd name="connsiteX3" fmla="*/ 577752 w 640198"/>
                    <a:gd name="connsiteY3" fmla="*/ 437130 h 499576"/>
                    <a:gd name="connsiteX4" fmla="*/ 577752 w 640198"/>
                    <a:gd name="connsiteY4" fmla="*/ 394344 h 499576"/>
                    <a:gd name="connsiteX5" fmla="*/ 584224 w 640198"/>
                    <a:gd name="connsiteY5" fmla="*/ 396513 h 499576"/>
                    <a:gd name="connsiteX6" fmla="*/ 584224 w 640198"/>
                    <a:gd name="connsiteY6" fmla="*/ 313452 h 499576"/>
                    <a:gd name="connsiteX7" fmla="*/ 577752 w 640198"/>
                    <a:gd name="connsiteY7" fmla="*/ 311282 h 499576"/>
                    <a:gd name="connsiteX8" fmla="*/ 577752 w 640198"/>
                    <a:gd name="connsiteY8" fmla="*/ 117955 h 499576"/>
                    <a:gd name="connsiteX9" fmla="*/ 62448 w 640198"/>
                    <a:gd name="connsiteY9" fmla="*/ 117955 h 499576"/>
                    <a:gd name="connsiteX10" fmla="*/ 0 w 640198"/>
                    <a:gd name="connsiteY10" fmla="*/ 0 h 499576"/>
                    <a:gd name="connsiteX11" fmla="*/ 640198 w 640198"/>
                    <a:gd name="connsiteY11" fmla="*/ 0 h 499576"/>
                    <a:gd name="connsiteX12" fmla="*/ 640198 w 640198"/>
                    <a:gd name="connsiteY12" fmla="*/ 332213 h 499576"/>
                    <a:gd name="connsiteX13" fmla="*/ 629943 w 640198"/>
                    <a:gd name="connsiteY13" fmla="*/ 328776 h 499576"/>
                    <a:gd name="connsiteX14" fmla="*/ 629943 w 640198"/>
                    <a:gd name="connsiteY14" fmla="*/ 411837 h 499576"/>
                    <a:gd name="connsiteX15" fmla="*/ 640198 w 640198"/>
                    <a:gd name="connsiteY15" fmla="*/ 415274 h 499576"/>
                    <a:gd name="connsiteX16" fmla="*/ 640198 w 640198"/>
                    <a:gd name="connsiteY16" fmla="*/ 499576 h 499576"/>
                    <a:gd name="connsiteX17" fmla="*/ 393877 w 640198"/>
                    <a:gd name="connsiteY17" fmla="*/ 499576 h 499576"/>
                    <a:gd name="connsiteX18" fmla="*/ 392818 w 640198"/>
                    <a:gd name="connsiteY18" fmla="*/ 492439 h 499576"/>
                    <a:gd name="connsiteX19" fmla="*/ 313201 w 640198"/>
                    <a:gd name="connsiteY19" fmla="*/ 492439 h 499576"/>
                    <a:gd name="connsiteX20" fmla="*/ 314260 w 640198"/>
                    <a:gd name="connsiteY20" fmla="*/ 499576 h 499576"/>
                    <a:gd name="connsiteX21" fmla="*/ 0 w 640198"/>
                    <a:gd name="connsiteY21" fmla="*/ 499576 h 499576"/>
                    <a:gd name="connsiteX22" fmla="*/ 0 w 640198"/>
                    <a:gd name="connsiteY2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311282 h 499576"/>
                    <a:gd name="connsiteX7" fmla="*/ 577752 w 640198"/>
                    <a:gd name="connsiteY7" fmla="*/ 117955 h 499576"/>
                    <a:gd name="connsiteX8" fmla="*/ 62448 w 640198"/>
                    <a:gd name="connsiteY8" fmla="*/ 117955 h 499576"/>
                    <a:gd name="connsiteX9" fmla="*/ 0 w 640198"/>
                    <a:gd name="connsiteY9" fmla="*/ 0 h 499576"/>
                    <a:gd name="connsiteX10" fmla="*/ 640198 w 640198"/>
                    <a:gd name="connsiteY10" fmla="*/ 0 h 499576"/>
                    <a:gd name="connsiteX11" fmla="*/ 640198 w 640198"/>
                    <a:gd name="connsiteY11" fmla="*/ 332213 h 499576"/>
                    <a:gd name="connsiteX12" fmla="*/ 629943 w 640198"/>
                    <a:gd name="connsiteY12" fmla="*/ 328776 h 499576"/>
                    <a:gd name="connsiteX13" fmla="*/ 629943 w 640198"/>
                    <a:gd name="connsiteY13" fmla="*/ 411837 h 499576"/>
                    <a:gd name="connsiteX14" fmla="*/ 640198 w 640198"/>
                    <a:gd name="connsiteY14" fmla="*/ 415274 h 499576"/>
                    <a:gd name="connsiteX15" fmla="*/ 640198 w 640198"/>
                    <a:gd name="connsiteY15" fmla="*/ 499576 h 499576"/>
                    <a:gd name="connsiteX16" fmla="*/ 393877 w 640198"/>
                    <a:gd name="connsiteY16" fmla="*/ 499576 h 499576"/>
                    <a:gd name="connsiteX17" fmla="*/ 392818 w 640198"/>
                    <a:gd name="connsiteY17" fmla="*/ 492439 h 499576"/>
                    <a:gd name="connsiteX18" fmla="*/ 313201 w 640198"/>
                    <a:gd name="connsiteY18" fmla="*/ 492439 h 499576"/>
                    <a:gd name="connsiteX19" fmla="*/ 314260 w 640198"/>
                    <a:gd name="connsiteY19" fmla="*/ 499576 h 499576"/>
                    <a:gd name="connsiteX20" fmla="*/ 0 w 640198"/>
                    <a:gd name="connsiteY20" fmla="*/ 499576 h 499576"/>
                    <a:gd name="connsiteX21" fmla="*/ 0 w 640198"/>
                    <a:gd name="connsiteY2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117955 h 499576"/>
                    <a:gd name="connsiteX7" fmla="*/ 62448 w 640198"/>
                    <a:gd name="connsiteY7" fmla="*/ 117955 h 499576"/>
                    <a:gd name="connsiteX8" fmla="*/ 0 w 640198"/>
                    <a:gd name="connsiteY8" fmla="*/ 0 h 499576"/>
                    <a:gd name="connsiteX9" fmla="*/ 640198 w 640198"/>
                    <a:gd name="connsiteY9" fmla="*/ 0 h 499576"/>
                    <a:gd name="connsiteX10" fmla="*/ 640198 w 640198"/>
                    <a:gd name="connsiteY10" fmla="*/ 332213 h 499576"/>
                    <a:gd name="connsiteX11" fmla="*/ 629943 w 640198"/>
                    <a:gd name="connsiteY11" fmla="*/ 328776 h 499576"/>
                    <a:gd name="connsiteX12" fmla="*/ 629943 w 640198"/>
                    <a:gd name="connsiteY12" fmla="*/ 411837 h 499576"/>
                    <a:gd name="connsiteX13" fmla="*/ 640198 w 640198"/>
                    <a:gd name="connsiteY13" fmla="*/ 415274 h 499576"/>
                    <a:gd name="connsiteX14" fmla="*/ 640198 w 640198"/>
                    <a:gd name="connsiteY14" fmla="*/ 499576 h 499576"/>
                    <a:gd name="connsiteX15" fmla="*/ 393877 w 640198"/>
                    <a:gd name="connsiteY15" fmla="*/ 499576 h 499576"/>
                    <a:gd name="connsiteX16" fmla="*/ 392818 w 640198"/>
                    <a:gd name="connsiteY16" fmla="*/ 492439 h 499576"/>
                    <a:gd name="connsiteX17" fmla="*/ 313201 w 640198"/>
                    <a:gd name="connsiteY17" fmla="*/ 492439 h 499576"/>
                    <a:gd name="connsiteX18" fmla="*/ 314260 w 640198"/>
                    <a:gd name="connsiteY18" fmla="*/ 499576 h 499576"/>
                    <a:gd name="connsiteX19" fmla="*/ 0 w 640198"/>
                    <a:gd name="connsiteY19" fmla="*/ 499576 h 499576"/>
                    <a:gd name="connsiteX20" fmla="*/ 0 w 640198"/>
                    <a:gd name="connsiteY2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77752 w 640198"/>
                    <a:gd name="connsiteY5" fmla="*/ 117955 h 499576"/>
                    <a:gd name="connsiteX6" fmla="*/ 62448 w 640198"/>
                    <a:gd name="connsiteY6" fmla="*/ 117955 h 499576"/>
                    <a:gd name="connsiteX7" fmla="*/ 0 w 640198"/>
                    <a:gd name="connsiteY7" fmla="*/ 0 h 499576"/>
                    <a:gd name="connsiteX8" fmla="*/ 640198 w 640198"/>
                    <a:gd name="connsiteY8" fmla="*/ 0 h 499576"/>
                    <a:gd name="connsiteX9" fmla="*/ 640198 w 640198"/>
                    <a:gd name="connsiteY9" fmla="*/ 332213 h 499576"/>
                    <a:gd name="connsiteX10" fmla="*/ 629943 w 640198"/>
                    <a:gd name="connsiteY10" fmla="*/ 328776 h 499576"/>
                    <a:gd name="connsiteX11" fmla="*/ 629943 w 640198"/>
                    <a:gd name="connsiteY11" fmla="*/ 411837 h 499576"/>
                    <a:gd name="connsiteX12" fmla="*/ 640198 w 640198"/>
                    <a:gd name="connsiteY12" fmla="*/ 415274 h 499576"/>
                    <a:gd name="connsiteX13" fmla="*/ 640198 w 640198"/>
                    <a:gd name="connsiteY13" fmla="*/ 499576 h 499576"/>
                    <a:gd name="connsiteX14" fmla="*/ 393877 w 640198"/>
                    <a:gd name="connsiteY14" fmla="*/ 499576 h 499576"/>
                    <a:gd name="connsiteX15" fmla="*/ 392818 w 640198"/>
                    <a:gd name="connsiteY15" fmla="*/ 492439 h 499576"/>
                    <a:gd name="connsiteX16" fmla="*/ 313201 w 640198"/>
                    <a:gd name="connsiteY16" fmla="*/ 492439 h 499576"/>
                    <a:gd name="connsiteX17" fmla="*/ 314260 w 640198"/>
                    <a:gd name="connsiteY17" fmla="*/ 499576 h 499576"/>
                    <a:gd name="connsiteX18" fmla="*/ 0 w 640198"/>
                    <a:gd name="connsiteY18" fmla="*/ 499576 h 499576"/>
                    <a:gd name="connsiteX19" fmla="*/ 0 w 640198"/>
                    <a:gd name="connsiteY19"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77752 w 640198"/>
                    <a:gd name="connsiteY4" fmla="*/ 117955 h 499576"/>
                    <a:gd name="connsiteX5" fmla="*/ 62448 w 640198"/>
                    <a:gd name="connsiteY5" fmla="*/ 117955 h 499576"/>
                    <a:gd name="connsiteX6" fmla="*/ 0 w 640198"/>
                    <a:gd name="connsiteY6" fmla="*/ 0 h 499576"/>
                    <a:gd name="connsiteX7" fmla="*/ 640198 w 640198"/>
                    <a:gd name="connsiteY7" fmla="*/ 0 h 499576"/>
                    <a:gd name="connsiteX8" fmla="*/ 640198 w 640198"/>
                    <a:gd name="connsiteY8" fmla="*/ 332213 h 499576"/>
                    <a:gd name="connsiteX9" fmla="*/ 629943 w 640198"/>
                    <a:gd name="connsiteY9" fmla="*/ 328776 h 499576"/>
                    <a:gd name="connsiteX10" fmla="*/ 629943 w 640198"/>
                    <a:gd name="connsiteY10" fmla="*/ 411837 h 499576"/>
                    <a:gd name="connsiteX11" fmla="*/ 640198 w 640198"/>
                    <a:gd name="connsiteY11" fmla="*/ 415274 h 499576"/>
                    <a:gd name="connsiteX12" fmla="*/ 640198 w 640198"/>
                    <a:gd name="connsiteY12" fmla="*/ 499576 h 499576"/>
                    <a:gd name="connsiteX13" fmla="*/ 393877 w 640198"/>
                    <a:gd name="connsiteY13" fmla="*/ 499576 h 499576"/>
                    <a:gd name="connsiteX14" fmla="*/ 392818 w 640198"/>
                    <a:gd name="connsiteY14" fmla="*/ 492439 h 499576"/>
                    <a:gd name="connsiteX15" fmla="*/ 313201 w 640198"/>
                    <a:gd name="connsiteY15" fmla="*/ 492439 h 499576"/>
                    <a:gd name="connsiteX16" fmla="*/ 314260 w 640198"/>
                    <a:gd name="connsiteY16" fmla="*/ 499576 h 499576"/>
                    <a:gd name="connsiteX17" fmla="*/ 0 w 640198"/>
                    <a:gd name="connsiteY17" fmla="*/ 499576 h 499576"/>
                    <a:gd name="connsiteX18" fmla="*/ 0 w 640198"/>
                    <a:gd name="connsiteY18"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328776 h 499576"/>
                    <a:gd name="connsiteX9" fmla="*/ 629943 w 640198"/>
                    <a:gd name="connsiteY9" fmla="*/ 411837 h 499576"/>
                    <a:gd name="connsiteX10" fmla="*/ 640198 w 640198"/>
                    <a:gd name="connsiteY10" fmla="*/ 415274 h 499576"/>
                    <a:gd name="connsiteX11" fmla="*/ 640198 w 640198"/>
                    <a:gd name="connsiteY11" fmla="*/ 499576 h 499576"/>
                    <a:gd name="connsiteX12" fmla="*/ 393877 w 640198"/>
                    <a:gd name="connsiteY12" fmla="*/ 499576 h 499576"/>
                    <a:gd name="connsiteX13" fmla="*/ 392818 w 640198"/>
                    <a:gd name="connsiteY13" fmla="*/ 492439 h 499576"/>
                    <a:gd name="connsiteX14" fmla="*/ 313201 w 640198"/>
                    <a:gd name="connsiteY14" fmla="*/ 492439 h 499576"/>
                    <a:gd name="connsiteX15" fmla="*/ 314260 w 640198"/>
                    <a:gd name="connsiteY15" fmla="*/ 499576 h 499576"/>
                    <a:gd name="connsiteX16" fmla="*/ 0 w 640198"/>
                    <a:gd name="connsiteY16" fmla="*/ 499576 h 499576"/>
                    <a:gd name="connsiteX17" fmla="*/ 0 w 640198"/>
                    <a:gd name="connsiteY17"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411837 h 499576"/>
                    <a:gd name="connsiteX9" fmla="*/ 640198 w 640198"/>
                    <a:gd name="connsiteY9" fmla="*/ 415274 h 499576"/>
                    <a:gd name="connsiteX10" fmla="*/ 640198 w 640198"/>
                    <a:gd name="connsiteY10" fmla="*/ 499576 h 499576"/>
                    <a:gd name="connsiteX11" fmla="*/ 393877 w 640198"/>
                    <a:gd name="connsiteY11" fmla="*/ 499576 h 499576"/>
                    <a:gd name="connsiteX12" fmla="*/ 392818 w 640198"/>
                    <a:gd name="connsiteY12" fmla="*/ 492439 h 499576"/>
                    <a:gd name="connsiteX13" fmla="*/ 313201 w 640198"/>
                    <a:gd name="connsiteY13" fmla="*/ 492439 h 499576"/>
                    <a:gd name="connsiteX14" fmla="*/ 314260 w 640198"/>
                    <a:gd name="connsiteY14" fmla="*/ 499576 h 499576"/>
                    <a:gd name="connsiteX15" fmla="*/ 0 w 640198"/>
                    <a:gd name="connsiteY15" fmla="*/ 499576 h 499576"/>
                    <a:gd name="connsiteX16" fmla="*/ 0 w 640198"/>
                    <a:gd name="connsiteY16"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29943 w 640198"/>
                    <a:gd name="connsiteY7" fmla="*/ 411837 h 499576"/>
                    <a:gd name="connsiteX8" fmla="*/ 640198 w 640198"/>
                    <a:gd name="connsiteY8" fmla="*/ 415274 h 499576"/>
                    <a:gd name="connsiteX9" fmla="*/ 640198 w 640198"/>
                    <a:gd name="connsiteY9" fmla="*/ 499576 h 499576"/>
                    <a:gd name="connsiteX10" fmla="*/ 393877 w 640198"/>
                    <a:gd name="connsiteY10" fmla="*/ 499576 h 499576"/>
                    <a:gd name="connsiteX11" fmla="*/ 392818 w 640198"/>
                    <a:gd name="connsiteY11" fmla="*/ 492439 h 499576"/>
                    <a:gd name="connsiteX12" fmla="*/ 313201 w 640198"/>
                    <a:gd name="connsiteY12" fmla="*/ 492439 h 499576"/>
                    <a:gd name="connsiteX13" fmla="*/ 314260 w 640198"/>
                    <a:gd name="connsiteY13" fmla="*/ 499576 h 499576"/>
                    <a:gd name="connsiteX14" fmla="*/ 0 w 640198"/>
                    <a:gd name="connsiteY14" fmla="*/ 499576 h 499576"/>
                    <a:gd name="connsiteX15" fmla="*/ 0 w 640198"/>
                    <a:gd name="connsiteY15"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15274 h 499576"/>
                    <a:gd name="connsiteX8" fmla="*/ 640198 w 640198"/>
                    <a:gd name="connsiteY8" fmla="*/ 499576 h 499576"/>
                    <a:gd name="connsiteX9" fmla="*/ 393877 w 640198"/>
                    <a:gd name="connsiteY9" fmla="*/ 499576 h 499576"/>
                    <a:gd name="connsiteX10" fmla="*/ 392818 w 640198"/>
                    <a:gd name="connsiteY10" fmla="*/ 492439 h 499576"/>
                    <a:gd name="connsiteX11" fmla="*/ 313201 w 640198"/>
                    <a:gd name="connsiteY11" fmla="*/ 492439 h 499576"/>
                    <a:gd name="connsiteX12" fmla="*/ 314260 w 640198"/>
                    <a:gd name="connsiteY12" fmla="*/ 499576 h 499576"/>
                    <a:gd name="connsiteX13" fmla="*/ 0 w 640198"/>
                    <a:gd name="connsiteY13" fmla="*/ 499576 h 499576"/>
                    <a:gd name="connsiteX14" fmla="*/ 0 w 640198"/>
                    <a:gd name="connsiteY14"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314260 w 640198"/>
                    <a:gd name="connsiteY11" fmla="*/ 499576 h 499576"/>
                    <a:gd name="connsiteX12" fmla="*/ 0 w 640198"/>
                    <a:gd name="connsiteY12" fmla="*/ 499576 h 499576"/>
                    <a:gd name="connsiteX13" fmla="*/ 0 w 640198"/>
                    <a:gd name="connsiteY13"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0 w 640198"/>
                    <a:gd name="connsiteY11" fmla="*/ 499576 h 499576"/>
                    <a:gd name="connsiteX12" fmla="*/ 0 w 640198"/>
                    <a:gd name="connsiteY1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0 w 640198"/>
                    <a:gd name="connsiteY10" fmla="*/ 499576 h 499576"/>
                    <a:gd name="connsiteX11" fmla="*/ 0 w 640198"/>
                    <a:gd name="connsiteY1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0 w 640198"/>
                    <a:gd name="connsiteY9" fmla="*/ 499576 h 499576"/>
                    <a:gd name="connsiteX10" fmla="*/ 0 w 640198"/>
                    <a:gd name="connsiteY1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0 w 640198"/>
                    <a:gd name="connsiteY8" fmla="*/ 499576 h 499576"/>
                    <a:gd name="connsiteX9" fmla="*/ 0 w 640198"/>
                    <a:gd name="connsiteY9" fmla="*/ 0 h 499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198" h="499576">
                      <a:moveTo>
                        <a:pt x="62448" y="117955"/>
                      </a:moveTo>
                      <a:lnTo>
                        <a:pt x="62448" y="437130"/>
                      </a:lnTo>
                      <a:lnTo>
                        <a:pt x="577752" y="437130"/>
                      </a:lnTo>
                      <a:lnTo>
                        <a:pt x="577752" y="117955"/>
                      </a:lnTo>
                      <a:lnTo>
                        <a:pt x="62448" y="117955"/>
                      </a:lnTo>
                      <a:close/>
                      <a:moveTo>
                        <a:pt x="0" y="0"/>
                      </a:moveTo>
                      <a:lnTo>
                        <a:pt x="640198" y="0"/>
                      </a:lnTo>
                      <a:lnTo>
                        <a:pt x="640198" y="499576"/>
                      </a:lnTo>
                      <a:lnTo>
                        <a:pt x="0" y="499576"/>
                      </a:lnTo>
                      <a:lnTo>
                        <a:pt x="0" y="0"/>
                      </a:lnTo>
                      <a:close/>
                    </a:path>
                  </a:pathLst>
                </a:custGeom>
                <a:solidFill>
                  <a:schemeClr val="accent1"/>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grpSp>
        <p:pic>
          <p:nvPicPr>
            <p:cNvPr id="158" name="Picture 157">
              <a:extLst>
                <a:ext uri="{FF2B5EF4-FFF2-40B4-BE49-F238E27FC236}">
                  <a16:creationId xmlns:a16="http://schemas.microsoft.com/office/drawing/2014/main" id="{E47841E0-4DA3-4051-A059-7E08062BBC87}"/>
                </a:ext>
              </a:extLst>
            </p:cNvPr>
            <p:cNvPicPr>
              <a:picLocks noChangeAspect="1"/>
            </p:cNvPicPr>
            <p:nvPr/>
          </p:nvPicPr>
          <p:blipFill rotWithShape="1">
            <a:blip r:embed="rId5">
              <a:extLst>
                <a:ext uri="{28A0092B-C50C-407E-A947-70E740481C1C}">
                  <a14:useLocalDpi xmlns:a14="http://schemas.microsoft.com/office/drawing/2010/main" val="0"/>
                </a:ext>
              </a:extLst>
            </a:blip>
            <a:srcRect l="-3846" t="-3556" r="-2378" b="-13377"/>
            <a:stretch/>
          </p:blipFill>
          <p:spPr>
            <a:xfrm>
              <a:off x="1077356" y="3024905"/>
              <a:ext cx="460648" cy="265232"/>
            </a:xfrm>
            <a:prstGeom prst="rect">
              <a:avLst/>
            </a:prstGeom>
            <a:solidFill>
              <a:srgbClr val="E6E6E6"/>
            </a:solidFill>
          </p:spPr>
        </p:pic>
      </p:grpSp>
      <p:sp>
        <p:nvSpPr>
          <p:cNvPr id="164" name="Rectangle 163">
            <a:extLst>
              <a:ext uri="{FF2B5EF4-FFF2-40B4-BE49-F238E27FC236}">
                <a16:creationId xmlns:a16="http://schemas.microsoft.com/office/drawing/2014/main" id="{A0D216A3-5B5D-44C8-ADD7-162C93287159}"/>
              </a:ext>
            </a:extLst>
          </p:cNvPr>
          <p:cNvSpPr/>
          <p:nvPr/>
        </p:nvSpPr>
        <p:spPr>
          <a:xfrm>
            <a:off x="978774" y="1550492"/>
            <a:ext cx="413896" cy="246221"/>
          </a:xfrm>
          <a:prstGeom prst="rect">
            <a:avLst/>
          </a:prstGeom>
          <a:solidFill>
            <a:srgbClr val="E6E6E6"/>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SQL</a:t>
            </a:r>
            <a:endParaRPr kumimoji="0" lang="en-US" sz="1200" b="0" i="0" u="none" strike="noStrike" kern="1200" cap="none" spc="0" normalizeH="0" baseline="0" noProof="0" dirty="0">
              <a:ln>
                <a:noFill/>
              </a:ln>
              <a:solidFill>
                <a:srgbClr val="1A1A1A"/>
              </a:solidFill>
              <a:effectLst/>
              <a:uLnTx/>
              <a:uFillTx/>
              <a:latin typeface="Segoe UI"/>
              <a:ea typeface="+mn-ea"/>
              <a:cs typeface="+mn-cs"/>
            </a:endParaRPr>
          </a:p>
        </p:txBody>
      </p:sp>
      <p:pic>
        <p:nvPicPr>
          <p:cNvPr id="165" name="Picture 164">
            <a:extLst>
              <a:ext uri="{FF2B5EF4-FFF2-40B4-BE49-F238E27FC236}">
                <a16:creationId xmlns:a16="http://schemas.microsoft.com/office/drawing/2014/main" id="{27515EC2-4DC4-469A-94A2-028082BFFB4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7248" y="2685370"/>
            <a:ext cx="571875" cy="424535"/>
          </a:xfrm>
          <a:prstGeom prst="rect">
            <a:avLst/>
          </a:prstGeom>
        </p:spPr>
      </p:pic>
      <p:sp>
        <p:nvSpPr>
          <p:cNvPr id="166" name="Rectangle 165">
            <a:extLst>
              <a:ext uri="{FF2B5EF4-FFF2-40B4-BE49-F238E27FC236}">
                <a16:creationId xmlns:a16="http://schemas.microsoft.com/office/drawing/2014/main" id="{6836CDFD-0BF1-4C49-AD20-86BC6A3EA221}"/>
              </a:ext>
            </a:extLst>
          </p:cNvPr>
          <p:cNvSpPr/>
          <p:nvPr/>
        </p:nvSpPr>
        <p:spPr>
          <a:xfrm>
            <a:off x="852223" y="1222773"/>
            <a:ext cx="904414" cy="246221"/>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Polybase++</a:t>
            </a:r>
          </a:p>
        </p:txBody>
      </p:sp>
      <p:pic>
        <p:nvPicPr>
          <p:cNvPr id="167" name="Picture 4">
            <a:extLst>
              <a:ext uri="{FF2B5EF4-FFF2-40B4-BE49-F238E27FC236}">
                <a16:creationId xmlns:a16="http://schemas.microsoft.com/office/drawing/2014/main" id="{EEFA9035-4927-4663-981F-FD3CAA808AC3}"/>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bwMode="auto">
          <a:xfrm>
            <a:off x="1775114" y="2417694"/>
            <a:ext cx="970331" cy="262734"/>
          </a:xfrm>
          <a:prstGeom prst="rect">
            <a:avLst/>
          </a:prstGeom>
          <a:noFill/>
          <a:extLst>
            <a:ext uri="{909E8E84-426E-40DD-AFC4-6F175D3DCCD1}">
              <a14:hiddenFill xmlns:a14="http://schemas.microsoft.com/office/drawing/2010/main">
                <a:solidFill>
                  <a:srgbClr val="FFFFFF"/>
                </a:solidFill>
              </a14:hiddenFill>
            </a:ext>
          </a:extLst>
        </p:spPr>
      </p:pic>
      <p:pic>
        <p:nvPicPr>
          <p:cNvPr id="168" name="Picture 14" descr="Image result for Oracle">
            <a:extLst>
              <a:ext uri="{FF2B5EF4-FFF2-40B4-BE49-F238E27FC236}">
                <a16:creationId xmlns:a16="http://schemas.microsoft.com/office/drawing/2014/main" id="{A6BC77A6-8FA8-4023-BAFD-B7A18BD41DD2}"/>
              </a:ext>
            </a:extLst>
          </p:cNvPr>
          <p:cNvPicPr>
            <a:picLocks noChangeAspect="1" noChangeArrowheads="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816572" y="1308211"/>
            <a:ext cx="932452" cy="132462"/>
          </a:xfrm>
          <a:prstGeom prst="rect">
            <a:avLst/>
          </a:prstGeom>
          <a:noFill/>
          <a:extLst>
            <a:ext uri="{909E8E84-426E-40DD-AFC4-6F175D3DCCD1}">
              <a14:hiddenFill xmlns:a14="http://schemas.microsoft.com/office/drawing/2010/main">
                <a:solidFill>
                  <a:srgbClr val="FFFFFF"/>
                </a:solidFill>
              </a14:hiddenFill>
            </a:ext>
          </a:extLst>
        </p:spPr>
      </p:pic>
      <p:pic>
        <p:nvPicPr>
          <p:cNvPr id="169" name="Picture 2" descr="http://www.bojanglesmuseum.com/wp-content/uploads/2017/07/Cool-Microsoft-Sql-Server-Logo-98-On-Create-A-Free-Logo-with-Microsoft-Sql-Server-Logo.jpg">
            <a:extLst>
              <a:ext uri="{FF2B5EF4-FFF2-40B4-BE49-F238E27FC236}">
                <a16:creationId xmlns:a16="http://schemas.microsoft.com/office/drawing/2014/main" id="{4442BFA5-C92F-4016-8C67-CCC474BCAB0D}"/>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728458" y="1505555"/>
            <a:ext cx="1004304" cy="507252"/>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mage result for hdfs basic logo blue">
            <a:extLst>
              <a:ext uri="{FF2B5EF4-FFF2-40B4-BE49-F238E27FC236}">
                <a16:creationId xmlns:a16="http://schemas.microsoft.com/office/drawing/2014/main" id="{8A6AD905-B31F-4CCB-BA7E-D140AE334BD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74499" y="2264659"/>
            <a:ext cx="460648" cy="334738"/>
          </a:xfrm>
          <a:prstGeom prst="rect">
            <a:avLst/>
          </a:prstGeom>
          <a:noFill/>
          <a:extLst>
            <a:ext uri="{909E8E84-426E-40DD-AFC4-6F175D3DCCD1}">
              <a14:hiddenFill xmlns:a14="http://schemas.microsoft.com/office/drawing/2010/main">
                <a:solidFill>
                  <a:srgbClr val="FFFFFF"/>
                </a:solidFill>
              </a14:hiddenFill>
            </a:ext>
          </a:extLst>
        </p:spPr>
      </p:pic>
      <p:grpSp>
        <p:nvGrpSpPr>
          <p:cNvPr id="178" name="Group 177">
            <a:extLst>
              <a:ext uri="{FF2B5EF4-FFF2-40B4-BE49-F238E27FC236}">
                <a16:creationId xmlns:a16="http://schemas.microsoft.com/office/drawing/2014/main" id="{20B7AB61-2A62-4244-A478-44D22F13E6B0}"/>
              </a:ext>
            </a:extLst>
          </p:cNvPr>
          <p:cNvGrpSpPr/>
          <p:nvPr/>
        </p:nvGrpSpPr>
        <p:grpSpPr>
          <a:xfrm>
            <a:off x="9130608" y="1257813"/>
            <a:ext cx="1080557" cy="165753"/>
            <a:chOff x="9569865" y="3406625"/>
            <a:chExt cx="1080557" cy="165753"/>
          </a:xfrm>
        </p:grpSpPr>
        <p:cxnSp>
          <p:nvCxnSpPr>
            <p:cNvPr id="179" name="Straight Arrow Connector 178">
              <a:extLst>
                <a:ext uri="{FF2B5EF4-FFF2-40B4-BE49-F238E27FC236}">
                  <a16:creationId xmlns:a16="http://schemas.microsoft.com/office/drawing/2014/main" id="{40401D5D-0186-48C5-94B8-4A32FF608864}"/>
                </a:ext>
              </a:extLst>
            </p:cNvPr>
            <p:cNvCxnSpPr>
              <a:cxnSpLocks/>
            </p:cNvCxnSpPr>
            <p:nvPr/>
          </p:nvCxnSpPr>
          <p:spPr>
            <a:xfrm>
              <a:off x="9576047" y="3406625"/>
              <a:ext cx="1074375" cy="0"/>
            </a:xfrm>
            <a:prstGeom prst="straightConnector1">
              <a:avLst/>
            </a:prstGeom>
            <a:noFill/>
            <a:ln w="12700" cap="flat" cmpd="sng" algn="ctr">
              <a:solidFill>
                <a:srgbClr val="0078D7"/>
              </a:solidFill>
              <a:prstDash val="solid"/>
              <a:tailEnd type="triangle"/>
            </a:ln>
            <a:effectLst/>
          </p:spPr>
        </p:cxnSp>
        <p:cxnSp>
          <p:nvCxnSpPr>
            <p:cNvPr id="190" name="Straight Arrow Connector 189">
              <a:extLst>
                <a:ext uri="{FF2B5EF4-FFF2-40B4-BE49-F238E27FC236}">
                  <a16:creationId xmlns:a16="http://schemas.microsoft.com/office/drawing/2014/main" id="{FCA36DB7-9FBA-4B30-8833-2D88F1132D9A}"/>
                </a:ext>
              </a:extLst>
            </p:cNvPr>
            <p:cNvCxnSpPr/>
            <p:nvPr/>
          </p:nvCxnSpPr>
          <p:spPr>
            <a:xfrm>
              <a:off x="9569865" y="3572378"/>
              <a:ext cx="1071330" cy="0"/>
            </a:xfrm>
            <a:prstGeom prst="straightConnector1">
              <a:avLst/>
            </a:prstGeom>
            <a:noFill/>
            <a:ln w="12700" cap="flat" cmpd="sng" algn="ctr">
              <a:solidFill>
                <a:srgbClr val="0078D7"/>
              </a:solidFill>
              <a:prstDash val="solid"/>
              <a:headEnd type="triangle"/>
              <a:tailEnd type="none"/>
            </a:ln>
            <a:effectLst/>
          </p:spPr>
        </p:cxnSp>
      </p:grpSp>
      <p:sp>
        <p:nvSpPr>
          <p:cNvPr id="191" name="TextBox 190">
            <a:extLst>
              <a:ext uri="{FF2B5EF4-FFF2-40B4-BE49-F238E27FC236}">
                <a16:creationId xmlns:a16="http://schemas.microsoft.com/office/drawing/2014/main" id="{D3B86823-9525-465C-8C8E-4F828F65B569}"/>
              </a:ext>
            </a:extLst>
          </p:cNvPr>
          <p:cNvSpPr txBox="1"/>
          <p:nvPr/>
        </p:nvSpPr>
        <p:spPr>
          <a:xfrm>
            <a:off x="9277398" y="982473"/>
            <a:ext cx="805029" cy="2616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78D7"/>
                </a:solidFill>
                <a:effectLst/>
                <a:uLnTx/>
                <a:uFillTx/>
              </a:rPr>
              <a:t>ciphertext</a:t>
            </a:r>
          </a:p>
        </p:txBody>
      </p:sp>
      <p:grpSp>
        <p:nvGrpSpPr>
          <p:cNvPr id="202" name="Group 201">
            <a:extLst>
              <a:ext uri="{FF2B5EF4-FFF2-40B4-BE49-F238E27FC236}">
                <a16:creationId xmlns:a16="http://schemas.microsoft.com/office/drawing/2014/main" id="{04E50A7C-D640-4E01-9EC9-C3BD2AD7A42D}"/>
              </a:ext>
            </a:extLst>
          </p:cNvPr>
          <p:cNvGrpSpPr/>
          <p:nvPr/>
        </p:nvGrpSpPr>
        <p:grpSpPr>
          <a:xfrm>
            <a:off x="9523537" y="657346"/>
            <a:ext cx="244414" cy="299196"/>
            <a:chOff x="965200" y="3436897"/>
            <a:chExt cx="528881" cy="647424"/>
          </a:xfrm>
        </p:grpSpPr>
        <p:grpSp>
          <p:nvGrpSpPr>
            <p:cNvPr id="210" name="Group 209">
              <a:extLst>
                <a:ext uri="{FF2B5EF4-FFF2-40B4-BE49-F238E27FC236}">
                  <a16:creationId xmlns:a16="http://schemas.microsoft.com/office/drawing/2014/main" id="{22B49711-598C-4B51-92EB-DE6536CC12E1}"/>
                </a:ext>
              </a:extLst>
            </p:cNvPr>
            <p:cNvGrpSpPr/>
            <p:nvPr/>
          </p:nvGrpSpPr>
          <p:grpSpPr>
            <a:xfrm flipH="1">
              <a:off x="965200" y="3436897"/>
              <a:ext cx="528881" cy="647424"/>
              <a:chOff x="3003960" y="3685414"/>
              <a:chExt cx="403310" cy="493707"/>
            </a:xfrm>
          </p:grpSpPr>
          <p:sp>
            <p:nvSpPr>
              <p:cNvPr id="218" name="Snip Single Corner Rectangle 26">
                <a:extLst>
                  <a:ext uri="{FF2B5EF4-FFF2-40B4-BE49-F238E27FC236}">
                    <a16:creationId xmlns:a16="http://schemas.microsoft.com/office/drawing/2014/main" id="{9DC075C1-7E60-4527-B234-D410879F3E29}"/>
                  </a:ext>
                </a:extLst>
              </p:cNvPr>
              <p:cNvSpPr/>
              <p:nvPr/>
            </p:nvSpPr>
            <p:spPr bwMode="auto">
              <a:xfrm flipH="1">
                <a:off x="3003960" y="3685414"/>
                <a:ext cx="403310" cy="493707"/>
              </a:xfrm>
              <a:prstGeom prst="snip1Rect">
                <a:avLst>
                  <a:gd name="adj" fmla="val 28736"/>
                </a:avLst>
              </a:pr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9" name="Triangle 27">
                <a:extLst>
                  <a:ext uri="{FF2B5EF4-FFF2-40B4-BE49-F238E27FC236}">
                    <a16:creationId xmlns:a16="http://schemas.microsoft.com/office/drawing/2014/main" id="{F4B7353A-558B-4745-986A-728371C49B19}"/>
                  </a:ext>
                </a:extLst>
              </p:cNvPr>
              <p:cNvSpPr/>
              <p:nvPr/>
            </p:nvSpPr>
            <p:spPr bwMode="auto">
              <a:xfrm rot="8100000">
                <a:off x="3012552" y="3733609"/>
                <a:ext cx="160049" cy="80930"/>
              </a:xfrm>
              <a:prstGeom prst="triangle">
                <a:avLst/>
              </a:prstGeom>
              <a:noFill/>
              <a:ln w="12700" cap="flat" cmpd="sng" algn="ctr">
                <a:solidFill>
                  <a:srgbClr val="0078D7"/>
                </a:solidFill>
                <a:prstDash val="solid"/>
                <a:bevel/>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211" name="Straight Connector 210">
              <a:extLst>
                <a:ext uri="{FF2B5EF4-FFF2-40B4-BE49-F238E27FC236}">
                  <a16:creationId xmlns:a16="http://schemas.microsoft.com/office/drawing/2014/main" id="{F17FE764-C1C7-4F2B-B2DF-D2BAA10F0280}"/>
                </a:ext>
              </a:extLst>
            </p:cNvPr>
            <p:cNvCxnSpPr/>
            <p:nvPr/>
          </p:nvCxnSpPr>
          <p:spPr>
            <a:xfrm>
              <a:off x="1047750" y="3578225"/>
              <a:ext cx="215900" cy="0"/>
            </a:xfrm>
            <a:prstGeom prst="line">
              <a:avLst/>
            </a:prstGeom>
            <a:noFill/>
            <a:ln w="12700" cap="rnd" cmpd="sng" algn="ctr">
              <a:solidFill>
                <a:srgbClr val="0078D7"/>
              </a:solidFill>
              <a:prstDash val="solid"/>
              <a:miter lim="800000"/>
              <a:headEnd type="none"/>
              <a:tailEnd type="none"/>
            </a:ln>
            <a:effectLst/>
          </p:spPr>
        </p:cxnSp>
        <p:cxnSp>
          <p:nvCxnSpPr>
            <p:cNvPr id="212" name="Straight Connector 211">
              <a:extLst>
                <a:ext uri="{FF2B5EF4-FFF2-40B4-BE49-F238E27FC236}">
                  <a16:creationId xmlns:a16="http://schemas.microsoft.com/office/drawing/2014/main" id="{01B32623-5AE4-4F07-AA9F-0FC9910A3984}"/>
                </a:ext>
              </a:extLst>
            </p:cNvPr>
            <p:cNvCxnSpPr/>
            <p:nvPr/>
          </p:nvCxnSpPr>
          <p:spPr>
            <a:xfrm>
              <a:off x="1047750" y="3697817"/>
              <a:ext cx="368300" cy="0"/>
            </a:xfrm>
            <a:prstGeom prst="line">
              <a:avLst/>
            </a:prstGeom>
            <a:noFill/>
            <a:ln w="12700" cap="rnd" cmpd="sng" algn="ctr">
              <a:solidFill>
                <a:srgbClr val="0078D7"/>
              </a:solidFill>
              <a:prstDash val="solid"/>
              <a:miter lim="800000"/>
              <a:headEnd type="none"/>
              <a:tailEnd type="none"/>
            </a:ln>
            <a:effectLst/>
          </p:spPr>
        </p:cxnSp>
        <p:cxnSp>
          <p:nvCxnSpPr>
            <p:cNvPr id="216" name="Straight Connector 215">
              <a:extLst>
                <a:ext uri="{FF2B5EF4-FFF2-40B4-BE49-F238E27FC236}">
                  <a16:creationId xmlns:a16="http://schemas.microsoft.com/office/drawing/2014/main" id="{0EC05BD5-92C6-41E7-9D55-A7910EDC5EAA}"/>
                </a:ext>
              </a:extLst>
            </p:cNvPr>
            <p:cNvCxnSpPr/>
            <p:nvPr/>
          </p:nvCxnSpPr>
          <p:spPr>
            <a:xfrm>
              <a:off x="1047750" y="3817409"/>
              <a:ext cx="368300" cy="0"/>
            </a:xfrm>
            <a:prstGeom prst="line">
              <a:avLst/>
            </a:prstGeom>
            <a:noFill/>
            <a:ln w="12700" cap="rnd" cmpd="sng" algn="ctr">
              <a:solidFill>
                <a:srgbClr val="0078D7"/>
              </a:solidFill>
              <a:prstDash val="solid"/>
              <a:miter lim="800000"/>
              <a:headEnd type="none"/>
              <a:tailEnd type="none"/>
            </a:ln>
            <a:effectLst/>
          </p:spPr>
        </p:cxnSp>
        <p:cxnSp>
          <p:nvCxnSpPr>
            <p:cNvPr id="217" name="Straight Connector 216">
              <a:extLst>
                <a:ext uri="{FF2B5EF4-FFF2-40B4-BE49-F238E27FC236}">
                  <a16:creationId xmlns:a16="http://schemas.microsoft.com/office/drawing/2014/main" id="{4D897F7F-0238-4465-A2FB-3A77FCA71D27}"/>
                </a:ext>
              </a:extLst>
            </p:cNvPr>
            <p:cNvCxnSpPr/>
            <p:nvPr/>
          </p:nvCxnSpPr>
          <p:spPr>
            <a:xfrm>
              <a:off x="1047750" y="3937000"/>
              <a:ext cx="368300" cy="0"/>
            </a:xfrm>
            <a:prstGeom prst="line">
              <a:avLst/>
            </a:prstGeom>
            <a:noFill/>
            <a:ln w="12700" cap="rnd" cmpd="sng" algn="ctr">
              <a:solidFill>
                <a:srgbClr val="0078D7"/>
              </a:solidFill>
              <a:prstDash val="solid"/>
              <a:miter lim="800000"/>
              <a:headEnd type="none"/>
              <a:tailEnd type="none"/>
            </a:ln>
            <a:effectLst/>
          </p:spPr>
        </p:cxnSp>
      </p:grpSp>
      <p:sp>
        <p:nvSpPr>
          <p:cNvPr id="230" name="Rectangle 229">
            <a:extLst>
              <a:ext uri="{FF2B5EF4-FFF2-40B4-BE49-F238E27FC236}">
                <a16:creationId xmlns:a16="http://schemas.microsoft.com/office/drawing/2014/main" id="{6D4C6F1E-DBD8-44D1-9A6D-16233B8CC810}"/>
              </a:ext>
            </a:extLst>
          </p:cNvPr>
          <p:cNvSpPr/>
          <p:nvPr/>
        </p:nvSpPr>
        <p:spPr>
          <a:xfrm>
            <a:off x="9907840" y="2399011"/>
            <a:ext cx="1316738" cy="1213753"/>
          </a:xfrm>
          <a:prstGeom prst="rect">
            <a:avLst/>
          </a:prstGeom>
          <a:noFill/>
          <a:ln w="12700" cap="flat" cmpd="sng" algn="ctr">
            <a:solidFill>
              <a:srgbClr val="0078D7"/>
            </a:solidFill>
            <a:prstDash val="dash"/>
          </a:ln>
          <a:effectLst/>
        </p:spPr>
        <p:txBody>
          <a:bodyPr rtlCol="0" anchor="b"/>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mj-lt"/>
                <a:ea typeface="+mn-ea"/>
                <a:cs typeface="+mn-cs"/>
              </a:rPr>
              <a:t>Enclave</a:t>
            </a:r>
          </a:p>
        </p:txBody>
      </p:sp>
      <p:sp>
        <p:nvSpPr>
          <p:cNvPr id="232" name="TextBox 231">
            <a:extLst>
              <a:ext uri="{FF2B5EF4-FFF2-40B4-BE49-F238E27FC236}">
                <a16:creationId xmlns:a16="http://schemas.microsoft.com/office/drawing/2014/main" id="{2169D1F6-0D80-46E9-A632-FBFDAD0BD39C}"/>
              </a:ext>
            </a:extLst>
          </p:cNvPr>
          <p:cNvSpPr txBox="1"/>
          <p:nvPr/>
        </p:nvSpPr>
        <p:spPr>
          <a:xfrm>
            <a:off x="10186137" y="2997733"/>
            <a:ext cx="760144" cy="2616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78D7"/>
                </a:solidFill>
                <a:effectLst/>
                <a:uLnTx/>
                <a:uFillTx/>
              </a:rPr>
              <a:t>plaintext </a:t>
            </a:r>
          </a:p>
        </p:txBody>
      </p:sp>
      <p:grpSp>
        <p:nvGrpSpPr>
          <p:cNvPr id="233" name="Group 232">
            <a:extLst>
              <a:ext uri="{FF2B5EF4-FFF2-40B4-BE49-F238E27FC236}">
                <a16:creationId xmlns:a16="http://schemas.microsoft.com/office/drawing/2014/main" id="{EF00EEBA-9223-4220-883E-84EBCA437C0E}"/>
              </a:ext>
            </a:extLst>
          </p:cNvPr>
          <p:cNvGrpSpPr/>
          <p:nvPr/>
        </p:nvGrpSpPr>
        <p:grpSpPr>
          <a:xfrm>
            <a:off x="10444002" y="2699937"/>
            <a:ext cx="244414" cy="299196"/>
            <a:chOff x="965200" y="3436897"/>
            <a:chExt cx="528881" cy="647424"/>
          </a:xfrm>
        </p:grpSpPr>
        <p:grpSp>
          <p:nvGrpSpPr>
            <p:cNvPr id="234" name="Group 233">
              <a:extLst>
                <a:ext uri="{FF2B5EF4-FFF2-40B4-BE49-F238E27FC236}">
                  <a16:creationId xmlns:a16="http://schemas.microsoft.com/office/drawing/2014/main" id="{BEAA81F6-C994-4644-9940-280A52C718A4}"/>
                </a:ext>
              </a:extLst>
            </p:cNvPr>
            <p:cNvGrpSpPr/>
            <p:nvPr/>
          </p:nvGrpSpPr>
          <p:grpSpPr>
            <a:xfrm flipH="1">
              <a:off x="965200" y="3436897"/>
              <a:ext cx="528881" cy="647424"/>
              <a:chOff x="3003960" y="3685414"/>
              <a:chExt cx="403310" cy="493707"/>
            </a:xfrm>
          </p:grpSpPr>
          <p:sp>
            <p:nvSpPr>
              <p:cNvPr id="239" name="Snip Single Corner Rectangle 26">
                <a:extLst>
                  <a:ext uri="{FF2B5EF4-FFF2-40B4-BE49-F238E27FC236}">
                    <a16:creationId xmlns:a16="http://schemas.microsoft.com/office/drawing/2014/main" id="{1DF5AD0F-47CE-4BC9-B264-53281C7B0004}"/>
                  </a:ext>
                </a:extLst>
              </p:cNvPr>
              <p:cNvSpPr/>
              <p:nvPr/>
            </p:nvSpPr>
            <p:spPr bwMode="auto">
              <a:xfrm flipH="1">
                <a:off x="3003960" y="3685414"/>
                <a:ext cx="403310" cy="493707"/>
              </a:xfrm>
              <a:prstGeom prst="snip1Rect">
                <a:avLst>
                  <a:gd name="adj" fmla="val 28736"/>
                </a:avLst>
              </a:pr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0" name="Triangle 27">
                <a:extLst>
                  <a:ext uri="{FF2B5EF4-FFF2-40B4-BE49-F238E27FC236}">
                    <a16:creationId xmlns:a16="http://schemas.microsoft.com/office/drawing/2014/main" id="{DC6873A3-739F-45CD-96CD-5937315C088D}"/>
                  </a:ext>
                </a:extLst>
              </p:cNvPr>
              <p:cNvSpPr/>
              <p:nvPr/>
            </p:nvSpPr>
            <p:spPr bwMode="auto">
              <a:xfrm rot="8100000">
                <a:off x="3012552" y="3733609"/>
                <a:ext cx="160049" cy="80930"/>
              </a:xfrm>
              <a:prstGeom prst="triangle">
                <a:avLst/>
              </a:prstGeom>
              <a:noFill/>
              <a:ln w="12700" cap="flat" cmpd="sng" algn="ctr">
                <a:solidFill>
                  <a:srgbClr val="0078D7"/>
                </a:solidFill>
                <a:prstDash val="solid"/>
                <a:bevel/>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235" name="Straight Connector 234">
              <a:extLst>
                <a:ext uri="{FF2B5EF4-FFF2-40B4-BE49-F238E27FC236}">
                  <a16:creationId xmlns:a16="http://schemas.microsoft.com/office/drawing/2014/main" id="{62BDE002-D5AB-4B17-949B-E57ABE5E50BB}"/>
                </a:ext>
              </a:extLst>
            </p:cNvPr>
            <p:cNvCxnSpPr/>
            <p:nvPr/>
          </p:nvCxnSpPr>
          <p:spPr>
            <a:xfrm>
              <a:off x="1047750" y="3578225"/>
              <a:ext cx="215900" cy="0"/>
            </a:xfrm>
            <a:prstGeom prst="line">
              <a:avLst/>
            </a:prstGeom>
            <a:noFill/>
            <a:ln w="12700" cap="rnd" cmpd="sng" algn="ctr">
              <a:solidFill>
                <a:srgbClr val="0078D7"/>
              </a:solidFill>
              <a:prstDash val="solid"/>
              <a:miter lim="800000"/>
              <a:headEnd type="none"/>
              <a:tailEnd type="none"/>
            </a:ln>
            <a:effectLst/>
          </p:spPr>
        </p:cxnSp>
        <p:cxnSp>
          <p:nvCxnSpPr>
            <p:cNvPr id="236" name="Straight Connector 235">
              <a:extLst>
                <a:ext uri="{FF2B5EF4-FFF2-40B4-BE49-F238E27FC236}">
                  <a16:creationId xmlns:a16="http://schemas.microsoft.com/office/drawing/2014/main" id="{DEB96903-E61A-47D9-9190-66B95380A10A}"/>
                </a:ext>
              </a:extLst>
            </p:cNvPr>
            <p:cNvCxnSpPr/>
            <p:nvPr/>
          </p:nvCxnSpPr>
          <p:spPr>
            <a:xfrm>
              <a:off x="1047750" y="3697817"/>
              <a:ext cx="368300" cy="0"/>
            </a:xfrm>
            <a:prstGeom prst="line">
              <a:avLst/>
            </a:prstGeom>
            <a:noFill/>
            <a:ln w="12700" cap="rnd" cmpd="sng" algn="ctr">
              <a:solidFill>
                <a:srgbClr val="0078D7"/>
              </a:solidFill>
              <a:prstDash val="solid"/>
              <a:miter lim="800000"/>
              <a:headEnd type="none"/>
              <a:tailEnd type="none"/>
            </a:ln>
            <a:effectLst/>
          </p:spPr>
        </p:cxnSp>
        <p:cxnSp>
          <p:nvCxnSpPr>
            <p:cNvPr id="237" name="Straight Connector 236">
              <a:extLst>
                <a:ext uri="{FF2B5EF4-FFF2-40B4-BE49-F238E27FC236}">
                  <a16:creationId xmlns:a16="http://schemas.microsoft.com/office/drawing/2014/main" id="{793BA0DF-E801-4A6D-AF2B-D9790D921530}"/>
                </a:ext>
              </a:extLst>
            </p:cNvPr>
            <p:cNvCxnSpPr/>
            <p:nvPr/>
          </p:nvCxnSpPr>
          <p:spPr>
            <a:xfrm>
              <a:off x="1047750" y="3817409"/>
              <a:ext cx="368300" cy="0"/>
            </a:xfrm>
            <a:prstGeom prst="line">
              <a:avLst/>
            </a:prstGeom>
            <a:noFill/>
            <a:ln w="12700" cap="rnd" cmpd="sng" algn="ctr">
              <a:solidFill>
                <a:srgbClr val="0078D7"/>
              </a:solidFill>
              <a:prstDash val="solid"/>
              <a:miter lim="800000"/>
              <a:headEnd type="none"/>
              <a:tailEnd type="none"/>
            </a:ln>
            <a:effectLst/>
          </p:spPr>
        </p:cxnSp>
        <p:cxnSp>
          <p:nvCxnSpPr>
            <p:cNvPr id="238" name="Straight Connector 237">
              <a:extLst>
                <a:ext uri="{FF2B5EF4-FFF2-40B4-BE49-F238E27FC236}">
                  <a16:creationId xmlns:a16="http://schemas.microsoft.com/office/drawing/2014/main" id="{D472E83B-EBB0-4EA8-B6FF-5C6589B01EFF}"/>
                </a:ext>
              </a:extLst>
            </p:cNvPr>
            <p:cNvCxnSpPr/>
            <p:nvPr/>
          </p:nvCxnSpPr>
          <p:spPr>
            <a:xfrm>
              <a:off x="1047750" y="3937000"/>
              <a:ext cx="368300" cy="0"/>
            </a:xfrm>
            <a:prstGeom prst="line">
              <a:avLst/>
            </a:prstGeom>
            <a:noFill/>
            <a:ln w="12700" cap="rnd" cmpd="sng" algn="ctr">
              <a:solidFill>
                <a:srgbClr val="0078D7"/>
              </a:solidFill>
              <a:prstDash val="solid"/>
              <a:miter lim="800000"/>
              <a:headEnd type="none"/>
              <a:tailEnd type="none"/>
            </a:ln>
            <a:effectLst/>
          </p:spPr>
        </p:cxnSp>
      </p:grpSp>
      <p:grpSp>
        <p:nvGrpSpPr>
          <p:cNvPr id="241" name="Group 240">
            <a:extLst>
              <a:ext uri="{FF2B5EF4-FFF2-40B4-BE49-F238E27FC236}">
                <a16:creationId xmlns:a16="http://schemas.microsoft.com/office/drawing/2014/main" id="{71E2DED2-0AD5-41D8-8D03-12D879A36BCB}"/>
              </a:ext>
            </a:extLst>
          </p:cNvPr>
          <p:cNvGrpSpPr/>
          <p:nvPr/>
        </p:nvGrpSpPr>
        <p:grpSpPr>
          <a:xfrm>
            <a:off x="10483332" y="1709199"/>
            <a:ext cx="165754" cy="851821"/>
            <a:chOff x="10621938" y="3597012"/>
            <a:chExt cx="165754" cy="1080557"/>
          </a:xfrm>
        </p:grpSpPr>
        <p:cxnSp>
          <p:nvCxnSpPr>
            <p:cNvPr id="242" name="Straight Arrow Connector 241">
              <a:extLst>
                <a:ext uri="{FF2B5EF4-FFF2-40B4-BE49-F238E27FC236}">
                  <a16:creationId xmlns:a16="http://schemas.microsoft.com/office/drawing/2014/main" id="{F4452430-3BD4-4EDA-8E6F-F26A3826BBDD}"/>
                </a:ext>
              </a:extLst>
            </p:cNvPr>
            <p:cNvCxnSpPr>
              <a:cxnSpLocks/>
            </p:cNvCxnSpPr>
            <p:nvPr/>
          </p:nvCxnSpPr>
          <p:spPr>
            <a:xfrm rot="5400000">
              <a:off x="10250504" y="4140382"/>
              <a:ext cx="1074375" cy="0"/>
            </a:xfrm>
            <a:prstGeom prst="straightConnector1">
              <a:avLst/>
            </a:prstGeom>
            <a:noFill/>
            <a:ln w="12700" cap="flat" cmpd="sng" algn="ctr">
              <a:solidFill>
                <a:srgbClr val="0078D7"/>
              </a:solidFill>
              <a:prstDash val="solid"/>
              <a:tailEnd type="triangle"/>
            </a:ln>
            <a:effectLst/>
          </p:spPr>
        </p:cxnSp>
        <p:cxnSp>
          <p:nvCxnSpPr>
            <p:cNvPr id="243" name="Straight Arrow Connector 242">
              <a:extLst>
                <a:ext uri="{FF2B5EF4-FFF2-40B4-BE49-F238E27FC236}">
                  <a16:creationId xmlns:a16="http://schemas.microsoft.com/office/drawing/2014/main" id="{48AF1579-DCEA-4BDA-8D3E-8A87F243B844}"/>
                </a:ext>
              </a:extLst>
            </p:cNvPr>
            <p:cNvCxnSpPr/>
            <p:nvPr/>
          </p:nvCxnSpPr>
          <p:spPr>
            <a:xfrm rot="5400000">
              <a:off x="10086273" y="4132677"/>
              <a:ext cx="1071330" cy="0"/>
            </a:xfrm>
            <a:prstGeom prst="straightConnector1">
              <a:avLst/>
            </a:prstGeom>
            <a:noFill/>
            <a:ln w="12700" cap="flat" cmpd="sng" algn="ctr">
              <a:solidFill>
                <a:srgbClr val="0078D7"/>
              </a:solidFill>
              <a:prstDash val="solid"/>
              <a:headEnd type="triangle"/>
              <a:tailEnd type="none"/>
            </a:ln>
            <a:effectLst/>
          </p:spPr>
        </p:cxnSp>
      </p:grpSp>
      <p:grpSp>
        <p:nvGrpSpPr>
          <p:cNvPr id="252" name="Group 251">
            <a:extLst>
              <a:ext uri="{FF2B5EF4-FFF2-40B4-BE49-F238E27FC236}">
                <a16:creationId xmlns:a16="http://schemas.microsoft.com/office/drawing/2014/main" id="{425C1251-A766-4D43-9ED5-A77EC634CF34}"/>
              </a:ext>
            </a:extLst>
          </p:cNvPr>
          <p:cNvGrpSpPr/>
          <p:nvPr/>
        </p:nvGrpSpPr>
        <p:grpSpPr>
          <a:xfrm>
            <a:off x="10316626" y="957493"/>
            <a:ext cx="499166" cy="640202"/>
            <a:chOff x="10344945" y="2179929"/>
            <a:chExt cx="401613" cy="515089"/>
          </a:xfrm>
        </p:grpSpPr>
        <p:sp>
          <p:nvSpPr>
            <p:cNvPr id="253" name="Rectangle 252">
              <a:extLst>
                <a:ext uri="{FF2B5EF4-FFF2-40B4-BE49-F238E27FC236}">
                  <a16:creationId xmlns:a16="http://schemas.microsoft.com/office/drawing/2014/main" id="{314FC12A-C3E5-4C24-917B-223E09B908A9}"/>
                </a:ext>
              </a:extLst>
            </p:cNvPr>
            <p:cNvSpPr/>
            <p:nvPr/>
          </p:nvSpPr>
          <p:spPr bwMode="auto">
            <a:xfrm>
              <a:off x="10374086" y="2369861"/>
              <a:ext cx="332014" cy="201889"/>
            </a:xfrm>
            <a:prstGeom prst="rect">
              <a:avLst/>
            </a:prstGeom>
            <a:solidFill>
              <a:srgbClr val="50E6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a:gradFill>
                  <a:gsLst>
                    <a:gs pos="40075">
                      <a:srgbClr val="FFFFFF"/>
                    </a:gs>
                    <a:gs pos="30000">
                      <a:srgbClr val="FFFFFF"/>
                    </a:gs>
                  </a:gsLst>
                  <a:lin ang="5400000" scaled="0"/>
                </a:gradFill>
              </a:endParaRPr>
            </a:p>
          </p:txBody>
        </p:sp>
        <p:sp>
          <p:nvSpPr>
            <p:cNvPr id="254" name="Freeform 188">
              <a:extLst>
                <a:ext uri="{FF2B5EF4-FFF2-40B4-BE49-F238E27FC236}">
                  <a16:creationId xmlns:a16="http://schemas.microsoft.com/office/drawing/2014/main" id="{876EFA4B-2E86-4784-A560-A59CC16F667C}"/>
                </a:ext>
              </a:extLst>
            </p:cNvPr>
            <p:cNvSpPr/>
            <p:nvPr/>
          </p:nvSpPr>
          <p:spPr bwMode="auto">
            <a:xfrm>
              <a:off x="10344945" y="2179929"/>
              <a:ext cx="401613" cy="515089"/>
            </a:xfrm>
            <a:custGeom>
              <a:avLst/>
              <a:gdLst>
                <a:gd name="connsiteX0" fmla="*/ 737517 w 1455401"/>
                <a:gd name="connsiteY0" fmla="*/ 911351 h 1866625"/>
                <a:gd name="connsiteX1" fmla="*/ 785815 w 1455401"/>
                <a:gd name="connsiteY1" fmla="*/ 937839 h 1866625"/>
                <a:gd name="connsiteX2" fmla="*/ 803471 w 1455401"/>
                <a:gd name="connsiteY2" fmla="*/ 1010286 h 1866625"/>
                <a:gd name="connsiteX3" fmla="*/ 784774 w 1455401"/>
                <a:gd name="connsiteY3" fmla="*/ 1079356 h 1866625"/>
                <a:gd name="connsiteX4" fmla="*/ 735697 w 1455401"/>
                <a:gd name="connsiteY4" fmla="*/ 1105062 h 1866625"/>
                <a:gd name="connsiteX5" fmla="*/ 685192 w 1455401"/>
                <a:gd name="connsiteY5" fmla="*/ 1079616 h 1866625"/>
                <a:gd name="connsiteX6" fmla="*/ 666627 w 1455401"/>
                <a:gd name="connsiteY6" fmla="*/ 1008726 h 1866625"/>
                <a:gd name="connsiteX7" fmla="*/ 685324 w 1455401"/>
                <a:gd name="connsiteY7" fmla="*/ 936797 h 1866625"/>
                <a:gd name="connsiteX8" fmla="*/ 737517 w 1455401"/>
                <a:gd name="connsiteY8" fmla="*/ 911351 h 1866625"/>
                <a:gd name="connsiteX9" fmla="*/ 974881 w 1455401"/>
                <a:gd name="connsiteY9" fmla="*/ 822027 h 1866625"/>
                <a:gd name="connsiteX10" fmla="*/ 974881 w 1455401"/>
                <a:gd name="connsiteY10" fmla="*/ 1194390 h 1866625"/>
                <a:gd name="connsiteX11" fmla="*/ 1215333 w 1455401"/>
                <a:gd name="connsiteY11" fmla="*/ 1194390 h 1866625"/>
                <a:gd name="connsiteX12" fmla="*/ 1215333 w 1455401"/>
                <a:gd name="connsiteY12" fmla="*/ 1106622 h 1866625"/>
                <a:gd name="connsiteX13" fmla="*/ 1087058 w 1455401"/>
                <a:gd name="connsiteY13" fmla="*/ 1106622 h 1866625"/>
                <a:gd name="connsiteX14" fmla="*/ 1087058 w 1455401"/>
                <a:gd name="connsiteY14" fmla="*/ 822027 h 1866625"/>
                <a:gd name="connsiteX15" fmla="*/ 738555 w 1455401"/>
                <a:gd name="connsiteY15" fmla="*/ 815793 h 1866625"/>
                <a:gd name="connsiteX16" fmla="*/ 639361 w 1455401"/>
                <a:gd name="connsiteY16" fmla="*/ 840592 h 1866625"/>
                <a:gd name="connsiteX17" fmla="*/ 571587 w 1455401"/>
                <a:gd name="connsiteY17" fmla="*/ 910832 h 1866625"/>
                <a:gd name="connsiteX18" fmla="*/ 547438 w 1455401"/>
                <a:gd name="connsiteY18" fmla="*/ 1013140 h 1866625"/>
                <a:gd name="connsiteX19" fmla="*/ 571328 w 1455401"/>
                <a:gd name="connsiteY19" fmla="*/ 1110386 h 1866625"/>
                <a:gd name="connsiteX20" fmla="*/ 638192 w 1455401"/>
                <a:gd name="connsiteY20" fmla="*/ 1177121 h 1866625"/>
                <a:gd name="connsiteX21" fmla="*/ 733622 w 1455401"/>
                <a:gd name="connsiteY21" fmla="*/ 1200880 h 1866625"/>
                <a:gd name="connsiteX22" fmla="*/ 776983 w 1455401"/>
                <a:gd name="connsiteY22" fmla="*/ 1196466 h 1866625"/>
                <a:gd name="connsiteX23" fmla="*/ 824244 w 1455401"/>
                <a:gd name="connsiteY23" fmla="*/ 1244504 h 1866625"/>
                <a:gd name="connsiteX24" fmla="*/ 964983 w 1455401"/>
                <a:gd name="connsiteY24" fmla="*/ 1244504 h 1866625"/>
                <a:gd name="connsiteX25" fmla="*/ 866571 w 1455401"/>
                <a:gd name="connsiteY25" fmla="*/ 1149465 h 1866625"/>
                <a:gd name="connsiteX26" fmla="*/ 922399 w 1455401"/>
                <a:gd name="connsiteY26" fmla="*/ 1007169 h 1866625"/>
                <a:gd name="connsiteX27" fmla="*/ 899420 w 1455401"/>
                <a:gd name="connsiteY27" fmla="*/ 907325 h 1866625"/>
                <a:gd name="connsiteX28" fmla="*/ 834241 w 1455401"/>
                <a:gd name="connsiteY28" fmla="*/ 839555 h 1866625"/>
                <a:gd name="connsiteX29" fmla="*/ 738555 w 1455401"/>
                <a:gd name="connsiteY29" fmla="*/ 815793 h 1866625"/>
                <a:gd name="connsiteX30" fmla="*/ 391194 w 1455401"/>
                <a:gd name="connsiteY30" fmla="*/ 815793 h 1866625"/>
                <a:gd name="connsiteX31" fmla="*/ 281097 w 1455401"/>
                <a:gd name="connsiteY31" fmla="*/ 848123 h 1866625"/>
                <a:gd name="connsiteX32" fmla="*/ 240067 w 1455401"/>
                <a:gd name="connsiteY32" fmla="*/ 934462 h 1866625"/>
                <a:gd name="connsiteX33" fmla="*/ 329914 w 1455401"/>
                <a:gd name="connsiteY33" fmla="*/ 1046120 h 1866625"/>
                <a:gd name="connsiteX34" fmla="*/ 367955 w 1455401"/>
                <a:gd name="connsiteY34" fmla="*/ 1062479 h 1866625"/>
                <a:gd name="connsiteX35" fmla="*/ 383276 w 1455401"/>
                <a:gd name="connsiteY35" fmla="*/ 1075330 h 1866625"/>
                <a:gd name="connsiteX36" fmla="*/ 388337 w 1455401"/>
                <a:gd name="connsiteY36" fmla="*/ 1091301 h 1866625"/>
                <a:gd name="connsiteX37" fmla="*/ 378212 w 1455401"/>
                <a:gd name="connsiteY37" fmla="*/ 1110645 h 1866625"/>
                <a:gd name="connsiteX38" fmla="*/ 349649 w 1455401"/>
                <a:gd name="connsiteY38" fmla="*/ 1117266 h 1866625"/>
                <a:gd name="connsiteX39" fmla="*/ 296937 w 1455401"/>
                <a:gd name="connsiteY39" fmla="*/ 1106750 h 1866625"/>
                <a:gd name="connsiteX40" fmla="*/ 245263 w 1455401"/>
                <a:gd name="connsiteY40" fmla="*/ 1079097 h 1866625"/>
                <a:gd name="connsiteX41" fmla="*/ 245263 w 1455401"/>
                <a:gd name="connsiteY41" fmla="*/ 1181145 h 1866625"/>
                <a:gd name="connsiteX42" fmla="*/ 352243 w 1455401"/>
                <a:gd name="connsiteY42" fmla="*/ 1200880 h 1866625"/>
                <a:gd name="connsiteX43" fmla="*/ 438454 w 1455401"/>
                <a:gd name="connsiteY43" fmla="*/ 1187378 h 1866625"/>
                <a:gd name="connsiteX44" fmla="*/ 494152 w 1455401"/>
                <a:gd name="connsiteY44" fmla="*/ 1146351 h 1866625"/>
                <a:gd name="connsiteX45" fmla="*/ 514018 w 1455401"/>
                <a:gd name="connsiteY45" fmla="*/ 1081695 h 1866625"/>
                <a:gd name="connsiteX46" fmla="*/ 489997 w 1455401"/>
                <a:gd name="connsiteY46" fmla="*/ 1015737 h 1866625"/>
                <a:gd name="connsiteX47" fmla="*/ 408072 w 1455401"/>
                <a:gd name="connsiteY47" fmla="*/ 964582 h 1866625"/>
                <a:gd name="connsiteX48" fmla="*/ 369512 w 1455401"/>
                <a:gd name="connsiteY48" fmla="*/ 944719 h 1866625"/>
                <a:gd name="connsiteX49" fmla="*/ 360293 w 1455401"/>
                <a:gd name="connsiteY49" fmla="*/ 925372 h 1866625"/>
                <a:gd name="connsiteX50" fmla="*/ 371719 w 1455401"/>
                <a:gd name="connsiteY50" fmla="*/ 906159 h 1866625"/>
                <a:gd name="connsiteX51" fmla="*/ 401842 w 1455401"/>
                <a:gd name="connsiteY51" fmla="*/ 899147 h 1866625"/>
                <a:gd name="connsiteX52" fmla="*/ 494283 w 1455401"/>
                <a:gd name="connsiteY52" fmla="*/ 924853 h 1866625"/>
                <a:gd name="connsiteX53" fmla="*/ 494283 w 1455401"/>
                <a:gd name="connsiteY53" fmla="*/ 830076 h 1866625"/>
                <a:gd name="connsiteX54" fmla="*/ 456761 w 1455401"/>
                <a:gd name="connsiteY54" fmla="*/ 821245 h 1866625"/>
                <a:gd name="connsiteX55" fmla="*/ 427029 w 1455401"/>
                <a:gd name="connsiteY55" fmla="*/ 817350 h 1866625"/>
                <a:gd name="connsiteX56" fmla="*/ 391194 w 1455401"/>
                <a:gd name="connsiteY56" fmla="*/ 815793 h 1866625"/>
                <a:gd name="connsiteX57" fmla="*/ 1 w 1455401"/>
                <a:gd name="connsiteY57" fmla="*/ 235984 h 1866625"/>
                <a:gd name="connsiteX58" fmla="*/ 1 w 1455401"/>
                <a:gd name="connsiteY58" fmla="*/ 257081 h 1866625"/>
                <a:gd name="connsiteX59" fmla="*/ 1 w 1455401"/>
                <a:gd name="connsiteY59" fmla="*/ 296835 h 1866625"/>
                <a:gd name="connsiteX60" fmla="*/ 0 w 1455401"/>
                <a:gd name="connsiteY60" fmla="*/ 296838 h 1866625"/>
                <a:gd name="connsiteX61" fmla="*/ 1 w 1455401"/>
                <a:gd name="connsiteY61" fmla="*/ 235984 h 1866625"/>
                <a:gd name="connsiteX62" fmla="*/ 727701 w 1455401"/>
                <a:gd name="connsiteY62" fmla="*/ 107085 h 1866625"/>
                <a:gd name="connsiteX63" fmla="*/ 225411 w 1455401"/>
                <a:gd name="connsiteY63" fmla="*/ 254506 h 1866625"/>
                <a:gd name="connsiteX64" fmla="*/ 727701 w 1455401"/>
                <a:gd name="connsiteY64" fmla="*/ 401926 h 1866625"/>
                <a:gd name="connsiteX65" fmla="*/ 1229991 w 1455401"/>
                <a:gd name="connsiteY65" fmla="*/ 254506 h 1866625"/>
                <a:gd name="connsiteX66" fmla="*/ 727701 w 1455401"/>
                <a:gd name="connsiteY66" fmla="*/ 107085 h 1866625"/>
                <a:gd name="connsiteX67" fmla="*/ 727700 w 1455401"/>
                <a:gd name="connsiteY67" fmla="*/ 0 h 1866625"/>
                <a:gd name="connsiteX68" fmla="*/ 1451644 w 1455401"/>
                <a:gd name="connsiteY68" fmla="*/ 266488 h 1866625"/>
                <a:gd name="connsiteX69" fmla="*/ 1454289 w 1455401"/>
                <a:gd name="connsiteY69" fmla="*/ 287858 h 1866625"/>
                <a:gd name="connsiteX70" fmla="*/ 1455400 w 1455401"/>
                <a:gd name="connsiteY70" fmla="*/ 287858 h 1866625"/>
                <a:gd name="connsiteX71" fmla="*/ 1455400 w 1455401"/>
                <a:gd name="connsiteY71" fmla="*/ 296838 h 1866625"/>
                <a:gd name="connsiteX72" fmla="*/ 1455401 w 1455401"/>
                <a:gd name="connsiteY72" fmla="*/ 1569784 h 1866625"/>
                <a:gd name="connsiteX73" fmla="*/ 1455401 w 1455401"/>
                <a:gd name="connsiteY73" fmla="*/ 1569787 h 1866625"/>
                <a:gd name="connsiteX74" fmla="*/ 1455401 w 1455401"/>
                <a:gd name="connsiteY74" fmla="*/ 1569790 h 1866625"/>
                <a:gd name="connsiteX75" fmla="*/ 1455401 w 1455401"/>
                <a:gd name="connsiteY75" fmla="*/ 1578767 h 1866625"/>
                <a:gd name="connsiteX76" fmla="*/ 1454289 w 1455401"/>
                <a:gd name="connsiteY76" fmla="*/ 1578767 h 1866625"/>
                <a:gd name="connsiteX77" fmla="*/ 1451644 w 1455401"/>
                <a:gd name="connsiteY77" fmla="*/ 1600137 h 1866625"/>
                <a:gd name="connsiteX78" fmla="*/ 727701 w 1455401"/>
                <a:gd name="connsiteY78" fmla="*/ 1866625 h 1866625"/>
                <a:gd name="connsiteX79" fmla="*/ 3758 w 1455401"/>
                <a:gd name="connsiteY79" fmla="*/ 1600137 h 1866625"/>
                <a:gd name="connsiteX80" fmla="*/ 1113 w 1455401"/>
                <a:gd name="connsiteY80" fmla="*/ 1578767 h 1866625"/>
                <a:gd name="connsiteX81" fmla="*/ 1 w 1455401"/>
                <a:gd name="connsiteY81" fmla="*/ 1578767 h 1866625"/>
                <a:gd name="connsiteX82" fmla="*/ 1 w 1455401"/>
                <a:gd name="connsiteY82" fmla="*/ 1569787 h 1866625"/>
                <a:gd name="connsiteX83" fmla="*/ 1 w 1455401"/>
                <a:gd name="connsiteY83" fmla="*/ 296841 h 1866625"/>
                <a:gd name="connsiteX84" fmla="*/ 1 w 1455401"/>
                <a:gd name="connsiteY84" fmla="*/ 296835 h 1866625"/>
                <a:gd name="connsiteX85" fmla="*/ 1 w 1455401"/>
                <a:gd name="connsiteY85" fmla="*/ 296835 h 1866625"/>
                <a:gd name="connsiteX86" fmla="*/ 3758 w 1455401"/>
                <a:gd name="connsiteY86" fmla="*/ 266488 h 1866625"/>
                <a:gd name="connsiteX87" fmla="*/ 727700 w 1455401"/>
                <a:gd name="connsiteY87"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55401" h="1866625">
                  <a:moveTo>
                    <a:pt x="737517" y="911351"/>
                  </a:moveTo>
                  <a:cubicBezTo>
                    <a:pt x="757941" y="911351"/>
                    <a:pt x="774041" y="920179"/>
                    <a:pt x="785815" y="937839"/>
                  </a:cubicBezTo>
                  <a:cubicBezTo>
                    <a:pt x="797585" y="955495"/>
                    <a:pt x="803471" y="979644"/>
                    <a:pt x="803471" y="1010286"/>
                  </a:cubicBezTo>
                  <a:cubicBezTo>
                    <a:pt x="803471" y="1039193"/>
                    <a:pt x="797241" y="1062219"/>
                    <a:pt x="784774" y="1079356"/>
                  </a:cubicBezTo>
                  <a:cubicBezTo>
                    <a:pt x="772310" y="1096493"/>
                    <a:pt x="755951" y="1105062"/>
                    <a:pt x="735697" y="1105062"/>
                  </a:cubicBezTo>
                  <a:cubicBezTo>
                    <a:pt x="714406" y="1105062"/>
                    <a:pt x="697571" y="1096582"/>
                    <a:pt x="685192" y="1079616"/>
                  </a:cubicBezTo>
                  <a:cubicBezTo>
                    <a:pt x="672814" y="1062649"/>
                    <a:pt x="666627" y="1039023"/>
                    <a:pt x="666627" y="1008726"/>
                  </a:cubicBezTo>
                  <a:cubicBezTo>
                    <a:pt x="666627" y="977739"/>
                    <a:pt x="672857" y="953764"/>
                    <a:pt x="685324" y="936797"/>
                  </a:cubicBezTo>
                  <a:cubicBezTo>
                    <a:pt x="697787" y="919834"/>
                    <a:pt x="715184" y="911351"/>
                    <a:pt x="737517" y="911351"/>
                  </a:cubicBezTo>
                  <a:close/>
                  <a:moveTo>
                    <a:pt x="974881" y="822027"/>
                  </a:moveTo>
                  <a:lnTo>
                    <a:pt x="974881" y="1194390"/>
                  </a:lnTo>
                  <a:lnTo>
                    <a:pt x="1215333" y="1194390"/>
                  </a:lnTo>
                  <a:lnTo>
                    <a:pt x="1215333" y="1106622"/>
                  </a:lnTo>
                  <a:lnTo>
                    <a:pt x="1087058" y="1106622"/>
                  </a:lnTo>
                  <a:lnTo>
                    <a:pt x="1087058" y="822027"/>
                  </a:lnTo>
                  <a:close/>
                  <a:moveTo>
                    <a:pt x="738555" y="815793"/>
                  </a:moveTo>
                  <a:cubicBezTo>
                    <a:pt x="701508" y="815793"/>
                    <a:pt x="668443" y="824059"/>
                    <a:pt x="639361" y="840592"/>
                  </a:cubicBezTo>
                  <a:cubicBezTo>
                    <a:pt x="610279" y="857125"/>
                    <a:pt x="587687" y="880538"/>
                    <a:pt x="571587" y="910832"/>
                  </a:cubicBezTo>
                  <a:cubicBezTo>
                    <a:pt x="555488" y="941126"/>
                    <a:pt x="547438" y="975230"/>
                    <a:pt x="547438" y="1013140"/>
                  </a:cubicBezTo>
                  <a:cubicBezTo>
                    <a:pt x="547438" y="1049322"/>
                    <a:pt x="555403" y="1081737"/>
                    <a:pt x="571328" y="1110386"/>
                  </a:cubicBezTo>
                  <a:cubicBezTo>
                    <a:pt x="587253" y="1139037"/>
                    <a:pt x="609543" y="1161282"/>
                    <a:pt x="638192" y="1177121"/>
                  </a:cubicBezTo>
                  <a:cubicBezTo>
                    <a:pt x="666843" y="1192961"/>
                    <a:pt x="698651" y="1200880"/>
                    <a:pt x="733622" y="1200880"/>
                  </a:cubicBezTo>
                  <a:cubicBezTo>
                    <a:pt x="748680" y="1200880"/>
                    <a:pt x="763137" y="1199408"/>
                    <a:pt x="776983" y="1196466"/>
                  </a:cubicBezTo>
                  <a:lnTo>
                    <a:pt x="824244" y="1244504"/>
                  </a:lnTo>
                  <a:lnTo>
                    <a:pt x="964983" y="1244504"/>
                  </a:lnTo>
                  <a:lnTo>
                    <a:pt x="866571" y="1149465"/>
                  </a:lnTo>
                  <a:cubicBezTo>
                    <a:pt x="903791" y="1112248"/>
                    <a:pt x="922399" y="1064814"/>
                    <a:pt x="922399" y="1007169"/>
                  </a:cubicBezTo>
                  <a:cubicBezTo>
                    <a:pt x="922399" y="969949"/>
                    <a:pt x="914737" y="936669"/>
                    <a:pt x="899420" y="907325"/>
                  </a:cubicBezTo>
                  <a:cubicBezTo>
                    <a:pt x="884099" y="877983"/>
                    <a:pt x="862373" y="855391"/>
                    <a:pt x="834241" y="839555"/>
                  </a:cubicBezTo>
                  <a:cubicBezTo>
                    <a:pt x="806111" y="823715"/>
                    <a:pt x="774215" y="815793"/>
                    <a:pt x="738555" y="815793"/>
                  </a:cubicBezTo>
                  <a:close/>
                  <a:moveTo>
                    <a:pt x="391194" y="815793"/>
                  </a:moveTo>
                  <a:cubicBezTo>
                    <a:pt x="345146" y="815793"/>
                    <a:pt x="308448" y="826569"/>
                    <a:pt x="281097" y="848123"/>
                  </a:cubicBezTo>
                  <a:cubicBezTo>
                    <a:pt x="253743" y="869674"/>
                    <a:pt x="240067" y="898454"/>
                    <a:pt x="240067" y="934462"/>
                  </a:cubicBezTo>
                  <a:cubicBezTo>
                    <a:pt x="240067" y="985877"/>
                    <a:pt x="270016" y="1023094"/>
                    <a:pt x="329914" y="1046120"/>
                  </a:cubicBezTo>
                  <a:cubicBezTo>
                    <a:pt x="348437" y="1053043"/>
                    <a:pt x="361117" y="1058495"/>
                    <a:pt x="367955" y="1062479"/>
                  </a:cubicBezTo>
                  <a:cubicBezTo>
                    <a:pt x="374793" y="1066459"/>
                    <a:pt x="379900" y="1070745"/>
                    <a:pt x="383276" y="1075330"/>
                  </a:cubicBezTo>
                  <a:cubicBezTo>
                    <a:pt x="386652" y="1079918"/>
                    <a:pt x="388337" y="1085242"/>
                    <a:pt x="388337" y="1091301"/>
                  </a:cubicBezTo>
                  <a:cubicBezTo>
                    <a:pt x="388337" y="1099784"/>
                    <a:pt x="384964" y="1106231"/>
                    <a:pt x="378212" y="1110645"/>
                  </a:cubicBezTo>
                  <a:cubicBezTo>
                    <a:pt x="371459" y="1115059"/>
                    <a:pt x="361938" y="1117266"/>
                    <a:pt x="349649" y="1117266"/>
                  </a:cubicBezTo>
                  <a:cubicBezTo>
                    <a:pt x="333375" y="1117266"/>
                    <a:pt x="315805" y="1113762"/>
                    <a:pt x="296937" y="1106750"/>
                  </a:cubicBezTo>
                  <a:cubicBezTo>
                    <a:pt x="278066" y="1099742"/>
                    <a:pt x="260843" y="1090523"/>
                    <a:pt x="245263" y="1079097"/>
                  </a:cubicBezTo>
                  <a:lnTo>
                    <a:pt x="245263" y="1181145"/>
                  </a:lnTo>
                  <a:cubicBezTo>
                    <a:pt x="277632" y="1194301"/>
                    <a:pt x="313296" y="1200880"/>
                    <a:pt x="352243" y="1200880"/>
                  </a:cubicBezTo>
                  <a:cubicBezTo>
                    <a:pt x="385828" y="1200880"/>
                    <a:pt x="414565" y="1196380"/>
                    <a:pt x="438454" y="1187378"/>
                  </a:cubicBezTo>
                  <a:cubicBezTo>
                    <a:pt x="462344" y="1178376"/>
                    <a:pt x="480910" y="1164700"/>
                    <a:pt x="494152" y="1146351"/>
                  </a:cubicBezTo>
                  <a:cubicBezTo>
                    <a:pt x="507397" y="1127999"/>
                    <a:pt x="514018" y="1106448"/>
                    <a:pt x="514018" y="1081695"/>
                  </a:cubicBezTo>
                  <a:cubicBezTo>
                    <a:pt x="514018" y="1056245"/>
                    <a:pt x="506011" y="1034260"/>
                    <a:pt x="489997" y="1015737"/>
                  </a:cubicBezTo>
                  <a:cubicBezTo>
                    <a:pt x="473987" y="997214"/>
                    <a:pt x="446678" y="980163"/>
                    <a:pt x="408072" y="964582"/>
                  </a:cubicBezTo>
                  <a:cubicBezTo>
                    <a:pt x="388511" y="956447"/>
                    <a:pt x="375657" y="949826"/>
                    <a:pt x="369512" y="944719"/>
                  </a:cubicBezTo>
                  <a:cubicBezTo>
                    <a:pt x="363367" y="939612"/>
                    <a:pt x="360293" y="933162"/>
                    <a:pt x="360293" y="925372"/>
                  </a:cubicBezTo>
                  <a:cubicBezTo>
                    <a:pt x="360293" y="917237"/>
                    <a:pt x="364103" y="910832"/>
                    <a:pt x="371719" y="906159"/>
                  </a:cubicBezTo>
                  <a:cubicBezTo>
                    <a:pt x="379338" y="901482"/>
                    <a:pt x="389378" y="899147"/>
                    <a:pt x="401842" y="899147"/>
                  </a:cubicBezTo>
                  <a:cubicBezTo>
                    <a:pt x="432136" y="899147"/>
                    <a:pt x="462948" y="907716"/>
                    <a:pt x="494283" y="924853"/>
                  </a:cubicBezTo>
                  <a:lnTo>
                    <a:pt x="494283" y="830076"/>
                  </a:lnTo>
                  <a:cubicBezTo>
                    <a:pt x="478184" y="825748"/>
                    <a:pt x="465677" y="822805"/>
                    <a:pt x="456761" y="821245"/>
                  </a:cubicBezTo>
                  <a:cubicBezTo>
                    <a:pt x="447847" y="819688"/>
                    <a:pt x="437936" y="818391"/>
                    <a:pt x="427029" y="817350"/>
                  </a:cubicBezTo>
                  <a:cubicBezTo>
                    <a:pt x="416122" y="816312"/>
                    <a:pt x="404177" y="815793"/>
                    <a:pt x="391194" y="815793"/>
                  </a:cubicBezTo>
                  <a:close/>
                  <a:moveTo>
                    <a:pt x="1" y="235984"/>
                  </a:moveTo>
                  <a:cubicBezTo>
                    <a:pt x="1" y="233280"/>
                    <a:pt x="1" y="238148"/>
                    <a:pt x="1" y="257081"/>
                  </a:cubicBezTo>
                  <a:lnTo>
                    <a:pt x="1" y="296835"/>
                  </a:lnTo>
                  <a:lnTo>
                    <a:pt x="0" y="296838"/>
                  </a:lnTo>
                  <a:cubicBezTo>
                    <a:pt x="0" y="296839"/>
                    <a:pt x="0" y="242745"/>
                    <a:pt x="1" y="235984"/>
                  </a:cubicBezTo>
                  <a:close/>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lnTo>
                    <a:pt x="1" y="296835"/>
                  </a:lnTo>
                  <a:lnTo>
                    <a:pt x="1" y="296835"/>
                  </a:lnTo>
                  <a:lnTo>
                    <a:pt x="3758" y="266488"/>
                  </a:lnTo>
                  <a:cubicBezTo>
                    <a:pt x="41023" y="116806"/>
                    <a:pt x="350921" y="0"/>
                    <a:pt x="727700" y="0"/>
                  </a:cubicBezTo>
                  <a:close/>
                </a:path>
              </a:pathLst>
            </a:cu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274" dirty="0">
                <a:solidFill>
                  <a:srgbClr val="FFFFFF">
                    <a:lumMod val="85000"/>
                  </a:srgbClr>
                </a:solidFill>
                <a:latin typeface="Segoe UI Black" panose="020B0A02040204020203" pitchFamily="34" charset="0"/>
                <a:ea typeface="Segoe UI Black" panose="020B0A02040204020203" pitchFamily="34" charset="0"/>
                <a:cs typeface="Segoe UI Black" panose="020B0A02040204020203" pitchFamily="34" charset="0"/>
              </a:endParaRPr>
            </a:p>
          </p:txBody>
        </p:sp>
      </p:grpSp>
      <p:grpSp>
        <p:nvGrpSpPr>
          <p:cNvPr id="258" name="Group 257">
            <a:extLst>
              <a:ext uri="{FF2B5EF4-FFF2-40B4-BE49-F238E27FC236}">
                <a16:creationId xmlns:a16="http://schemas.microsoft.com/office/drawing/2014/main" id="{14A0319D-FF3C-4D82-AF9B-C10EDD9A4CB1}"/>
              </a:ext>
            </a:extLst>
          </p:cNvPr>
          <p:cNvGrpSpPr/>
          <p:nvPr/>
        </p:nvGrpSpPr>
        <p:grpSpPr>
          <a:xfrm>
            <a:off x="9862756" y="3206719"/>
            <a:ext cx="344110" cy="452325"/>
            <a:chOff x="4373323" y="1855264"/>
            <a:chExt cx="2771333" cy="3642856"/>
          </a:xfrm>
        </p:grpSpPr>
        <p:sp>
          <p:nvSpPr>
            <p:cNvPr id="259" name="Freeform: Shape 258">
              <a:extLst>
                <a:ext uri="{FF2B5EF4-FFF2-40B4-BE49-F238E27FC236}">
                  <a16:creationId xmlns:a16="http://schemas.microsoft.com/office/drawing/2014/main" id="{2FAC4B7C-5909-42EB-838D-FF24B9B5D644}"/>
                </a:ext>
              </a:extLst>
            </p:cNvPr>
            <p:cNvSpPr/>
            <p:nvPr/>
          </p:nvSpPr>
          <p:spPr>
            <a:xfrm>
              <a:off x="4373323" y="1855264"/>
              <a:ext cx="2771333" cy="3642856"/>
            </a:xfrm>
            <a:custGeom>
              <a:avLst/>
              <a:gdLst>
                <a:gd name="connsiteX0" fmla="*/ 1405299 w 2771333"/>
                <a:gd name="connsiteY0" fmla="*/ 377758 h 3642856"/>
                <a:gd name="connsiteX1" fmla="*/ 750732 w 2771333"/>
                <a:gd name="connsiteY1" fmla="*/ 940856 h 3642856"/>
                <a:gd name="connsiteX2" fmla="*/ 738261 w 2771333"/>
                <a:gd name="connsiteY2" fmla="*/ 1071423 h 3642856"/>
                <a:gd name="connsiteX3" fmla="*/ 2072337 w 2771333"/>
                <a:gd name="connsiteY3" fmla="*/ 1071423 h 3642856"/>
                <a:gd name="connsiteX4" fmla="*/ 2059867 w 2771333"/>
                <a:gd name="connsiteY4" fmla="*/ 940856 h 3642856"/>
                <a:gd name="connsiteX5" fmla="*/ 1405299 w 2771333"/>
                <a:gd name="connsiteY5" fmla="*/ 377758 h 3642856"/>
                <a:gd name="connsiteX6" fmla="*/ 1405299 w 2771333"/>
                <a:gd name="connsiteY6" fmla="*/ 0 h 3642856"/>
                <a:gd name="connsiteX7" fmla="*/ 2445799 w 2771333"/>
                <a:gd name="connsiteY7" fmla="*/ 972254 h 3642856"/>
                <a:gd name="connsiteX8" fmla="*/ 2450636 w 2771333"/>
                <a:gd name="connsiteY8" fmla="*/ 1071423 h 3642856"/>
                <a:gd name="connsiteX9" fmla="*/ 2771333 w 2771333"/>
                <a:gd name="connsiteY9" fmla="*/ 1071423 h 3642856"/>
                <a:gd name="connsiteX10" fmla="*/ 2771333 w 2771333"/>
                <a:gd name="connsiteY10" fmla="*/ 3642856 h 3642856"/>
                <a:gd name="connsiteX11" fmla="*/ 0 w 2771333"/>
                <a:gd name="connsiteY11" fmla="*/ 3642856 h 3642856"/>
                <a:gd name="connsiteX12" fmla="*/ 0 w 2771333"/>
                <a:gd name="connsiteY12" fmla="*/ 1071423 h 3642856"/>
                <a:gd name="connsiteX13" fmla="*/ 359963 w 2771333"/>
                <a:gd name="connsiteY13" fmla="*/ 1071423 h 3642856"/>
                <a:gd name="connsiteX14" fmla="*/ 364799 w 2771333"/>
                <a:gd name="connsiteY14" fmla="*/ 972254 h 3642856"/>
                <a:gd name="connsiteX15" fmla="*/ 1405299 w 2771333"/>
                <a:gd name="connsiteY15" fmla="*/ 0 h 3642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71333" h="3642856">
                  <a:moveTo>
                    <a:pt x="1405299" y="377758"/>
                  </a:moveTo>
                  <a:cubicBezTo>
                    <a:pt x="1082420" y="377758"/>
                    <a:pt x="813033" y="619497"/>
                    <a:pt x="750732" y="940856"/>
                  </a:cubicBezTo>
                  <a:lnTo>
                    <a:pt x="738261" y="1071423"/>
                  </a:lnTo>
                  <a:lnTo>
                    <a:pt x="2072337" y="1071423"/>
                  </a:lnTo>
                  <a:lnTo>
                    <a:pt x="2059867" y="940856"/>
                  </a:lnTo>
                  <a:cubicBezTo>
                    <a:pt x="1997565" y="619497"/>
                    <a:pt x="1728179" y="377758"/>
                    <a:pt x="1405299" y="377758"/>
                  </a:cubicBezTo>
                  <a:close/>
                  <a:moveTo>
                    <a:pt x="1405299" y="0"/>
                  </a:moveTo>
                  <a:cubicBezTo>
                    <a:pt x="1946832" y="0"/>
                    <a:pt x="2392239" y="426154"/>
                    <a:pt x="2445799" y="972254"/>
                  </a:cubicBezTo>
                  <a:lnTo>
                    <a:pt x="2450636" y="1071423"/>
                  </a:lnTo>
                  <a:lnTo>
                    <a:pt x="2771333" y="1071423"/>
                  </a:lnTo>
                  <a:lnTo>
                    <a:pt x="2771333" y="3642856"/>
                  </a:lnTo>
                  <a:lnTo>
                    <a:pt x="0" y="3642856"/>
                  </a:lnTo>
                  <a:lnTo>
                    <a:pt x="0" y="1071423"/>
                  </a:lnTo>
                  <a:lnTo>
                    <a:pt x="359963" y="1071423"/>
                  </a:lnTo>
                  <a:lnTo>
                    <a:pt x="364799" y="972254"/>
                  </a:lnTo>
                  <a:cubicBezTo>
                    <a:pt x="418360" y="426154"/>
                    <a:pt x="863766" y="0"/>
                    <a:pt x="1405299"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260" name="Freeform: Shape 259">
              <a:extLst>
                <a:ext uri="{FF2B5EF4-FFF2-40B4-BE49-F238E27FC236}">
                  <a16:creationId xmlns:a16="http://schemas.microsoft.com/office/drawing/2014/main" id="{799447B1-E4B9-46BB-9803-1281C3B069C3}"/>
                </a:ext>
              </a:extLst>
            </p:cNvPr>
            <p:cNvSpPr/>
            <p:nvPr/>
          </p:nvSpPr>
          <p:spPr>
            <a:xfrm>
              <a:off x="5451328" y="3779763"/>
              <a:ext cx="615330" cy="1137193"/>
            </a:xfrm>
            <a:custGeom>
              <a:avLst/>
              <a:gdLst>
                <a:gd name="connsiteX0" fmla="*/ 307665 w 615330"/>
                <a:gd name="connsiteY0" fmla="*/ 0 h 1137193"/>
                <a:gd name="connsiteX1" fmla="*/ 615330 w 615330"/>
                <a:gd name="connsiteY1" fmla="*/ 307666 h 1137193"/>
                <a:gd name="connsiteX2" fmla="*/ 427422 w 615330"/>
                <a:gd name="connsiteY2" fmla="*/ 591154 h 1137193"/>
                <a:gd name="connsiteX3" fmla="*/ 412107 w 615330"/>
                <a:gd name="connsiteY3" fmla="*/ 594246 h 1137193"/>
                <a:gd name="connsiteX4" fmla="*/ 412107 w 615330"/>
                <a:gd name="connsiteY4" fmla="*/ 1137193 h 1137193"/>
                <a:gd name="connsiteX5" fmla="*/ 214098 w 615330"/>
                <a:gd name="connsiteY5" fmla="*/ 1137193 h 1137193"/>
                <a:gd name="connsiteX6" fmla="*/ 214098 w 615330"/>
                <a:gd name="connsiteY6" fmla="*/ 596442 h 1137193"/>
                <a:gd name="connsiteX7" fmla="*/ 187908 w 615330"/>
                <a:gd name="connsiteY7" fmla="*/ 591154 h 1137193"/>
                <a:gd name="connsiteX8" fmla="*/ 0 w 615330"/>
                <a:gd name="connsiteY8" fmla="*/ 307666 h 1137193"/>
                <a:gd name="connsiteX9" fmla="*/ 307665 w 615330"/>
                <a:gd name="connsiteY9" fmla="*/ 0 h 1137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5330" h="1137193">
                  <a:moveTo>
                    <a:pt x="307665" y="0"/>
                  </a:moveTo>
                  <a:cubicBezTo>
                    <a:pt x="477584" y="0"/>
                    <a:pt x="615330" y="137747"/>
                    <a:pt x="615330" y="307666"/>
                  </a:cubicBezTo>
                  <a:cubicBezTo>
                    <a:pt x="615330" y="435106"/>
                    <a:pt x="537848" y="544448"/>
                    <a:pt x="427422" y="591154"/>
                  </a:cubicBezTo>
                  <a:lnTo>
                    <a:pt x="412107" y="594246"/>
                  </a:lnTo>
                  <a:lnTo>
                    <a:pt x="412107" y="1137193"/>
                  </a:lnTo>
                  <a:lnTo>
                    <a:pt x="214098" y="1137193"/>
                  </a:lnTo>
                  <a:lnTo>
                    <a:pt x="214098" y="596442"/>
                  </a:lnTo>
                  <a:lnTo>
                    <a:pt x="187908" y="591154"/>
                  </a:lnTo>
                  <a:cubicBezTo>
                    <a:pt x="77482" y="544448"/>
                    <a:pt x="0" y="435106"/>
                    <a:pt x="0" y="307666"/>
                  </a:cubicBezTo>
                  <a:cubicBezTo>
                    <a:pt x="0" y="137747"/>
                    <a:pt x="137746" y="0"/>
                    <a:pt x="307665" y="0"/>
                  </a:cubicBezTo>
                  <a:close/>
                </a:path>
              </a:pathLst>
            </a:cu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grpSp>
        <p:nvGrpSpPr>
          <p:cNvPr id="261" name="Group 260">
            <a:extLst>
              <a:ext uri="{FF2B5EF4-FFF2-40B4-BE49-F238E27FC236}">
                <a16:creationId xmlns:a16="http://schemas.microsoft.com/office/drawing/2014/main" id="{3A2D76A4-36CE-4E57-8834-C70B8089FCD7}"/>
              </a:ext>
            </a:extLst>
          </p:cNvPr>
          <p:cNvGrpSpPr/>
          <p:nvPr/>
        </p:nvGrpSpPr>
        <p:grpSpPr>
          <a:xfrm>
            <a:off x="9735765" y="824867"/>
            <a:ext cx="147488" cy="193870"/>
            <a:chOff x="4373323" y="1855264"/>
            <a:chExt cx="2771333" cy="3642856"/>
          </a:xfrm>
        </p:grpSpPr>
        <p:sp>
          <p:nvSpPr>
            <p:cNvPr id="262" name="Freeform: Shape 261">
              <a:extLst>
                <a:ext uri="{FF2B5EF4-FFF2-40B4-BE49-F238E27FC236}">
                  <a16:creationId xmlns:a16="http://schemas.microsoft.com/office/drawing/2014/main" id="{340249A5-E5D8-4CB7-9B7B-14B0A944B35B}"/>
                </a:ext>
              </a:extLst>
            </p:cNvPr>
            <p:cNvSpPr/>
            <p:nvPr/>
          </p:nvSpPr>
          <p:spPr>
            <a:xfrm>
              <a:off x="4373323" y="1855264"/>
              <a:ext cx="2771333" cy="3642856"/>
            </a:xfrm>
            <a:custGeom>
              <a:avLst/>
              <a:gdLst>
                <a:gd name="connsiteX0" fmla="*/ 1405299 w 2771333"/>
                <a:gd name="connsiteY0" fmla="*/ 377758 h 3642856"/>
                <a:gd name="connsiteX1" fmla="*/ 750732 w 2771333"/>
                <a:gd name="connsiteY1" fmla="*/ 940856 h 3642856"/>
                <a:gd name="connsiteX2" fmla="*/ 738261 w 2771333"/>
                <a:gd name="connsiteY2" fmla="*/ 1071423 h 3642856"/>
                <a:gd name="connsiteX3" fmla="*/ 2072337 w 2771333"/>
                <a:gd name="connsiteY3" fmla="*/ 1071423 h 3642856"/>
                <a:gd name="connsiteX4" fmla="*/ 2059867 w 2771333"/>
                <a:gd name="connsiteY4" fmla="*/ 940856 h 3642856"/>
                <a:gd name="connsiteX5" fmla="*/ 1405299 w 2771333"/>
                <a:gd name="connsiteY5" fmla="*/ 377758 h 3642856"/>
                <a:gd name="connsiteX6" fmla="*/ 1405299 w 2771333"/>
                <a:gd name="connsiteY6" fmla="*/ 0 h 3642856"/>
                <a:gd name="connsiteX7" fmla="*/ 2445799 w 2771333"/>
                <a:gd name="connsiteY7" fmla="*/ 972254 h 3642856"/>
                <a:gd name="connsiteX8" fmla="*/ 2450636 w 2771333"/>
                <a:gd name="connsiteY8" fmla="*/ 1071423 h 3642856"/>
                <a:gd name="connsiteX9" fmla="*/ 2771333 w 2771333"/>
                <a:gd name="connsiteY9" fmla="*/ 1071423 h 3642856"/>
                <a:gd name="connsiteX10" fmla="*/ 2771333 w 2771333"/>
                <a:gd name="connsiteY10" fmla="*/ 3642856 h 3642856"/>
                <a:gd name="connsiteX11" fmla="*/ 0 w 2771333"/>
                <a:gd name="connsiteY11" fmla="*/ 3642856 h 3642856"/>
                <a:gd name="connsiteX12" fmla="*/ 0 w 2771333"/>
                <a:gd name="connsiteY12" fmla="*/ 1071423 h 3642856"/>
                <a:gd name="connsiteX13" fmla="*/ 359963 w 2771333"/>
                <a:gd name="connsiteY13" fmla="*/ 1071423 h 3642856"/>
                <a:gd name="connsiteX14" fmla="*/ 364799 w 2771333"/>
                <a:gd name="connsiteY14" fmla="*/ 972254 h 3642856"/>
                <a:gd name="connsiteX15" fmla="*/ 1405299 w 2771333"/>
                <a:gd name="connsiteY15" fmla="*/ 0 h 3642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71333" h="3642856">
                  <a:moveTo>
                    <a:pt x="1405299" y="377758"/>
                  </a:moveTo>
                  <a:cubicBezTo>
                    <a:pt x="1082420" y="377758"/>
                    <a:pt x="813033" y="619497"/>
                    <a:pt x="750732" y="940856"/>
                  </a:cubicBezTo>
                  <a:lnTo>
                    <a:pt x="738261" y="1071423"/>
                  </a:lnTo>
                  <a:lnTo>
                    <a:pt x="2072337" y="1071423"/>
                  </a:lnTo>
                  <a:lnTo>
                    <a:pt x="2059867" y="940856"/>
                  </a:lnTo>
                  <a:cubicBezTo>
                    <a:pt x="1997565" y="619497"/>
                    <a:pt x="1728179" y="377758"/>
                    <a:pt x="1405299" y="377758"/>
                  </a:cubicBezTo>
                  <a:close/>
                  <a:moveTo>
                    <a:pt x="1405299" y="0"/>
                  </a:moveTo>
                  <a:cubicBezTo>
                    <a:pt x="1946832" y="0"/>
                    <a:pt x="2392239" y="426154"/>
                    <a:pt x="2445799" y="972254"/>
                  </a:cubicBezTo>
                  <a:lnTo>
                    <a:pt x="2450636" y="1071423"/>
                  </a:lnTo>
                  <a:lnTo>
                    <a:pt x="2771333" y="1071423"/>
                  </a:lnTo>
                  <a:lnTo>
                    <a:pt x="2771333" y="3642856"/>
                  </a:lnTo>
                  <a:lnTo>
                    <a:pt x="0" y="3642856"/>
                  </a:lnTo>
                  <a:lnTo>
                    <a:pt x="0" y="1071423"/>
                  </a:lnTo>
                  <a:lnTo>
                    <a:pt x="359963" y="1071423"/>
                  </a:lnTo>
                  <a:lnTo>
                    <a:pt x="364799" y="972254"/>
                  </a:lnTo>
                  <a:cubicBezTo>
                    <a:pt x="418360" y="426154"/>
                    <a:pt x="863766" y="0"/>
                    <a:pt x="1405299"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263" name="Freeform: Shape 262">
              <a:extLst>
                <a:ext uri="{FF2B5EF4-FFF2-40B4-BE49-F238E27FC236}">
                  <a16:creationId xmlns:a16="http://schemas.microsoft.com/office/drawing/2014/main" id="{3F98A814-291A-445F-BBE0-E468D54F20E9}"/>
                </a:ext>
              </a:extLst>
            </p:cNvPr>
            <p:cNvSpPr/>
            <p:nvPr/>
          </p:nvSpPr>
          <p:spPr>
            <a:xfrm>
              <a:off x="5451328" y="3779763"/>
              <a:ext cx="615330" cy="1137193"/>
            </a:xfrm>
            <a:custGeom>
              <a:avLst/>
              <a:gdLst>
                <a:gd name="connsiteX0" fmla="*/ 307665 w 615330"/>
                <a:gd name="connsiteY0" fmla="*/ 0 h 1137193"/>
                <a:gd name="connsiteX1" fmla="*/ 615330 w 615330"/>
                <a:gd name="connsiteY1" fmla="*/ 307666 h 1137193"/>
                <a:gd name="connsiteX2" fmla="*/ 427422 w 615330"/>
                <a:gd name="connsiteY2" fmla="*/ 591154 h 1137193"/>
                <a:gd name="connsiteX3" fmla="*/ 412107 w 615330"/>
                <a:gd name="connsiteY3" fmla="*/ 594246 h 1137193"/>
                <a:gd name="connsiteX4" fmla="*/ 412107 w 615330"/>
                <a:gd name="connsiteY4" fmla="*/ 1137193 h 1137193"/>
                <a:gd name="connsiteX5" fmla="*/ 214098 w 615330"/>
                <a:gd name="connsiteY5" fmla="*/ 1137193 h 1137193"/>
                <a:gd name="connsiteX6" fmla="*/ 214098 w 615330"/>
                <a:gd name="connsiteY6" fmla="*/ 596442 h 1137193"/>
                <a:gd name="connsiteX7" fmla="*/ 187908 w 615330"/>
                <a:gd name="connsiteY7" fmla="*/ 591154 h 1137193"/>
                <a:gd name="connsiteX8" fmla="*/ 0 w 615330"/>
                <a:gd name="connsiteY8" fmla="*/ 307666 h 1137193"/>
                <a:gd name="connsiteX9" fmla="*/ 307665 w 615330"/>
                <a:gd name="connsiteY9" fmla="*/ 0 h 1137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5330" h="1137193">
                  <a:moveTo>
                    <a:pt x="307665" y="0"/>
                  </a:moveTo>
                  <a:cubicBezTo>
                    <a:pt x="477584" y="0"/>
                    <a:pt x="615330" y="137747"/>
                    <a:pt x="615330" y="307666"/>
                  </a:cubicBezTo>
                  <a:cubicBezTo>
                    <a:pt x="615330" y="435106"/>
                    <a:pt x="537848" y="544448"/>
                    <a:pt x="427422" y="591154"/>
                  </a:cubicBezTo>
                  <a:lnTo>
                    <a:pt x="412107" y="594246"/>
                  </a:lnTo>
                  <a:lnTo>
                    <a:pt x="412107" y="1137193"/>
                  </a:lnTo>
                  <a:lnTo>
                    <a:pt x="214098" y="1137193"/>
                  </a:lnTo>
                  <a:lnTo>
                    <a:pt x="214098" y="596442"/>
                  </a:lnTo>
                  <a:lnTo>
                    <a:pt x="187908" y="591154"/>
                  </a:lnTo>
                  <a:cubicBezTo>
                    <a:pt x="77482" y="544448"/>
                    <a:pt x="0" y="435106"/>
                    <a:pt x="0" y="307666"/>
                  </a:cubicBezTo>
                  <a:cubicBezTo>
                    <a:pt x="0" y="137747"/>
                    <a:pt x="137746" y="0"/>
                    <a:pt x="307665" y="0"/>
                  </a:cubicBezTo>
                  <a:close/>
                </a:path>
              </a:pathLst>
            </a:cu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cxnSp>
        <p:nvCxnSpPr>
          <p:cNvPr id="266" name="Connector: Elbow 265">
            <a:extLst>
              <a:ext uri="{FF2B5EF4-FFF2-40B4-BE49-F238E27FC236}">
                <a16:creationId xmlns:a16="http://schemas.microsoft.com/office/drawing/2014/main" id="{B0272137-0FAF-4506-8A52-9FEC9234C6D1}"/>
              </a:ext>
            </a:extLst>
          </p:cNvPr>
          <p:cNvCxnSpPr>
            <a:cxnSpLocks/>
          </p:cNvCxnSpPr>
          <p:nvPr/>
        </p:nvCxnSpPr>
        <p:spPr>
          <a:xfrm rot="10800000">
            <a:off x="692066" y="5437162"/>
            <a:ext cx="560308" cy="866578"/>
          </a:xfrm>
          <a:prstGeom prst="bentConnector2">
            <a:avLst/>
          </a:prstGeom>
          <a:ln w="12700">
            <a:solidFill>
              <a:srgbClr val="0078D7"/>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0BDD1717-6377-46DB-9AB3-BBD6A78FB561}"/>
              </a:ext>
            </a:extLst>
          </p:cNvPr>
          <p:cNvCxnSpPr>
            <a:cxnSpLocks/>
          </p:cNvCxnSpPr>
          <p:nvPr/>
        </p:nvCxnSpPr>
        <p:spPr>
          <a:xfrm flipV="1">
            <a:off x="1237720" y="5033475"/>
            <a:ext cx="1689294" cy="19743"/>
          </a:xfrm>
          <a:prstGeom prst="line">
            <a:avLst/>
          </a:prstGeom>
          <a:ln w="12700">
            <a:solidFill>
              <a:srgbClr val="0078D7"/>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270" name="Group 269">
            <a:extLst>
              <a:ext uri="{FF2B5EF4-FFF2-40B4-BE49-F238E27FC236}">
                <a16:creationId xmlns:a16="http://schemas.microsoft.com/office/drawing/2014/main" id="{14BCED22-77DD-4055-9FE4-E8313124FDCE}"/>
              </a:ext>
            </a:extLst>
          </p:cNvPr>
          <p:cNvGrpSpPr/>
          <p:nvPr/>
        </p:nvGrpSpPr>
        <p:grpSpPr>
          <a:xfrm>
            <a:off x="1523864" y="5967752"/>
            <a:ext cx="608721" cy="615212"/>
            <a:chOff x="7632206" y="4181475"/>
            <a:chExt cx="1932899" cy="1953509"/>
          </a:xfrm>
        </p:grpSpPr>
        <p:sp>
          <p:nvSpPr>
            <p:cNvPr id="271" name="Rectangle 270">
              <a:extLst>
                <a:ext uri="{FF2B5EF4-FFF2-40B4-BE49-F238E27FC236}">
                  <a16:creationId xmlns:a16="http://schemas.microsoft.com/office/drawing/2014/main" id="{263C1944-E194-40DC-9196-87E12336A90D}"/>
                </a:ext>
              </a:extLst>
            </p:cNvPr>
            <p:cNvSpPr/>
            <p:nvPr/>
          </p:nvSpPr>
          <p:spPr bwMode="auto">
            <a:xfrm>
              <a:off x="7632206" y="5983357"/>
              <a:ext cx="1932899" cy="151627"/>
            </a:xfrm>
            <a:prstGeom prst="rect">
              <a:avLst/>
            </a:prstGeom>
            <a:solidFill>
              <a:srgbClr val="0078D7"/>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272" name="Triangle 35">
              <a:extLst>
                <a:ext uri="{FF2B5EF4-FFF2-40B4-BE49-F238E27FC236}">
                  <a16:creationId xmlns:a16="http://schemas.microsoft.com/office/drawing/2014/main" id="{1AC594DC-4C36-4F69-B13F-54F31F5934AB}"/>
                </a:ext>
              </a:extLst>
            </p:cNvPr>
            <p:cNvSpPr/>
            <p:nvPr/>
          </p:nvSpPr>
          <p:spPr bwMode="auto">
            <a:xfrm>
              <a:off x="7752522" y="5217903"/>
              <a:ext cx="1024089" cy="765454"/>
            </a:xfrm>
            <a:prstGeom prst="triangle">
              <a:avLst>
                <a:gd name="adj" fmla="val 49234"/>
              </a:avLst>
            </a:prstGeom>
            <a:solidFill>
              <a:srgbClr val="50E6FF"/>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273" name="Triangle 36">
              <a:extLst>
                <a:ext uri="{FF2B5EF4-FFF2-40B4-BE49-F238E27FC236}">
                  <a16:creationId xmlns:a16="http://schemas.microsoft.com/office/drawing/2014/main" id="{E0AB92CD-A907-4C35-8B6E-C92F838968C3}"/>
                </a:ext>
              </a:extLst>
            </p:cNvPr>
            <p:cNvSpPr/>
            <p:nvPr/>
          </p:nvSpPr>
          <p:spPr bwMode="auto">
            <a:xfrm>
              <a:off x="7990551" y="4181476"/>
              <a:ext cx="548031" cy="609186"/>
            </a:xfrm>
            <a:prstGeom prst="triangle">
              <a:avLst>
                <a:gd name="adj" fmla="val 49234"/>
              </a:avLst>
            </a:prstGeom>
            <a:solidFill>
              <a:srgbClr val="0078D7"/>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274" name="Rectangle 273">
              <a:extLst>
                <a:ext uri="{FF2B5EF4-FFF2-40B4-BE49-F238E27FC236}">
                  <a16:creationId xmlns:a16="http://schemas.microsoft.com/office/drawing/2014/main" id="{CFDF9375-89F1-4DB4-B9D4-9CE12030FE8C}"/>
                </a:ext>
              </a:extLst>
            </p:cNvPr>
            <p:cNvSpPr/>
            <p:nvPr/>
          </p:nvSpPr>
          <p:spPr bwMode="auto">
            <a:xfrm>
              <a:off x="7990551" y="4790662"/>
              <a:ext cx="548031" cy="1192695"/>
            </a:xfrm>
            <a:prstGeom prst="rect">
              <a:avLst/>
            </a:prstGeom>
            <a:solidFill>
              <a:srgbClr val="0078D7"/>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275" name="Oval 274">
              <a:extLst>
                <a:ext uri="{FF2B5EF4-FFF2-40B4-BE49-F238E27FC236}">
                  <a16:creationId xmlns:a16="http://schemas.microsoft.com/office/drawing/2014/main" id="{522DD8F3-A269-444E-BCCA-CE51AC9372AC}"/>
                </a:ext>
              </a:extLst>
            </p:cNvPr>
            <p:cNvSpPr/>
            <p:nvPr/>
          </p:nvSpPr>
          <p:spPr bwMode="auto">
            <a:xfrm>
              <a:off x="8195814" y="4928771"/>
              <a:ext cx="137504" cy="137504"/>
            </a:xfrm>
            <a:prstGeom prst="ellipse">
              <a:avLst/>
            </a:prstGeom>
            <a:solidFill>
              <a:srgbClr val="50E6FF"/>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276" name="Oval 275">
              <a:extLst>
                <a:ext uri="{FF2B5EF4-FFF2-40B4-BE49-F238E27FC236}">
                  <a16:creationId xmlns:a16="http://schemas.microsoft.com/office/drawing/2014/main" id="{F0A69F0F-143C-4CF7-AE33-259013123E90}"/>
                </a:ext>
              </a:extLst>
            </p:cNvPr>
            <p:cNvSpPr/>
            <p:nvPr/>
          </p:nvSpPr>
          <p:spPr bwMode="auto">
            <a:xfrm>
              <a:off x="8206905" y="5149151"/>
              <a:ext cx="137504" cy="137504"/>
            </a:xfrm>
            <a:prstGeom prst="ellipse">
              <a:avLst/>
            </a:prstGeom>
            <a:solidFill>
              <a:srgbClr val="50E6FF"/>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277" name="Rectangle 276">
              <a:extLst>
                <a:ext uri="{FF2B5EF4-FFF2-40B4-BE49-F238E27FC236}">
                  <a16:creationId xmlns:a16="http://schemas.microsoft.com/office/drawing/2014/main" id="{B1E2E6B1-6D3D-4392-83C8-46B31BC2D0EE}"/>
                </a:ext>
              </a:extLst>
            </p:cNvPr>
            <p:cNvSpPr/>
            <p:nvPr/>
          </p:nvSpPr>
          <p:spPr bwMode="auto">
            <a:xfrm>
              <a:off x="8249516" y="5600630"/>
              <a:ext cx="45719" cy="382727"/>
            </a:xfrm>
            <a:prstGeom prst="rect">
              <a:avLst/>
            </a:prstGeom>
            <a:solidFill>
              <a:srgbClr val="50E6FF"/>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278" name="Rectangle 277">
              <a:extLst>
                <a:ext uri="{FF2B5EF4-FFF2-40B4-BE49-F238E27FC236}">
                  <a16:creationId xmlns:a16="http://schemas.microsoft.com/office/drawing/2014/main" id="{D59F157F-D97D-44F4-922D-E0D829821475}"/>
                </a:ext>
              </a:extLst>
            </p:cNvPr>
            <p:cNvSpPr/>
            <p:nvPr/>
          </p:nvSpPr>
          <p:spPr bwMode="auto">
            <a:xfrm>
              <a:off x="8975558" y="4181475"/>
              <a:ext cx="360947" cy="1801881"/>
            </a:xfrm>
            <a:prstGeom prst="rect">
              <a:avLst/>
            </a:prstGeom>
            <a:solidFill>
              <a:srgbClr val="0078D7"/>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279" name="Rectangle 278">
              <a:extLst>
                <a:ext uri="{FF2B5EF4-FFF2-40B4-BE49-F238E27FC236}">
                  <a16:creationId xmlns:a16="http://schemas.microsoft.com/office/drawing/2014/main" id="{56689A45-C27D-4A3B-892D-1C40ADC27BC8}"/>
                </a:ext>
              </a:extLst>
            </p:cNvPr>
            <p:cNvSpPr/>
            <p:nvPr/>
          </p:nvSpPr>
          <p:spPr bwMode="auto">
            <a:xfrm>
              <a:off x="8538581" y="4873539"/>
              <a:ext cx="436977" cy="55232"/>
            </a:xfrm>
            <a:prstGeom prst="rect">
              <a:avLst/>
            </a:prstGeom>
            <a:solidFill>
              <a:srgbClr val="0078D7"/>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sp>
        <p:nvSpPr>
          <p:cNvPr id="282" name="TextBox 281">
            <a:extLst>
              <a:ext uri="{FF2B5EF4-FFF2-40B4-BE49-F238E27FC236}">
                <a16:creationId xmlns:a16="http://schemas.microsoft.com/office/drawing/2014/main" id="{0CEF3163-1779-465A-BB4E-CF746963D8DA}"/>
              </a:ext>
            </a:extLst>
          </p:cNvPr>
          <p:cNvSpPr txBox="1"/>
          <p:nvPr/>
        </p:nvSpPr>
        <p:spPr>
          <a:xfrm>
            <a:off x="2939009" y="4264652"/>
            <a:ext cx="625346" cy="615553"/>
          </a:xfrm>
          <a:prstGeom prst="rect">
            <a:avLst/>
          </a:prstGeom>
          <a:noFill/>
        </p:spPr>
        <p:txBody>
          <a:bodyPr wrap="square" lIns="0" tIns="0" rIns="0" bIns="0" rtlCol="0">
            <a:spAutoFit/>
          </a:bodyPr>
          <a:lstStyle/>
          <a:p>
            <a:pPr marL="0" marR="0" lvl="0" indent="0" algn="ctr" defTabSz="1218935" rtl="0" eaLnBrk="1" fontAlgn="auto" latinLnBrk="0" hangingPunct="1">
              <a:lnSpc>
                <a:spcPct val="100000"/>
              </a:lnSpc>
              <a:spcBef>
                <a:spcPts val="0"/>
              </a:spcBef>
              <a:spcAft>
                <a:spcPts val="0"/>
              </a:spcAft>
              <a:buClrTx/>
              <a:buSzTx/>
              <a:buFontTx/>
              <a:buNone/>
              <a:tabLst/>
              <a:defRPr/>
            </a:pPr>
            <a:r>
              <a:rPr kumimoji="0" lang="en-US" sz="40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R</a:t>
            </a:r>
          </a:p>
        </p:txBody>
      </p:sp>
      <p:grpSp>
        <p:nvGrpSpPr>
          <p:cNvPr id="283" name="Group 282">
            <a:extLst>
              <a:ext uri="{FF2B5EF4-FFF2-40B4-BE49-F238E27FC236}">
                <a16:creationId xmlns:a16="http://schemas.microsoft.com/office/drawing/2014/main" id="{30139975-B5EA-4070-A5EF-CE9D7053DE68}"/>
              </a:ext>
            </a:extLst>
          </p:cNvPr>
          <p:cNvGrpSpPr>
            <a:grpSpLocks noChangeAspect="1"/>
          </p:cNvGrpSpPr>
          <p:nvPr/>
        </p:nvGrpSpPr>
        <p:grpSpPr bwMode="auto">
          <a:xfrm>
            <a:off x="3057346" y="4966250"/>
            <a:ext cx="418209" cy="420053"/>
            <a:chOff x="522" y="2880"/>
            <a:chExt cx="908" cy="912"/>
          </a:xfrm>
          <a:solidFill>
            <a:schemeClr val="accent1"/>
          </a:solidFill>
        </p:grpSpPr>
        <p:sp>
          <p:nvSpPr>
            <p:cNvPr id="287" name="Freeform 5">
              <a:extLst>
                <a:ext uri="{FF2B5EF4-FFF2-40B4-BE49-F238E27FC236}">
                  <a16:creationId xmlns:a16="http://schemas.microsoft.com/office/drawing/2014/main" id="{F8F3F4DA-E4A1-4C96-BDDA-6CA01874AEFF}"/>
                </a:ext>
              </a:extLst>
            </p:cNvPr>
            <p:cNvSpPr>
              <a:spLocks noEditPoints="1"/>
            </p:cNvSpPr>
            <p:nvPr/>
          </p:nvSpPr>
          <p:spPr bwMode="auto">
            <a:xfrm>
              <a:off x="522" y="2880"/>
              <a:ext cx="668" cy="669"/>
            </a:xfrm>
            <a:custGeom>
              <a:avLst/>
              <a:gdLst>
                <a:gd name="T0" fmla="*/ 223 w 332"/>
                <a:gd name="T1" fmla="*/ 0 h 332"/>
                <a:gd name="T2" fmla="*/ 172 w 332"/>
                <a:gd name="T3" fmla="*/ 4 h 332"/>
                <a:gd name="T4" fmla="*/ 118 w 332"/>
                <a:gd name="T5" fmla="*/ 60 h 332"/>
                <a:gd name="T6" fmla="*/ 118 w 332"/>
                <a:gd name="T7" fmla="*/ 101 h 332"/>
                <a:gd name="T8" fmla="*/ 225 w 332"/>
                <a:gd name="T9" fmla="*/ 101 h 332"/>
                <a:gd name="T10" fmla="*/ 225 w 332"/>
                <a:gd name="T11" fmla="*/ 114 h 332"/>
                <a:gd name="T12" fmla="*/ 118 w 332"/>
                <a:gd name="T13" fmla="*/ 114 h 332"/>
                <a:gd name="T14" fmla="*/ 78 w 332"/>
                <a:gd name="T15" fmla="*/ 114 h 332"/>
                <a:gd name="T16" fmla="*/ 11 w 332"/>
                <a:gd name="T17" fmla="*/ 169 h 332"/>
                <a:gd name="T18" fmla="*/ 11 w 332"/>
                <a:gd name="T19" fmla="*/ 278 h 332"/>
                <a:gd name="T20" fmla="*/ 68 w 332"/>
                <a:gd name="T21" fmla="*/ 332 h 332"/>
                <a:gd name="T22" fmla="*/ 105 w 332"/>
                <a:gd name="T23" fmla="*/ 332 h 332"/>
                <a:gd name="T24" fmla="*/ 105 w 332"/>
                <a:gd name="T25" fmla="*/ 283 h 332"/>
                <a:gd name="T26" fmla="*/ 172 w 332"/>
                <a:gd name="T27" fmla="*/ 216 h 332"/>
                <a:gd name="T28" fmla="*/ 279 w 332"/>
                <a:gd name="T29" fmla="*/ 216 h 332"/>
                <a:gd name="T30" fmla="*/ 332 w 332"/>
                <a:gd name="T31" fmla="*/ 162 h 332"/>
                <a:gd name="T32" fmla="*/ 332 w 332"/>
                <a:gd name="T33" fmla="*/ 60 h 332"/>
                <a:gd name="T34" fmla="*/ 279 w 332"/>
                <a:gd name="T35" fmla="*/ 4 h 332"/>
                <a:gd name="T36" fmla="*/ 223 w 332"/>
                <a:gd name="T37" fmla="*/ 0 h 332"/>
                <a:gd name="T38" fmla="*/ 165 w 332"/>
                <a:gd name="T39" fmla="*/ 33 h 332"/>
                <a:gd name="T40" fmla="*/ 185 w 332"/>
                <a:gd name="T41" fmla="*/ 53 h 332"/>
                <a:gd name="T42" fmla="*/ 165 w 332"/>
                <a:gd name="T43" fmla="*/ 73 h 332"/>
                <a:gd name="T44" fmla="*/ 145 w 332"/>
                <a:gd name="T45" fmla="*/ 53 h 332"/>
                <a:gd name="T46" fmla="*/ 165 w 332"/>
                <a:gd name="T47" fmla="*/ 33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2" h="332">
                  <a:moveTo>
                    <a:pt x="223" y="0"/>
                  </a:moveTo>
                  <a:cubicBezTo>
                    <a:pt x="205" y="0"/>
                    <a:pt x="187" y="1"/>
                    <a:pt x="172" y="4"/>
                  </a:cubicBezTo>
                  <a:cubicBezTo>
                    <a:pt x="126" y="12"/>
                    <a:pt x="118" y="29"/>
                    <a:pt x="118" y="60"/>
                  </a:cubicBezTo>
                  <a:cubicBezTo>
                    <a:pt x="118" y="101"/>
                    <a:pt x="118" y="101"/>
                    <a:pt x="118" y="101"/>
                  </a:cubicBezTo>
                  <a:cubicBezTo>
                    <a:pt x="225" y="101"/>
                    <a:pt x="225" y="101"/>
                    <a:pt x="225" y="101"/>
                  </a:cubicBezTo>
                  <a:cubicBezTo>
                    <a:pt x="225" y="114"/>
                    <a:pt x="225" y="114"/>
                    <a:pt x="225" y="114"/>
                  </a:cubicBezTo>
                  <a:cubicBezTo>
                    <a:pt x="118" y="114"/>
                    <a:pt x="118" y="114"/>
                    <a:pt x="118" y="114"/>
                  </a:cubicBezTo>
                  <a:cubicBezTo>
                    <a:pt x="78" y="114"/>
                    <a:pt x="78" y="114"/>
                    <a:pt x="78" y="114"/>
                  </a:cubicBezTo>
                  <a:cubicBezTo>
                    <a:pt x="47" y="114"/>
                    <a:pt x="19" y="133"/>
                    <a:pt x="11" y="169"/>
                  </a:cubicBezTo>
                  <a:cubicBezTo>
                    <a:pt x="1" y="210"/>
                    <a:pt x="0" y="235"/>
                    <a:pt x="11" y="278"/>
                  </a:cubicBezTo>
                  <a:cubicBezTo>
                    <a:pt x="18" y="309"/>
                    <a:pt x="37" y="332"/>
                    <a:pt x="68" y="332"/>
                  </a:cubicBezTo>
                  <a:cubicBezTo>
                    <a:pt x="105" y="332"/>
                    <a:pt x="105" y="332"/>
                    <a:pt x="105" y="332"/>
                  </a:cubicBezTo>
                  <a:cubicBezTo>
                    <a:pt x="105" y="283"/>
                    <a:pt x="105" y="283"/>
                    <a:pt x="105" y="283"/>
                  </a:cubicBezTo>
                  <a:cubicBezTo>
                    <a:pt x="105" y="248"/>
                    <a:pt x="135" y="216"/>
                    <a:pt x="172" y="216"/>
                  </a:cubicBezTo>
                  <a:cubicBezTo>
                    <a:pt x="279" y="216"/>
                    <a:pt x="279" y="216"/>
                    <a:pt x="279" y="216"/>
                  </a:cubicBezTo>
                  <a:cubicBezTo>
                    <a:pt x="309" y="216"/>
                    <a:pt x="332" y="192"/>
                    <a:pt x="332" y="162"/>
                  </a:cubicBezTo>
                  <a:cubicBezTo>
                    <a:pt x="332" y="60"/>
                    <a:pt x="332" y="60"/>
                    <a:pt x="332" y="60"/>
                  </a:cubicBezTo>
                  <a:cubicBezTo>
                    <a:pt x="332" y="31"/>
                    <a:pt x="308" y="9"/>
                    <a:pt x="279" y="4"/>
                  </a:cubicBezTo>
                  <a:cubicBezTo>
                    <a:pt x="260" y="1"/>
                    <a:pt x="241" y="0"/>
                    <a:pt x="223" y="0"/>
                  </a:cubicBezTo>
                  <a:close/>
                  <a:moveTo>
                    <a:pt x="165" y="33"/>
                  </a:moveTo>
                  <a:cubicBezTo>
                    <a:pt x="176" y="33"/>
                    <a:pt x="185" y="42"/>
                    <a:pt x="185" y="53"/>
                  </a:cubicBezTo>
                  <a:cubicBezTo>
                    <a:pt x="185" y="64"/>
                    <a:pt x="176" y="73"/>
                    <a:pt x="165" y="73"/>
                  </a:cubicBezTo>
                  <a:cubicBezTo>
                    <a:pt x="154" y="73"/>
                    <a:pt x="145" y="64"/>
                    <a:pt x="145" y="53"/>
                  </a:cubicBezTo>
                  <a:cubicBezTo>
                    <a:pt x="145" y="42"/>
                    <a:pt x="154" y="33"/>
                    <a:pt x="165"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sp>
          <p:nvSpPr>
            <p:cNvPr id="288" name="Freeform 6">
              <a:extLst>
                <a:ext uri="{FF2B5EF4-FFF2-40B4-BE49-F238E27FC236}">
                  <a16:creationId xmlns:a16="http://schemas.microsoft.com/office/drawing/2014/main" id="{997B163C-E820-46A0-99F5-A95FEE0780FE}"/>
                </a:ext>
              </a:extLst>
            </p:cNvPr>
            <p:cNvSpPr>
              <a:spLocks noEditPoints="1"/>
            </p:cNvSpPr>
            <p:nvPr/>
          </p:nvSpPr>
          <p:spPr bwMode="auto">
            <a:xfrm>
              <a:off x="760" y="3110"/>
              <a:ext cx="670" cy="682"/>
            </a:xfrm>
            <a:custGeom>
              <a:avLst/>
              <a:gdLst>
                <a:gd name="T0" fmla="*/ 228 w 333"/>
                <a:gd name="T1" fmla="*/ 0 h 339"/>
                <a:gd name="T2" fmla="*/ 228 w 333"/>
                <a:gd name="T3" fmla="*/ 48 h 339"/>
                <a:gd name="T4" fmla="*/ 161 w 333"/>
                <a:gd name="T5" fmla="*/ 116 h 339"/>
                <a:gd name="T6" fmla="*/ 54 w 333"/>
                <a:gd name="T7" fmla="*/ 116 h 339"/>
                <a:gd name="T8" fmla="*/ 0 w 333"/>
                <a:gd name="T9" fmla="*/ 170 h 339"/>
                <a:gd name="T10" fmla="*/ 0 w 333"/>
                <a:gd name="T11" fmla="*/ 273 h 339"/>
                <a:gd name="T12" fmla="*/ 54 w 333"/>
                <a:gd name="T13" fmla="*/ 327 h 339"/>
                <a:gd name="T14" fmla="*/ 161 w 333"/>
                <a:gd name="T15" fmla="*/ 327 h 339"/>
                <a:gd name="T16" fmla="*/ 214 w 333"/>
                <a:gd name="T17" fmla="*/ 273 h 339"/>
                <a:gd name="T18" fmla="*/ 214 w 333"/>
                <a:gd name="T19" fmla="*/ 232 h 339"/>
                <a:gd name="T20" fmla="*/ 107 w 333"/>
                <a:gd name="T21" fmla="*/ 232 h 339"/>
                <a:gd name="T22" fmla="*/ 107 w 333"/>
                <a:gd name="T23" fmla="*/ 218 h 339"/>
                <a:gd name="T24" fmla="*/ 214 w 333"/>
                <a:gd name="T25" fmla="*/ 218 h 339"/>
                <a:gd name="T26" fmla="*/ 268 w 333"/>
                <a:gd name="T27" fmla="*/ 218 h 339"/>
                <a:gd name="T28" fmla="*/ 322 w 333"/>
                <a:gd name="T29" fmla="*/ 164 h 339"/>
                <a:gd name="T30" fmla="*/ 322 w 333"/>
                <a:gd name="T31" fmla="*/ 55 h 339"/>
                <a:gd name="T32" fmla="*/ 268 w 333"/>
                <a:gd name="T33" fmla="*/ 0 h 339"/>
                <a:gd name="T34" fmla="*/ 228 w 333"/>
                <a:gd name="T35" fmla="*/ 0 h 339"/>
                <a:gd name="T36" fmla="*/ 167 w 333"/>
                <a:gd name="T37" fmla="*/ 259 h 339"/>
                <a:gd name="T38" fmla="*/ 188 w 333"/>
                <a:gd name="T39" fmla="*/ 279 h 339"/>
                <a:gd name="T40" fmla="*/ 167 w 333"/>
                <a:gd name="T41" fmla="*/ 300 h 339"/>
                <a:gd name="T42" fmla="*/ 147 w 333"/>
                <a:gd name="T43" fmla="*/ 279 h 339"/>
                <a:gd name="T44" fmla="*/ 167 w 333"/>
                <a:gd name="T45" fmla="*/ 259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3" h="339">
                  <a:moveTo>
                    <a:pt x="228" y="0"/>
                  </a:moveTo>
                  <a:cubicBezTo>
                    <a:pt x="228" y="48"/>
                    <a:pt x="228" y="48"/>
                    <a:pt x="228" y="48"/>
                  </a:cubicBezTo>
                  <a:cubicBezTo>
                    <a:pt x="228" y="85"/>
                    <a:pt x="196" y="116"/>
                    <a:pt x="161" y="116"/>
                  </a:cubicBezTo>
                  <a:cubicBezTo>
                    <a:pt x="54" y="116"/>
                    <a:pt x="54" y="116"/>
                    <a:pt x="54" y="116"/>
                  </a:cubicBezTo>
                  <a:cubicBezTo>
                    <a:pt x="24" y="116"/>
                    <a:pt x="0" y="141"/>
                    <a:pt x="0" y="170"/>
                  </a:cubicBezTo>
                  <a:cubicBezTo>
                    <a:pt x="0" y="273"/>
                    <a:pt x="0" y="273"/>
                    <a:pt x="0" y="273"/>
                  </a:cubicBezTo>
                  <a:cubicBezTo>
                    <a:pt x="0" y="302"/>
                    <a:pt x="25" y="319"/>
                    <a:pt x="54" y="327"/>
                  </a:cubicBezTo>
                  <a:cubicBezTo>
                    <a:pt x="88" y="337"/>
                    <a:pt x="120" y="339"/>
                    <a:pt x="161" y="327"/>
                  </a:cubicBezTo>
                  <a:cubicBezTo>
                    <a:pt x="188" y="319"/>
                    <a:pt x="214" y="304"/>
                    <a:pt x="214" y="273"/>
                  </a:cubicBezTo>
                  <a:cubicBezTo>
                    <a:pt x="214" y="232"/>
                    <a:pt x="214" y="232"/>
                    <a:pt x="214" y="232"/>
                  </a:cubicBezTo>
                  <a:cubicBezTo>
                    <a:pt x="107" y="232"/>
                    <a:pt x="107" y="232"/>
                    <a:pt x="107" y="232"/>
                  </a:cubicBezTo>
                  <a:cubicBezTo>
                    <a:pt x="107" y="218"/>
                    <a:pt x="107" y="218"/>
                    <a:pt x="107" y="218"/>
                  </a:cubicBezTo>
                  <a:cubicBezTo>
                    <a:pt x="214" y="218"/>
                    <a:pt x="214" y="218"/>
                    <a:pt x="214" y="218"/>
                  </a:cubicBezTo>
                  <a:cubicBezTo>
                    <a:pt x="268" y="218"/>
                    <a:pt x="268" y="218"/>
                    <a:pt x="268" y="218"/>
                  </a:cubicBezTo>
                  <a:cubicBezTo>
                    <a:pt x="299" y="218"/>
                    <a:pt x="311" y="196"/>
                    <a:pt x="322" y="164"/>
                  </a:cubicBezTo>
                  <a:cubicBezTo>
                    <a:pt x="333" y="130"/>
                    <a:pt x="332" y="98"/>
                    <a:pt x="322" y="55"/>
                  </a:cubicBezTo>
                  <a:cubicBezTo>
                    <a:pt x="314" y="24"/>
                    <a:pt x="299" y="0"/>
                    <a:pt x="268" y="0"/>
                  </a:cubicBezTo>
                  <a:lnTo>
                    <a:pt x="228" y="0"/>
                  </a:lnTo>
                  <a:close/>
                  <a:moveTo>
                    <a:pt x="167" y="259"/>
                  </a:moveTo>
                  <a:cubicBezTo>
                    <a:pt x="179" y="259"/>
                    <a:pt x="188" y="268"/>
                    <a:pt x="188" y="279"/>
                  </a:cubicBezTo>
                  <a:cubicBezTo>
                    <a:pt x="188" y="291"/>
                    <a:pt x="179" y="300"/>
                    <a:pt x="167" y="300"/>
                  </a:cubicBezTo>
                  <a:cubicBezTo>
                    <a:pt x="156" y="300"/>
                    <a:pt x="147" y="291"/>
                    <a:pt x="147" y="279"/>
                  </a:cubicBezTo>
                  <a:cubicBezTo>
                    <a:pt x="147" y="268"/>
                    <a:pt x="156" y="259"/>
                    <a:pt x="167" y="2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grpSp>
      <p:grpSp>
        <p:nvGrpSpPr>
          <p:cNvPr id="284" name="Group 283">
            <a:extLst>
              <a:ext uri="{FF2B5EF4-FFF2-40B4-BE49-F238E27FC236}">
                <a16:creationId xmlns:a16="http://schemas.microsoft.com/office/drawing/2014/main" id="{A486A3AB-4E4B-4DBC-906F-4543C02F043E}"/>
              </a:ext>
            </a:extLst>
          </p:cNvPr>
          <p:cNvGrpSpPr/>
          <p:nvPr/>
        </p:nvGrpSpPr>
        <p:grpSpPr>
          <a:xfrm>
            <a:off x="3005087" y="5495713"/>
            <a:ext cx="469199" cy="808027"/>
            <a:chOff x="10695214" y="4270043"/>
            <a:chExt cx="860430" cy="1481780"/>
          </a:xfrm>
        </p:grpSpPr>
        <p:pic>
          <p:nvPicPr>
            <p:cNvPr id="285" name="Picture 284">
              <a:extLst>
                <a:ext uri="{FF2B5EF4-FFF2-40B4-BE49-F238E27FC236}">
                  <a16:creationId xmlns:a16="http://schemas.microsoft.com/office/drawing/2014/main" id="{F377FC5B-6C1E-448C-8F1D-48610C465834}"/>
                </a:ext>
              </a:extLst>
            </p:cNvPr>
            <p:cNvPicPr>
              <a:picLocks noChangeAspect="1"/>
            </p:cNvPicPr>
            <p:nvPr/>
          </p:nvPicPr>
          <p:blipFill rotWithShape="1">
            <a:blip r:embed="rId12"/>
            <a:srcRect r="56128"/>
            <a:stretch/>
          </p:blipFill>
          <p:spPr>
            <a:xfrm>
              <a:off x="10767230" y="4270043"/>
              <a:ext cx="716398" cy="952542"/>
            </a:xfrm>
            <a:prstGeom prst="rect">
              <a:avLst/>
            </a:prstGeom>
          </p:spPr>
        </p:pic>
        <p:pic>
          <p:nvPicPr>
            <p:cNvPr id="286" name="Picture 285">
              <a:extLst>
                <a:ext uri="{FF2B5EF4-FFF2-40B4-BE49-F238E27FC236}">
                  <a16:creationId xmlns:a16="http://schemas.microsoft.com/office/drawing/2014/main" id="{018EEFA3-E786-4A05-B133-5D2247C9D2D4}"/>
                </a:ext>
              </a:extLst>
            </p:cNvPr>
            <p:cNvPicPr>
              <a:picLocks noChangeAspect="1"/>
            </p:cNvPicPr>
            <p:nvPr/>
          </p:nvPicPr>
          <p:blipFill rotWithShape="1">
            <a:blip r:embed="rId12"/>
            <a:srcRect l="47307" t="34734" b="16030"/>
            <a:stretch/>
          </p:blipFill>
          <p:spPr>
            <a:xfrm>
              <a:off x="10695214" y="5282823"/>
              <a:ext cx="860430" cy="469000"/>
            </a:xfrm>
            <a:prstGeom prst="rect">
              <a:avLst/>
            </a:prstGeom>
          </p:spPr>
        </p:pic>
      </p:grpSp>
      <p:grpSp>
        <p:nvGrpSpPr>
          <p:cNvPr id="289" name="Group 288">
            <a:extLst>
              <a:ext uri="{FF2B5EF4-FFF2-40B4-BE49-F238E27FC236}">
                <a16:creationId xmlns:a16="http://schemas.microsoft.com/office/drawing/2014/main" id="{CEEE47AD-6094-4781-A110-2DCC62A3F819}"/>
              </a:ext>
            </a:extLst>
          </p:cNvPr>
          <p:cNvGrpSpPr/>
          <p:nvPr/>
        </p:nvGrpSpPr>
        <p:grpSpPr>
          <a:xfrm>
            <a:off x="442483" y="4659261"/>
            <a:ext cx="499166" cy="640202"/>
            <a:chOff x="10344945" y="2179929"/>
            <a:chExt cx="401613" cy="515089"/>
          </a:xfrm>
        </p:grpSpPr>
        <p:sp>
          <p:nvSpPr>
            <p:cNvPr id="290" name="Rectangle 289">
              <a:extLst>
                <a:ext uri="{FF2B5EF4-FFF2-40B4-BE49-F238E27FC236}">
                  <a16:creationId xmlns:a16="http://schemas.microsoft.com/office/drawing/2014/main" id="{2CC3CBC6-E5AC-4010-8B27-7736C10CB84C}"/>
                </a:ext>
              </a:extLst>
            </p:cNvPr>
            <p:cNvSpPr/>
            <p:nvPr/>
          </p:nvSpPr>
          <p:spPr bwMode="auto">
            <a:xfrm>
              <a:off x="10374086" y="2369861"/>
              <a:ext cx="332014" cy="201889"/>
            </a:xfrm>
            <a:prstGeom prst="rect">
              <a:avLst/>
            </a:prstGeom>
            <a:solidFill>
              <a:srgbClr val="50E6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a:gradFill>
                  <a:gsLst>
                    <a:gs pos="40075">
                      <a:srgbClr val="FFFFFF"/>
                    </a:gs>
                    <a:gs pos="30000">
                      <a:srgbClr val="FFFFFF"/>
                    </a:gs>
                  </a:gsLst>
                  <a:lin ang="5400000" scaled="0"/>
                </a:gradFill>
              </a:endParaRPr>
            </a:p>
          </p:txBody>
        </p:sp>
        <p:sp>
          <p:nvSpPr>
            <p:cNvPr id="291" name="Freeform 188">
              <a:extLst>
                <a:ext uri="{FF2B5EF4-FFF2-40B4-BE49-F238E27FC236}">
                  <a16:creationId xmlns:a16="http://schemas.microsoft.com/office/drawing/2014/main" id="{4357F58D-74FA-49A1-A6EA-8B947BA8BE9E}"/>
                </a:ext>
              </a:extLst>
            </p:cNvPr>
            <p:cNvSpPr/>
            <p:nvPr/>
          </p:nvSpPr>
          <p:spPr bwMode="auto">
            <a:xfrm>
              <a:off x="10344945" y="2179929"/>
              <a:ext cx="401613" cy="515089"/>
            </a:xfrm>
            <a:custGeom>
              <a:avLst/>
              <a:gdLst>
                <a:gd name="connsiteX0" fmla="*/ 737517 w 1455401"/>
                <a:gd name="connsiteY0" fmla="*/ 911351 h 1866625"/>
                <a:gd name="connsiteX1" fmla="*/ 785815 w 1455401"/>
                <a:gd name="connsiteY1" fmla="*/ 937839 h 1866625"/>
                <a:gd name="connsiteX2" fmla="*/ 803471 w 1455401"/>
                <a:gd name="connsiteY2" fmla="*/ 1010286 h 1866625"/>
                <a:gd name="connsiteX3" fmla="*/ 784774 w 1455401"/>
                <a:gd name="connsiteY3" fmla="*/ 1079356 h 1866625"/>
                <a:gd name="connsiteX4" fmla="*/ 735697 w 1455401"/>
                <a:gd name="connsiteY4" fmla="*/ 1105062 h 1866625"/>
                <a:gd name="connsiteX5" fmla="*/ 685192 w 1455401"/>
                <a:gd name="connsiteY5" fmla="*/ 1079616 h 1866625"/>
                <a:gd name="connsiteX6" fmla="*/ 666627 w 1455401"/>
                <a:gd name="connsiteY6" fmla="*/ 1008726 h 1866625"/>
                <a:gd name="connsiteX7" fmla="*/ 685324 w 1455401"/>
                <a:gd name="connsiteY7" fmla="*/ 936797 h 1866625"/>
                <a:gd name="connsiteX8" fmla="*/ 737517 w 1455401"/>
                <a:gd name="connsiteY8" fmla="*/ 911351 h 1866625"/>
                <a:gd name="connsiteX9" fmla="*/ 974881 w 1455401"/>
                <a:gd name="connsiteY9" fmla="*/ 822027 h 1866625"/>
                <a:gd name="connsiteX10" fmla="*/ 974881 w 1455401"/>
                <a:gd name="connsiteY10" fmla="*/ 1194390 h 1866625"/>
                <a:gd name="connsiteX11" fmla="*/ 1215333 w 1455401"/>
                <a:gd name="connsiteY11" fmla="*/ 1194390 h 1866625"/>
                <a:gd name="connsiteX12" fmla="*/ 1215333 w 1455401"/>
                <a:gd name="connsiteY12" fmla="*/ 1106622 h 1866625"/>
                <a:gd name="connsiteX13" fmla="*/ 1087058 w 1455401"/>
                <a:gd name="connsiteY13" fmla="*/ 1106622 h 1866625"/>
                <a:gd name="connsiteX14" fmla="*/ 1087058 w 1455401"/>
                <a:gd name="connsiteY14" fmla="*/ 822027 h 1866625"/>
                <a:gd name="connsiteX15" fmla="*/ 738555 w 1455401"/>
                <a:gd name="connsiteY15" fmla="*/ 815793 h 1866625"/>
                <a:gd name="connsiteX16" fmla="*/ 639361 w 1455401"/>
                <a:gd name="connsiteY16" fmla="*/ 840592 h 1866625"/>
                <a:gd name="connsiteX17" fmla="*/ 571587 w 1455401"/>
                <a:gd name="connsiteY17" fmla="*/ 910832 h 1866625"/>
                <a:gd name="connsiteX18" fmla="*/ 547438 w 1455401"/>
                <a:gd name="connsiteY18" fmla="*/ 1013140 h 1866625"/>
                <a:gd name="connsiteX19" fmla="*/ 571328 w 1455401"/>
                <a:gd name="connsiteY19" fmla="*/ 1110386 h 1866625"/>
                <a:gd name="connsiteX20" fmla="*/ 638192 w 1455401"/>
                <a:gd name="connsiteY20" fmla="*/ 1177121 h 1866625"/>
                <a:gd name="connsiteX21" fmla="*/ 733622 w 1455401"/>
                <a:gd name="connsiteY21" fmla="*/ 1200880 h 1866625"/>
                <a:gd name="connsiteX22" fmla="*/ 776983 w 1455401"/>
                <a:gd name="connsiteY22" fmla="*/ 1196466 h 1866625"/>
                <a:gd name="connsiteX23" fmla="*/ 824244 w 1455401"/>
                <a:gd name="connsiteY23" fmla="*/ 1244504 h 1866625"/>
                <a:gd name="connsiteX24" fmla="*/ 964983 w 1455401"/>
                <a:gd name="connsiteY24" fmla="*/ 1244504 h 1866625"/>
                <a:gd name="connsiteX25" fmla="*/ 866571 w 1455401"/>
                <a:gd name="connsiteY25" fmla="*/ 1149465 h 1866625"/>
                <a:gd name="connsiteX26" fmla="*/ 922399 w 1455401"/>
                <a:gd name="connsiteY26" fmla="*/ 1007169 h 1866625"/>
                <a:gd name="connsiteX27" fmla="*/ 899420 w 1455401"/>
                <a:gd name="connsiteY27" fmla="*/ 907325 h 1866625"/>
                <a:gd name="connsiteX28" fmla="*/ 834241 w 1455401"/>
                <a:gd name="connsiteY28" fmla="*/ 839555 h 1866625"/>
                <a:gd name="connsiteX29" fmla="*/ 738555 w 1455401"/>
                <a:gd name="connsiteY29" fmla="*/ 815793 h 1866625"/>
                <a:gd name="connsiteX30" fmla="*/ 391194 w 1455401"/>
                <a:gd name="connsiteY30" fmla="*/ 815793 h 1866625"/>
                <a:gd name="connsiteX31" fmla="*/ 281097 w 1455401"/>
                <a:gd name="connsiteY31" fmla="*/ 848123 h 1866625"/>
                <a:gd name="connsiteX32" fmla="*/ 240067 w 1455401"/>
                <a:gd name="connsiteY32" fmla="*/ 934462 h 1866625"/>
                <a:gd name="connsiteX33" fmla="*/ 329914 w 1455401"/>
                <a:gd name="connsiteY33" fmla="*/ 1046120 h 1866625"/>
                <a:gd name="connsiteX34" fmla="*/ 367955 w 1455401"/>
                <a:gd name="connsiteY34" fmla="*/ 1062479 h 1866625"/>
                <a:gd name="connsiteX35" fmla="*/ 383276 w 1455401"/>
                <a:gd name="connsiteY35" fmla="*/ 1075330 h 1866625"/>
                <a:gd name="connsiteX36" fmla="*/ 388337 w 1455401"/>
                <a:gd name="connsiteY36" fmla="*/ 1091301 h 1866625"/>
                <a:gd name="connsiteX37" fmla="*/ 378212 w 1455401"/>
                <a:gd name="connsiteY37" fmla="*/ 1110645 h 1866625"/>
                <a:gd name="connsiteX38" fmla="*/ 349649 w 1455401"/>
                <a:gd name="connsiteY38" fmla="*/ 1117266 h 1866625"/>
                <a:gd name="connsiteX39" fmla="*/ 296937 w 1455401"/>
                <a:gd name="connsiteY39" fmla="*/ 1106750 h 1866625"/>
                <a:gd name="connsiteX40" fmla="*/ 245263 w 1455401"/>
                <a:gd name="connsiteY40" fmla="*/ 1079097 h 1866625"/>
                <a:gd name="connsiteX41" fmla="*/ 245263 w 1455401"/>
                <a:gd name="connsiteY41" fmla="*/ 1181145 h 1866625"/>
                <a:gd name="connsiteX42" fmla="*/ 352243 w 1455401"/>
                <a:gd name="connsiteY42" fmla="*/ 1200880 h 1866625"/>
                <a:gd name="connsiteX43" fmla="*/ 438454 w 1455401"/>
                <a:gd name="connsiteY43" fmla="*/ 1187378 h 1866625"/>
                <a:gd name="connsiteX44" fmla="*/ 494152 w 1455401"/>
                <a:gd name="connsiteY44" fmla="*/ 1146351 h 1866625"/>
                <a:gd name="connsiteX45" fmla="*/ 514018 w 1455401"/>
                <a:gd name="connsiteY45" fmla="*/ 1081695 h 1866625"/>
                <a:gd name="connsiteX46" fmla="*/ 489997 w 1455401"/>
                <a:gd name="connsiteY46" fmla="*/ 1015737 h 1866625"/>
                <a:gd name="connsiteX47" fmla="*/ 408072 w 1455401"/>
                <a:gd name="connsiteY47" fmla="*/ 964582 h 1866625"/>
                <a:gd name="connsiteX48" fmla="*/ 369512 w 1455401"/>
                <a:gd name="connsiteY48" fmla="*/ 944719 h 1866625"/>
                <a:gd name="connsiteX49" fmla="*/ 360293 w 1455401"/>
                <a:gd name="connsiteY49" fmla="*/ 925372 h 1866625"/>
                <a:gd name="connsiteX50" fmla="*/ 371719 w 1455401"/>
                <a:gd name="connsiteY50" fmla="*/ 906159 h 1866625"/>
                <a:gd name="connsiteX51" fmla="*/ 401842 w 1455401"/>
                <a:gd name="connsiteY51" fmla="*/ 899147 h 1866625"/>
                <a:gd name="connsiteX52" fmla="*/ 494283 w 1455401"/>
                <a:gd name="connsiteY52" fmla="*/ 924853 h 1866625"/>
                <a:gd name="connsiteX53" fmla="*/ 494283 w 1455401"/>
                <a:gd name="connsiteY53" fmla="*/ 830076 h 1866625"/>
                <a:gd name="connsiteX54" fmla="*/ 456761 w 1455401"/>
                <a:gd name="connsiteY54" fmla="*/ 821245 h 1866625"/>
                <a:gd name="connsiteX55" fmla="*/ 427029 w 1455401"/>
                <a:gd name="connsiteY55" fmla="*/ 817350 h 1866625"/>
                <a:gd name="connsiteX56" fmla="*/ 391194 w 1455401"/>
                <a:gd name="connsiteY56" fmla="*/ 815793 h 1866625"/>
                <a:gd name="connsiteX57" fmla="*/ 1 w 1455401"/>
                <a:gd name="connsiteY57" fmla="*/ 235984 h 1866625"/>
                <a:gd name="connsiteX58" fmla="*/ 1 w 1455401"/>
                <a:gd name="connsiteY58" fmla="*/ 257081 h 1866625"/>
                <a:gd name="connsiteX59" fmla="*/ 1 w 1455401"/>
                <a:gd name="connsiteY59" fmla="*/ 296835 h 1866625"/>
                <a:gd name="connsiteX60" fmla="*/ 0 w 1455401"/>
                <a:gd name="connsiteY60" fmla="*/ 296838 h 1866625"/>
                <a:gd name="connsiteX61" fmla="*/ 1 w 1455401"/>
                <a:gd name="connsiteY61" fmla="*/ 235984 h 1866625"/>
                <a:gd name="connsiteX62" fmla="*/ 727701 w 1455401"/>
                <a:gd name="connsiteY62" fmla="*/ 107085 h 1866625"/>
                <a:gd name="connsiteX63" fmla="*/ 225411 w 1455401"/>
                <a:gd name="connsiteY63" fmla="*/ 254506 h 1866625"/>
                <a:gd name="connsiteX64" fmla="*/ 727701 w 1455401"/>
                <a:gd name="connsiteY64" fmla="*/ 401926 h 1866625"/>
                <a:gd name="connsiteX65" fmla="*/ 1229991 w 1455401"/>
                <a:gd name="connsiteY65" fmla="*/ 254506 h 1866625"/>
                <a:gd name="connsiteX66" fmla="*/ 727701 w 1455401"/>
                <a:gd name="connsiteY66" fmla="*/ 107085 h 1866625"/>
                <a:gd name="connsiteX67" fmla="*/ 727700 w 1455401"/>
                <a:gd name="connsiteY67" fmla="*/ 0 h 1866625"/>
                <a:gd name="connsiteX68" fmla="*/ 1451644 w 1455401"/>
                <a:gd name="connsiteY68" fmla="*/ 266488 h 1866625"/>
                <a:gd name="connsiteX69" fmla="*/ 1454289 w 1455401"/>
                <a:gd name="connsiteY69" fmla="*/ 287858 h 1866625"/>
                <a:gd name="connsiteX70" fmla="*/ 1455400 w 1455401"/>
                <a:gd name="connsiteY70" fmla="*/ 287858 h 1866625"/>
                <a:gd name="connsiteX71" fmla="*/ 1455400 w 1455401"/>
                <a:gd name="connsiteY71" fmla="*/ 296838 h 1866625"/>
                <a:gd name="connsiteX72" fmla="*/ 1455401 w 1455401"/>
                <a:gd name="connsiteY72" fmla="*/ 1569784 h 1866625"/>
                <a:gd name="connsiteX73" fmla="*/ 1455401 w 1455401"/>
                <a:gd name="connsiteY73" fmla="*/ 1569787 h 1866625"/>
                <a:gd name="connsiteX74" fmla="*/ 1455401 w 1455401"/>
                <a:gd name="connsiteY74" fmla="*/ 1569790 h 1866625"/>
                <a:gd name="connsiteX75" fmla="*/ 1455401 w 1455401"/>
                <a:gd name="connsiteY75" fmla="*/ 1578767 h 1866625"/>
                <a:gd name="connsiteX76" fmla="*/ 1454289 w 1455401"/>
                <a:gd name="connsiteY76" fmla="*/ 1578767 h 1866625"/>
                <a:gd name="connsiteX77" fmla="*/ 1451644 w 1455401"/>
                <a:gd name="connsiteY77" fmla="*/ 1600137 h 1866625"/>
                <a:gd name="connsiteX78" fmla="*/ 727701 w 1455401"/>
                <a:gd name="connsiteY78" fmla="*/ 1866625 h 1866625"/>
                <a:gd name="connsiteX79" fmla="*/ 3758 w 1455401"/>
                <a:gd name="connsiteY79" fmla="*/ 1600137 h 1866625"/>
                <a:gd name="connsiteX80" fmla="*/ 1113 w 1455401"/>
                <a:gd name="connsiteY80" fmla="*/ 1578767 h 1866625"/>
                <a:gd name="connsiteX81" fmla="*/ 1 w 1455401"/>
                <a:gd name="connsiteY81" fmla="*/ 1578767 h 1866625"/>
                <a:gd name="connsiteX82" fmla="*/ 1 w 1455401"/>
                <a:gd name="connsiteY82" fmla="*/ 1569787 h 1866625"/>
                <a:gd name="connsiteX83" fmla="*/ 1 w 1455401"/>
                <a:gd name="connsiteY83" fmla="*/ 296841 h 1866625"/>
                <a:gd name="connsiteX84" fmla="*/ 1 w 1455401"/>
                <a:gd name="connsiteY84" fmla="*/ 296835 h 1866625"/>
                <a:gd name="connsiteX85" fmla="*/ 1 w 1455401"/>
                <a:gd name="connsiteY85" fmla="*/ 296835 h 1866625"/>
                <a:gd name="connsiteX86" fmla="*/ 3758 w 1455401"/>
                <a:gd name="connsiteY86" fmla="*/ 266488 h 1866625"/>
                <a:gd name="connsiteX87" fmla="*/ 727700 w 1455401"/>
                <a:gd name="connsiteY87"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55401" h="1866625">
                  <a:moveTo>
                    <a:pt x="737517" y="911351"/>
                  </a:moveTo>
                  <a:cubicBezTo>
                    <a:pt x="757941" y="911351"/>
                    <a:pt x="774041" y="920179"/>
                    <a:pt x="785815" y="937839"/>
                  </a:cubicBezTo>
                  <a:cubicBezTo>
                    <a:pt x="797585" y="955495"/>
                    <a:pt x="803471" y="979644"/>
                    <a:pt x="803471" y="1010286"/>
                  </a:cubicBezTo>
                  <a:cubicBezTo>
                    <a:pt x="803471" y="1039193"/>
                    <a:pt x="797241" y="1062219"/>
                    <a:pt x="784774" y="1079356"/>
                  </a:cubicBezTo>
                  <a:cubicBezTo>
                    <a:pt x="772310" y="1096493"/>
                    <a:pt x="755951" y="1105062"/>
                    <a:pt x="735697" y="1105062"/>
                  </a:cubicBezTo>
                  <a:cubicBezTo>
                    <a:pt x="714406" y="1105062"/>
                    <a:pt x="697571" y="1096582"/>
                    <a:pt x="685192" y="1079616"/>
                  </a:cubicBezTo>
                  <a:cubicBezTo>
                    <a:pt x="672814" y="1062649"/>
                    <a:pt x="666627" y="1039023"/>
                    <a:pt x="666627" y="1008726"/>
                  </a:cubicBezTo>
                  <a:cubicBezTo>
                    <a:pt x="666627" y="977739"/>
                    <a:pt x="672857" y="953764"/>
                    <a:pt x="685324" y="936797"/>
                  </a:cubicBezTo>
                  <a:cubicBezTo>
                    <a:pt x="697787" y="919834"/>
                    <a:pt x="715184" y="911351"/>
                    <a:pt x="737517" y="911351"/>
                  </a:cubicBezTo>
                  <a:close/>
                  <a:moveTo>
                    <a:pt x="974881" y="822027"/>
                  </a:moveTo>
                  <a:lnTo>
                    <a:pt x="974881" y="1194390"/>
                  </a:lnTo>
                  <a:lnTo>
                    <a:pt x="1215333" y="1194390"/>
                  </a:lnTo>
                  <a:lnTo>
                    <a:pt x="1215333" y="1106622"/>
                  </a:lnTo>
                  <a:lnTo>
                    <a:pt x="1087058" y="1106622"/>
                  </a:lnTo>
                  <a:lnTo>
                    <a:pt x="1087058" y="822027"/>
                  </a:lnTo>
                  <a:close/>
                  <a:moveTo>
                    <a:pt x="738555" y="815793"/>
                  </a:moveTo>
                  <a:cubicBezTo>
                    <a:pt x="701508" y="815793"/>
                    <a:pt x="668443" y="824059"/>
                    <a:pt x="639361" y="840592"/>
                  </a:cubicBezTo>
                  <a:cubicBezTo>
                    <a:pt x="610279" y="857125"/>
                    <a:pt x="587687" y="880538"/>
                    <a:pt x="571587" y="910832"/>
                  </a:cubicBezTo>
                  <a:cubicBezTo>
                    <a:pt x="555488" y="941126"/>
                    <a:pt x="547438" y="975230"/>
                    <a:pt x="547438" y="1013140"/>
                  </a:cubicBezTo>
                  <a:cubicBezTo>
                    <a:pt x="547438" y="1049322"/>
                    <a:pt x="555403" y="1081737"/>
                    <a:pt x="571328" y="1110386"/>
                  </a:cubicBezTo>
                  <a:cubicBezTo>
                    <a:pt x="587253" y="1139037"/>
                    <a:pt x="609543" y="1161282"/>
                    <a:pt x="638192" y="1177121"/>
                  </a:cubicBezTo>
                  <a:cubicBezTo>
                    <a:pt x="666843" y="1192961"/>
                    <a:pt x="698651" y="1200880"/>
                    <a:pt x="733622" y="1200880"/>
                  </a:cubicBezTo>
                  <a:cubicBezTo>
                    <a:pt x="748680" y="1200880"/>
                    <a:pt x="763137" y="1199408"/>
                    <a:pt x="776983" y="1196466"/>
                  </a:cubicBezTo>
                  <a:lnTo>
                    <a:pt x="824244" y="1244504"/>
                  </a:lnTo>
                  <a:lnTo>
                    <a:pt x="964983" y="1244504"/>
                  </a:lnTo>
                  <a:lnTo>
                    <a:pt x="866571" y="1149465"/>
                  </a:lnTo>
                  <a:cubicBezTo>
                    <a:pt x="903791" y="1112248"/>
                    <a:pt x="922399" y="1064814"/>
                    <a:pt x="922399" y="1007169"/>
                  </a:cubicBezTo>
                  <a:cubicBezTo>
                    <a:pt x="922399" y="969949"/>
                    <a:pt x="914737" y="936669"/>
                    <a:pt x="899420" y="907325"/>
                  </a:cubicBezTo>
                  <a:cubicBezTo>
                    <a:pt x="884099" y="877983"/>
                    <a:pt x="862373" y="855391"/>
                    <a:pt x="834241" y="839555"/>
                  </a:cubicBezTo>
                  <a:cubicBezTo>
                    <a:pt x="806111" y="823715"/>
                    <a:pt x="774215" y="815793"/>
                    <a:pt x="738555" y="815793"/>
                  </a:cubicBezTo>
                  <a:close/>
                  <a:moveTo>
                    <a:pt x="391194" y="815793"/>
                  </a:moveTo>
                  <a:cubicBezTo>
                    <a:pt x="345146" y="815793"/>
                    <a:pt x="308448" y="826569"/>
                    <a:pt x="281097" y="848123"/>
                  </a:cubicBezTo>
                  <a:cubicBezTo>
                    <a:pt x="253743" y="869674"/>
                    <a:pt x="240067" y="898454"/>
                    <a:pt x="240067" y="934462"/>
                  </a:cubicBezTo>
                  <a:cubicBezTo>
                    <a:pt x="240067" y="985877"/>
                    <a:pt x="270016" y="1023094"/>
                    <a:pt x="329914" y="1046120"/>
                  </a:cubicBezTo>
                  <a:cubicBezTo>
                    <a:pt x="348437" y="1053043"/>
                    <a:pt x="361117" y="1058495"/>
                    <a:pt x="367955" y="1062479"/>
                  </a:cubicBezTo>
                  <a:cubicBezTo>
                    <a:pt x="374793" y="1066459"/>
                    <a:pt x="379900" y="1070745"/>
                    <a:pt x="383276" y="1075330"/>
                  </a:cubicBezTo>
                  <a:cubicBezTo>
                    <a:pt x="386652" y="1079918"/>
                    <a:pt x="388337" y="1085242"/>
                    <a:pt x="388337" y="1091301"/>
                  </a:cubicBezTo>
                  <a:cubicBezTo>
                    <a:pt x="388337" y="1099784"/>
                    <a:pt x="384964" y="1106231"/>
                    <a:pt x="378212" y="1110645"/>
                  </a:cubicBezTo>
                  <a:cubicBezTo>
                    <a:pt x="371459" y="1115059"/>
                    <a:pt x="361938" y="1117266"/>
                    <a:pt x="349649" y="1117266"/>
                  </a:cubicBezTo>
                  <a:cubicBezTo>
                    <a:pt x="333375" y="1117266"/>
                    <a:pt x="315805" y="1113762"/>
                    <a:pt x="296937" y="1106750"/>
                  </a:cubicBezTo>
                  <a:cubicBezTo>
                    <a:pt x="278066" y="1099742"/>
                    <a:pt x="260843" y="1090523"/>
                    <a:pt x="245263" y="1079097"/>
                  </a:cubicBezTo>
                  <a:lnTo>
                    <a:pt x="245263" y="1181145"/>
                  </a:lnTo>
                  <a:cubicBezTo>
                    <a:pt x="277632" y="1194301"/>
                    <a:pt x="313296" y="1200880"/>
                    <a:pt x="352243" y="1200880"/>
                  </a:cubicBezTo>
                  <a:cubicBezTo>
                    <a:pt x="385828" y="1200880"/>
                    <a:pt x="414565" y="1196380"/>
                    <a:pt x="438454" y="1187378"/>
                  </a:cubicBezTo>
                  <a:cubicBezTo>
                    <a:pt x="462344" y="1178376"/>
                    <a:pt x="480910" y="1164700"/>
                    <a:pt x="494152" y="1146351"/>
                  </a:cubicBezTo>
                  <a:cubicBezTo>
                    <a:pt x="507397" y="1127999"/>
                    <a:pt x="514018" y="1106448"/>
                    <a:pt x="514018" y="1081695"/>
                  </a:cubicBezTo>
                  <a:cubicBezTo>
                    <a:pt x="514018" y="1056245"/>
                    <a:pt x="506011" y="1034260"/>
                    <a:pt x="489997" y="1015737"/>
                  </a:cubicBezTo>
                  <a:cubicBezTo>
                    <a:pt x="473987" y="997214"/>
                    <a:pt x="446678" y="980163"/>
                    <a:pt x="408072" y="964582"/>
                  </a:cubicBezTo>
                  <a:cubicBezTo>
                    <a:pt x="388511" y="956447"/>
                    <a:pt x="375657" y="949826"/>
                    <a:pt x="369512" y="944719"/>
                  </a:cubicBezTo>
                  <a:cubicBezTo>
                    <a:pt x="363367" y="939612"/>
                    <a:pt x="360293" y="933162"/>
                    <a:pt x="360293" y="925372"/>
                  </a:cubicBezTo>
                  <a:cubicBezTo>
                    <a:pt x="360293" y="917237"/>
                    <a:pt x="364103" y="910832"/>
                    <a:pt x="371719" y="906159"/>
                  </a:cubicBezTo>
                  <a:cubicBezTo>
                    <a:pt x="379338" y="901482"/>
                    <a:pt x="389378" y="899147"/>
                    <a:pt x="401842" y="899147"/>
                  </a:cubicBezTo>
                  <a:cubicBezTo>
                    <a:pt x="432136" y="899147"/>
                    <a:pt x="462948" y="907716"/>
                    <a:pt x="494283" y="924853"/>
                  </a:cubicBezTo>
                  <a:lnTo>
                    <a:pt x="494283" y="830076"/>
                  </a:lnTo>
                  <a:cubicBezTo>
                    <a:pt x="478184" y="825748"/>
                    <a:pt x="465677" y="822805"/>
                    <a:pt x="456761" y="821245"/>
                  </a:cubicBezTo>
                  <a:cubicBezTo>
                    <a:pt x="447847" y="819688"/>
                    <a:pt x="437936" y="818391"/>
                    <a:pt x="427029" y="817350"/>
                  </a:cubicBezTo>
                  <a:cubicBezTo>
                    <a:pt x="416122" y="816312"/>
                    <a:pt x="404177" y="815793"/>
                    <a:pt x="391194" y="815793"/>
                  </a:cubicBezTo>
                  <a:close/>
                  <a:moveTo>
                    <a:pt x="1" y="235984"/>
                  </a:moveTo>
                  <a:cubicBezTo>
                    <a:pt x="1" y="233280"/>
                    <a:pt x="1" y="238148"/>
                    <a:pt x="1" y="257081"/>
                  </a:cubicBezTo>
                  <a:lnTo>
                    <a:pt x="1" y="296835"/>
                  </a:lnTo>
                  <a:lnTo>
                    <a:pt x="0" y="296838"/>
                  </a:lnTo>
                  <a:cubicBezTo>
                    <a:pt x="0" y="296839"/>
                    <a:pt x="0" y="242745"/>
                    <a:pt x="1" y="235984"/>
                  </a:cubicBezTo>
                  <a:close/>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lnTo>
                    <a:pt x="1" y="296835"/>
                  </a:lnTo>
                  <a:lnTo>
                    <a:pt x="1" y="296835"/>
                  </a:lnTo>
                  <a:lnTo>
                    <a:pt x="3758" y="266488"/>
                  </a:lnTo>
                  <a:cubicBezTo>
                    <a:pt x="41023" y="116806"/>
                    <a:pt x="350921" y="0"/>
                    <a:pt x="727700" y="0"/>
                  </a:cubicBezTo>
                  <a:close/>
                </a:path>
              </a:pathLst>
            </a:cu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274" dirty="0">
                <a:solidFill>
                  <a:srgbClr val="FFFFFF">
                    <a:lumMod val="85000"/>
                  </a:srgbClr>
                </a:solidFill>
                <a:latin typeface="Segoe UI Black" panose="020B0A02040204020203" pitchFamily="34" charset="0"/>
                <a:ea typeface="Segoe UI Black" panose="020B0A02040204020203" pitchFamily="34" charset="0"/>
                <a:cs typeface="Segoe UI Black" panose="020B0A02040204020203" pitchFamily="34" charset="0"/>
              </a:endParaRPr>
            </a:p>
          </p:txBody>
        </p:sp>
      </p:grpSp>
      <p:cxnSp>
        <p:nvCxnSpPr>
          <p:cNvPr id="292" name="Connector: Elbow 291">
            <a:extLst>
              <a:ext uri="{FF2B5EF4-FFF2-40B4-BE49-F238E27FC236}">
                <a16:creationId xmlns:a16="http://schemas.microsoft.com/office/drawing/2014/main" id="{9F5D0633-94CD-425D-85F0-F75677281ABA}"/>
              </a:ext>
            </a:extLst>
          </p:cNvPr>
          <p:cNvCxnSpPr>
            <a:cxnSpLocks/>
          </p:cNvCxnSpPr>
          <p:nvPr/>
        </p:nvCxnSpPr>
        <p:spPr>
          <a:xfrm rot="10800000" flipV="1">
            <a:off x="2268612" y="5585537"/>
            <a:ext cx="658403" cy="639209"/>
          </a:xfrm>
          <a:prstGeom prst="bentConnector3">
            <a:avLst>
              <a:gd name="adj1" fmla="val 50000"/>
            </a:avLst>
          </a:prstGeom>
          <a:ln w="12700">
            <a:solidFill>
              <a:srgbClr val="0078D7"/>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293" name="Rectangle 292">
            <a:extLst>
              <a:ext uri="{FF2B5EF4-FFF2-40B4-BE49-F238E27FC236}">
                <a16:creationId xmlns:a16="http://schemas.microsoft.com/office/drawing/2014/main" id="{9E7D10D8-BDE6-4ACF-8681-566C26D4171E}"/>
              </a:ext>
            </a:extLst>
          </p:cNvPr>
          <p:cNvSpPr/>
          <p:nvPr/>
        </p:nvSpPr>
        <p:spPr>
          <a:xfrm>
            <a:off x="9069956" y="1725796"/>
            <a:ext cx="1125629" cy="246221"/>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Secure Enclaves</a:t>
            </a:r>
          </a:p>
        </p:txBody>
      </p:sp>
      <p:sp>
        <p:nvSpPr>
          <p:cNvPr id="294" name="Rectangle 293">
            <a:extLst>
              <a:ext uri="{FF2B5EF4-FFF2-40B4-BE49-F238E27FC236}">
                <a16:creationId xmlns:a16="http://schemas.microsoft.com/office/drawing/2014/main" id="{E35D61BA-4886-49AF-A2B3-3A7E737A278D}"/>
              </a:ext>
            </a:extLst>
          </p:cNvPr>
          <p:cNvSpPr/>
          <p:nvPr/>
        </p:nvSpPr>
        <p:spPr>
          <a:xfrm>
            <a:off x="9263374" y="4220531"/>
            <a:ext cx="1279517" cy="246221"/>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Azure Data Studio</a:t>
            </a:r>
          </a:p>
        </p:txBody>
      </p:sp>
      <p:pic>
        <p:nvPicPr>
          <p:cNvPr id="113" name="Picture 8">
            <a:extLst>
              <a:ext uri="{FF2B5EF4-FFF2-40B4-BE49-F238E27FC236}">
                <a16:creationId xmlns:a16="http://schemas.microsoft.com/office/drawing/2014/main" id="{E1878681-BFE1-45F7-B90B-DA8AFA7A59F2}"/>
              </a:ext>
            </a:extLst>
          </p:cNvPr>
          <p:cNvPicPr>
            <a:picLocks noChangeAspect="1" noChangeArrowheads="1"/>
          </p:cNvPicPr>
          <p:nvPr/>
        </p:nvPicPr>
        <p:blipFill>
          <a:blip r:embed="rId13">
            <a:extLst>
              <a:ext uri="{28A0092B-C50C-407E-A947-70E740481C1C}">
                <a14:useLocalDpi xmlns:a14="http://schemas.microsoft.com/office/drawing/2010/main" val="0"/>
              </a:ext>
            </a:extLst>
          </a:blip>
          <a:stretch>
            <a:fillRect/>
          </a:stretch>
        </p:blipFill>
        <p:spPr bwMode="auto">
          <a:xfrm>
            <a:off x="1775114" y="2029043"/>
            <a:ext cx="930390" cy="271674"/>
          </a:xfrm>
          <a:prstGeom prst="rect">
            <a:avLst/>
          </a:prstGeom>
          <a:noFill/>
          <a:extLst>
            <a:ext uri="{909E8E84-426E-40DD-AFC4-6F175D3DCCD1}">
              <a14:hiddenFill xmlns:a14="http://schemas.microsoft.com/office/drawing/2010/main">
                <a:solidFill>
                  <a:srgbClr val="FFFFFF"/>
                </a:solidFill>
              </a14:hiddenFill>
            </a:ext>
          </a:extLst>
        </p:spPr>
      </p:pic>
      <p:sp>
        <p:nvSpPr>
          <p:cNvPr id="114" name="TextBox 113">
            <a:extLst>
              <a:ext uri="{FF2B5EF4-FFF2-40B4-BE49-F238E27FC236}">
                <a16:creationId xmlns:a16="http://schemas.microsoft.com/office/drawing/2014/main" id="{DE879DA3-2269-4035-A95E-BB40F4CFA2A4}"/>
              </a:ext>
            </a:extLst>
          </p:cNvPr>
          <p:cNvSpPr txBox="1"/>
          <p:nvPr/>
        </p:nvSpPr>
        <p:spPr>
          <a:xfrm>
            <a:off x="1626966" y="3187345"/>
            <a:ext cx="864339" cy="237757"/>
          </a:xfrm>
          <a:prstGeom prst="rect">
            <a:avLst/>
          </a:prstGeom>
          <a:noFill/>
        </p:spPr>
        <p:txBody>
          <a:bodyPr wrap="none" lIns="91440" tIns="45720" rIns="91440" bIns="45720" rtlCol="0" anchor="ctr">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osmos DB</a:t>
            </a:r>
          </a:p>
        </p:txBody>
      </p:sp>
      <p:sp>
        <p:nvSpPr>
          <p:cNvPr id="115" name="Freeform: Shape 114">
            <a:extLst>
              <a:ext uri="{FF2B5EF4-FFF2-40B4-BE49-F238E27FC236}">
                <a16:creationId xmlns:a16="http://schemas.microsoft.com/office/drawing/2014/main" id="{C10062FB-7F44-425B-83C3-E393CA5DB532}"/>
              </a:ext>
            </a:extLst>
          </p:cNvPr>
          <p:cNvSpPr/>
          <p:nvPr/>
        </p:nvSpPr>
        <p:spPr bwMode="auto">
          <a:xfrm>
            <a:off x="1816572" y="2734687"/>
            <a:ext cx="488806" cy="452658"/>
          </a:xfrm>
          <a:custGeom>
            <a:avLst/>
            <a:gdLst>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26248 w 4761797"/>
              <a:gd name="connsiteY50" fmla="*/ 2394628 h 4409679"/>
              <a:gd name="connsiteX51" fmla="*/ 839562 w 4761797"/>
              <a:gd name="connsiteY51" fmla="*/ 2394628 h 4409679"/>
              <a:gd name="connsiteX52" fmla="*/ 838613 w 4761797"/>
              <a:gd name="connsiteY52" fmla="*/ 2376216 h 4409679"/>
              <a:gd name="connsiteX53" fmla="*/ 896327 w 4761797"/>
              <a:gd name="connsiteY53" fmla="*/ 1985696 h 4409679"/>
              <a:gd name="connsiteX54" fmla="*/ 1344072 w 4761797"/>
              <a:gd name="connsiteY54" fmla="*/ 1199974 h 4409679"/>
              <a:gd name="connsiteX55" fmla="*/ 2491383 w 4761797"/>
              <a:gd name="connsiteY55" fmla="*/ 779042 h 4409679"/>
              <a:gd name="connsiteX56" fmla="*/ 3075538 w 4761797"/>
              <a:gd name="connsiteY56" fmla="*/ 926370 h 4409679"/>
              <a:gd name="connsiteX57" fmla="*/ 3095617 w 4761797"/>
              <a:gd name="connsiteY57" fmla="*/ 937273 h 4409679"/>
              <a:gd name="connsiteX58" fmla="*/ 3095221 w 4761797"/>
              <a:gd name="connsiteY58" fmla="*/ 937420 h 4409679"/>
              <a:gd name="connsiteX59" fmla="*/ 3098039 w 4761797"/>
              <a:gd name="connsiteY59" fmla="*/ 938588 h 4409679"/>
              <a:gd name="connsiteX60" fmla="*/ 3148954 w 4761797"/>
              <a:gd name="connsiteY60" fmla="*/ 966233 h 4409679"/>
              <a:gd name="connsiteX61" fmla="*/ 3164715 w 4761797"/>
              <a:gd name="connsiteY61" fmla="*/ 966233 h 4409679"/>
              <a:gd name="connsiteX62" fmla="*/ 3098039 w 4761797"/>
              <a:gd name="connsiteY62" fmla="*/ 938588 h 4409679"/>
              <a:gd name="connsiteX63" fmla="*/ 3095617 w 4761797"/>
              <a:gd name="connsiteY63" fmla="*/ 937273 h 4409679"/>
              <a:gd name="connsiteX64" fmla="*/ 3229162 w 4761797"/>
              <a:gd name="connsiteY64" fmla="*/ 887670 h 4409679"/>
              <a:gd name="connsiteX65" fmla="*/ 3617024 w 4761797"/>
              <a:gd name="connsiteY65" fmla="*/ 787593 h 4409679"/>
              <a:gd name="connsiteX66" fmla="*/ 4165395 w 4761797"/>
              <a:gd name="connsiteY66" fmla="*/ 700025 h 4409679"/>
              <a:gd name="connsiteX67" fmla="*/ 637239 w 4761797"/>
              <a:gd name="connsiteY67" fmla="*/ 0 h 4409679"/>
              <a:gd name="connsiteX68" fmla="*/ 712216 w 4761797"/>
              <a:gd name="connsiteY68" fmla="*/ 74965 h 4409679"/>
              <a:gd name="connsiteX69" fmla="*/ 1237002 w 4761797"/>
              <a:gd name="connsiteY69" fmla="*/ 599752 h 4409679"/>
              <a:gd name="connsiteX70" fmla="*/ 1311967 w 4761797"/>
              <a:gd name="connsiteY70" fmla="*/ 674728 h 4409679"/>
              <a:gd name="connsiteX71" fmla="*/ 1237002 w 4761797"/>
              <a:gd name="connsiteY71" fmla="*/ 712216 h 4409679"/>
              <a:gd name="connsiteX72" fmla="*/ 712216 w 4761797"/>
              <a:gd name="connsiteY72" fmla="*/ 1274479 h 4409679"/>
              <a:gd name="connsiteX73" fmla="*/ 637239 w 4761797"/>
              <a:gd name="connsiteY73" fmla="*/ 1311967 h 4409679"/>
              <a:gd name="connsiteX74" fmla="*/ 599751 w 4761797"/>
              <a:gd name="connsiteY74" fmla="*/ 1274479 h 4409679"/>
              <a:gd name="connsiteX75" fmla="*/ 37488 w 4761797"/>
              <a:gd name="connsiteY75" fmla="*/ 712216 h 4409679"/>
              <a:gd name="connsiteX76" fmla="*/ 0 w 4761797"/>
              <a:gd name="connsiteY76" fmla="*/ 674728 h 4409679"/>
              <a:gd name="connsiteX77" fmla="*/ 37488 w 4761797"/>
              <a:gd name="connsiteY77" fmla="*/ 599752 h 4409679"/>
              <a:gd name="connsiteX78" fmla="*/ 599751 w 4761797"/>
              <a:gd name="connsiteY78" fmla="*/ 74965 h 4409679"/>
              <a:gd name="connsiteX79" fmla="*/ 637239 w 4761797"/>
              <a:gd name="connsiteY79"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26248 w 4761797"/>
              <a:gd name="connsiteY50" fmla="*/ 2394628 h 4409679"/>
              <a:gd name="connsiteX51" fmla="*/ 838613 w 4761797"/>
              <a:gd name="connsiteY51" fmla="*/ 2376216 h 4409679"/>
              <a:gd name="connsiteX52" fmla="*/ 896327 w 4761797"/>
              <a:gd name="connsiteY52" fmla="*/ 1985696 h 4409679"/>
              <a:gd name="connsiteX53" fmla="*/ 1344072 w 4761797"/>
              <a:gd name="connsiteY53" fmla="*/ 1199974 h 4409679"/>
              <a:gd name="connsiteX54" fmla="*/ 2491383 w 4761797"/>
              <a:gd name="connsiteY54" fmla="*/ 779042 h 4409679"/>
              <a:gd name="connsiteX55" fmla="*/ 3075538 w 4761797"/>
              <a:gd name="connsiteY55" fmla="*/ 926370 h 4409679"/>
              <a:gd name="connsiteX56" fmla="*/ 3095617 w 4761797"/>
              <a:gd name="connsiteY56" fmla="*/ 937273 h 4409679"/>
              <a:gd name="connsiteX57" fmla="*/ 3095221 w 4761797"/>
              <a:gd name="connsiteY57" fmla="*/ 937420 h 4409679"/>
              <a:gd name="connsiteX58" fmla="*/ 3098039 w 4761797"/>
              <a:gd name="connsiteY58" fmla="*/ 938588 h 4409679"/>
              <a:gd name="connsiteX59" fmla="*/ 3148954 w 4761797"/>
              <a:gd name="connsiteY59" fmla="*/ 966233 h 4409679"/>
              <a:gd name="connsiteX60" fmla="*/ 3164715 w 4761797"/>
              <a:gd name="connsiteY60" fmla="*/ 966233 h 4409679"/>
              <a:gd name="connsiteX61" fmla="*/ 3098039 w 4761797"/>
              <a:gd name="connsiteY61" fmla="*/ 938588 h 4409679"/>
              <a:gd name="connsiteX62" fmla="*/ 3095617 w 4761797"/>
              <a:gd name="connsiteY62" fmla="*/ 937273 h 4409679"/>
              <a:gd name="connsiteX63" fmla="*/ 3229162 w 4761797"/>
              <a:gd name="connsiteY63" fmla="*/ 887670 h 4409679"/>
              <a:gd name="connsiteX64" fmla="*/ 3617024 w 4761797"/>
              <a:gd name="connsiteY64" fmla="*/ 787593 h 4409679"/>
              <a:gd name="connsiteX65" fmla="*/ 4165395 w 4761797"/>
              <a:gd name="connsiteY65" fmla="*/ 700025 h 4409679"/>
              <a:gd name="connsiteX66" fmla="*/ 637239 w 4761797"/>
              <a:gd name="connsiteY66" fmla="*/ 0 h 4409679"/>
              <a:gd name="connsiteX67" fmla="*/ 712216 w 4761797"/>
              <a:gd name="connsiteY67" fmla="*/ 74965 h 4409679"/>
              <a:gd name="connsiteX68" fmla="*/ 1237002 w 4761797"/>
              <a:gd name="connsiteY68" fmla="*/ 599752 h 4409679"/>
              <a:gd name="connsiteX69" fmla="*/ 1311967 w 4761797"/>
              <a:gd name="connsiteY69" fmla="*/ 674728 h 4409679"/>
              <a:gd name="connsiteX70" fmla="*/ 1237002 w 4761797"/>
              <a:gd name="connsiteY70" fmla="*/ 712216 h 4409679"/>
              <a:gd name="connsiteX71" fmla="*/ 712216 w 4761797"/>
              <a:gd name="connsiteY71" fmla="*/ 1274479 h 4409679"/>
              <a:gd name="connsiteX72" fmla="*/ 637239 w 4761797"/>
              <a:gd name="connsiteY72" fmla="*/ 1311967 h 4409679"/>
              <a:gd name="connsiteX73" fmla="*/ 599751 w 4761797"/>
              <a:gd name="connsiteY73" fmla="*/ 1274479 h 4409679"/>
              <a:gd name="connsiteX74" fmla="*/ 37488 w 4761797"/>
              <a:gd name="connsiteY74" fmla="*/ 712216 h 4409679"/>
              <a:gd name="connsiteX75" fmla="*/ 0 w 4761797"/>
              <a:gd name="connsiteY75" fmla="*/ 674728 h 4409679"/>
              <a:gd name="connsiteX76" fmla="*/ 37488 w 4761797"/>
              <a:gd name="connsiteY76" fmla="*/ 599752 h 4409679"/>
              <a:gd name="connsiteX77" fmla="*/ 599751 w 4761797"/>
              <a:gd name="connsiteY77" fmla="*/ 74965 h 4409679"/>
              <a:gd name="connsiteX78" fmla="*/ 637239 w 4761797"/>
              <a:gd name="connsiteY78"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38613 w 4761797"/>
              <a:gd name="connsiteY50" fmla="*/ 2376216 h 4409679"/>
              <a:gd name="connsiteX51" fmla="*/ 896327 w 4761797"/>
              <a:gd name="connsiteY51" fmla="*/ 1985696 h 4409679"/>
              <a:gd name="connsiteX52" fmla="*/ 1344072 w 4761797"/>
              <a:gd name="connsiteY52" fmla="*/ 1199974 h 4409679"/>
              <a:gd name="connsiteX53" fmla="*/ 2491383 w 4761797"/>
              <a:gd name="connsiteY53" fmla="*/ 779042 h 4409679"/>
              <a:gd name="connsiteX54" fmla="*/ 3075538 w 4761797"/>
              <a:gd name="connsiteY54" fmla="*/ 926370 h 4409679"/>
              <a:gd name="connsiteX55" fmla="*/ 3095617 w 4761797"/>
              <a:gd name="connsiteY55" fmla="*/ 937273 h 4409679"/>
              <a:gd name="connsiteX56" fmla="*/ 3095221 w 4761797"/>
              <a:gd name="connsiteY56" fmla="*/ 937420 h 4409679"/>
              <a:gd name="connsiteX57" fmla="*/ 3098039 w 4761797"/>
              <a:gd name="connsiteY57" fmla="*/ 938588 h 4409679"/>
              <a:gd name="connsiteX58" fmla="*/ 3148954 w 4761797"/>
              <a:gd name="connsiteY58" fmla="*/ 966233 h 4409679"/>
              <a:gd name="connsiteX59" fmla="*/ 3164715 w 4761797"/>
              <a:gd name="connsiteY59" fmla="*/ 966233 h 4409679"/>
              <a:gd name="connsiteX60" fmla="*/ 3098039 w 4761797"/>
              <a:gd name="connsiteY60" fmla="*/ 938588 h 4409679"/>
              <a:gd name="connsiteX61" fmla="*/ 3095617 w 4761797"/>
              <a:gd name="connsiteY61" fmla="*/ 937273 h 4409679"/>
              <a:gd name="connsiteX62" fmla="*/ 3229162 w 4761797"/>
              <a:gd name="connsiteY62" fmla="*/ 887670 h 4409679"/>
              <a:gd name="connsiteX63" fmla="*/ 3617024 w 4761797"/>
              <a:gd name="connsiteY63" fmla="*/ 787593 h 4409679"/>
              <a:gd name="connsiteX64" fmla="*/ 4165395 w 4761797"/>
              <a:gd name="connsiteY64" fmla="*/ 700025 h 4409679"/>
              <a:gd name="connsiteX65" fmla="*/ 637239 w 4761797"/>
              <a:gd name="connsiteY65" fmla="*/ 0 h 4409679"/>
              <a:gd name="connsiteX66" fmla="*/ 712216 w 4761797"/>
              <a:gd name="connsiteY66" fmla="*/ 74965 h 4409679"/>
              <a:gd name="connsiteX67" fmla="*/ 1237002 w 4761797"/>
              <a:gd name="connsiteY67" fmla="*/ 599752 h 4409679"/>
              <a:gd name="connsiteX68" fmla="*/ 1311967 w 4761797"/>
              <a:gd name="connsiteY68" fmla="*/ 674728 h 4409679"/>
              <a:gd name="connsiteX69" fmla="*/ 1237002 w 4761797"/>
              <a:gd name="connsiteY69" fmla="*/ 712216 h 4409679"/>
              <a:gd name="connsiteX70" fmla="*/ 712216 w 4761797"/>
              <a:gd name="connsiteY70" fmla="*/ 1274479 h 4409679"/>
              <a:gd name="connsiteX71" fmla="*/ 637239 w 4761797"/>
              <a:gd name="connsiteY71" fmla="*/ 1311967 h 4409679"/>
              <a:gd name="connsiteX72" fmla="*/ 599751 w 4761797"/>
              <a:gd name="connsiteY72" fmla="*/ 1274479 h 4409679"/>
              <a:gd name="connsiteX73" fmla="*/ 37488 w 4761797"/>
              <a:gd name="connsiteY73" fmla="*/ 712216 h 4409679"/>
              <a:gd name="connsiteX74" fmla="*/ 0 w 4761797"/>
              <a:gd name="connsiteY74" fmla="*/ 674728 h 4409679"/>
              <a:gd name="connsiteX75" fmla="*/ 37488 w 4761797"/>
              <a:gd name="connsiteY75" fmla="*/ 599752 h 4409679"/>
              <a:gd name="connsiteX76" fmla="*/ 599751 w 4761797"/>
              <a:gd name="connsiteY76" fmla="*/ 74965 h 4409679"/>
              <a:gd name="connsiteX77" fmla="*/ 637239 w 4761797"/>
              <a:gd name="connsiteY77"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96327 w 4761797"/>
              <a:gd name="connsiteY50" fmla="*/ 1985696 h 4409679"/>
              <a:gd name="connsiteX51" fmla="*/ 1344072 w 4761797"/>
              <a:gd name="connsiteY51" fmla="*/ 1199974 h 4409679"/>
              <a:gd name="connsiteX52" fmla="*/ 2491383 w 4761797"/>
              <a:gd name="connsiteY52" fmla="*/ 779042 h 4409679"/>
              <a:gd name="connsiteX53" fmla="*/ 3075538 w 4761797"/>
              <a:gd name="connsiteY53" fmla="*/ 926370 h 4409679"/>
              <a:gd name="connsiteX54" fmla="*/ 3095617 w 4761797"/>
              <a:gd name="connsiteY54" fmla="*/ 937273 h 4409679"/>
              <a:gd name="connsiteX55" fmla="*/ 3095221 w 4761797"/>
              <a:gd name="connsiteY55" fmla="*/ 937420 h 4409679"/>
              <a:gd name="connsiteX56" fmla="*/ 3098039 w 4761797"/>
              <a:gd name="connsiteY56" fmla="*/ 938588 h 4409679"/>
              <a:gd name="connsiteX57" fmla="*/ 3148954 w 4761797"/>
              <a:gd name="connsiteY57" fmla="*/ 966233 h 4409679"/>
              <a:gd name="connsiteX58" fmla="*/ 3164715 w 4761797"/>
              <a:gd name="connsiteY58" fmla="*/ 966233 h 4409679"/>
              <a:gd name="connsiteX59" fmla="*/ 3098039 w 4761797"/>
              <a:gd name="connsiteY59" fmla="*/ 938588 h 4409679"/>
              <a:gd name="connsiteX60" fmla="*/ 3095617 w 4761797"/>
              <a:gd name="connsiteY60" fmla="*/ 937273 h 4409679"/>
              <a:gd name="connsiteX61" fmla="*/ 3229162 w 4761797"/>
              <a:gd name="connsiteY61" fmla="*/ 887670 h 4409679"/>
              <a:gd name="connsiteX62" fmla="*/ 3617024 w 4761797"/>
              <a:gd name="connsiteY62" fmla="*/ 787593 h 4409679"/>
              <a:gd name="connsiteX63" fmla="*/ 4165395 w 4761797"/>
              <a:gd name="connsiteY63" fmla="*/ 700025 h 4409679"/>
              <a:gd name="connsiteX64" fmla="*/ 637239 w 4761797"/>
              <a:gd name="connsiteY64" fmla="*/ 0 h 4409679"/>
              <a:gd name="connsiteX65" fmla="*/ 712216 w 4761797"/>
              <a:gd name="connsiteY65" fmla="*/ 74965 h 4409679"/>
              <a:gd name="connsiteX66" fmla="*/ 1237002 w 4761797"/>
              <a:gd name="connsiteY66" fmla="*/ 599752 h 4409679"/>
              <a:gd name="connsiteX67" fmla="*/ 1311967 w 4761797"/>
              <a:gd name="connsiteY67" fmla="*/ 674728 h 4409679"/>
              <a:gd name="connsiteX68" fmla="*/ 1237002 w 4761797"/>
              <a:gd name="connsiteY68" fmla="*/ 712216 h 4409679"/>
              <a:gd name="connsiteX69" fmla="*/ 712216 w 4761797"/>
              <a:gd name="connsiteY69" fmla="*/ 1274479 h 4409679"/>
              <a:gd name="connsiteX70" fmla="*/ 637239 w 4761797"/>
              <a:gd name="connsiteY70" fmla="*/ 1311967 h 4409679"/>
              <a:gd name="connsiteX71" fmla="*/ 599751 w 4761797"/>
              <a:gd name="connsiteY71" fmla="*/ 1274479 h 4409679"/>
              <a:gd name="connsiteX72" fmla="*/ 37488 w 4761797"/>
              <a:gd name="connsiteY72" fmla="*/ 712216 h 4409679"/>
              <a:gd name="connsiteX73" fmla="*/ 0 w 4761797"/>
              <a:gd name="connsiteY73" fmla="*/ 674728 h 4409679"/>
              <a:gd name="connsiteX74" fmla="*/ 37488 w 4761797"/>
              <a:gd name="connsiteY74" fmla="*/ 599752 h 4409679"/>
              <a:gd name="connsiteX75" fmla="*/ 599751 w 4761797"/>
              <a:gd name="connsiteY75" fmla="*/ 74965 h 4409679"/>
              <a:gd name="connsiteX76" fmla="*/ 637239 w 4761797"/>
              <a:gd name="connsiteY7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148954 w 4761797"/>
              <a:gd name="connsiteY56" fmla="*/ 966233 h 4409679"/>
              <a:gd name="connsiteX57" fmla="*/ 3164715 w 4761797"/>
              <a:gd name="connsiteY57" fmla="*/ 966233 h 4409679"/>
              <a:gd name="connsiteX58" fmla="*/ 3098039 w 4761797"/>
              <a:gd name="connsiteY58" fmla="*/ 938588 h 4409679"/>
              <a:gd name="connsiteX59" fmla="*/ 3095617 w 4761797"/>
              <a:gd name="connsiteY59" fmla="*/ 937273 h 4409679"/>
              <a:gd name="connsiteX60" fmla="*/ 3229162 w 4761797"/>
              <a:gd name="connsiteY60" fmla="*/ 887670 h 4409679"/>
              <a:gd name="connsiteX61" fmla="*/ 3617024 w 4761797"/>
              <a:gd name="connsiteY61" fmla="*/ 787593 h 4409679"/>
              <a:gd name="connsiteX62" fmla="*/ 4165395 w 4761797"/>
              <a:gd name="connsiteY62" fmla="*/ 700025 h 4409679"/>
              <a:gd name="connsiteX63" fmla="*/ 637239 w 4761797"/>
              <a:gd name="connsiteY63" fmla="*/ 0 h 4409679"/>
              <a:gd name="connsiteX64" fmla="*/ 712216 w 4761797"/>
              <a:gd name="connsiteY64" fmla="*/ 74965 h 4409679"/>
              <a:gd name="connsiteX65" fmla="*/ 1237002 w 4761797"/>
              <a:gd name="connsiteY65" fmla="*/ 599752 h 4409679"/>
              <a:gd name="connsiteX66" fmla="*/ 1311967 w 4761797"/>
              <a:gd name="connsiteY66" fmla="*/ 674728 h 4409679"/>
              <a:gd name="connsiteX67" fmla="*/ 1237002 w 4761797"/>
              <a:gd name="connsiteY67" fmla="*/ 712216 h 4409679"/>
              <a:gd name="connsiteX68" fmla="*/ 712216 w 4761797"/>
              <a:gd name="connsiteY68" fmla="*/ 1274479 h 4409679"/>
              <a:gd name="connsiteX69" fmla="*/ 637239 w 4761797"/>
              <a:gd name="connsiteY69" fmla="*/ 1311967 h 4409679"/>
              <a:gd name="connsiteX70" fmla="*/ 599751 w 4761797"/>
              <a:gd name="connsiteY70" fmla="*/ 1274479 h 4409679"/>
              <a:gd name="connsiteX71" fmla="*/ 37488 w 4761797"/>
              <a:gd name="connsiteY71" fmla="*/ 712216 h 4409679"/>
              <a:gd name="connsiteX72" fmla="*/ 0 w 4761797"/>
              <a:gd name="connsiteY72" fmla="*/ 674728 h 4409679"/>
              <a:gd name="connsiteX73" fmla="*/ 37488 w 4761797"/>
              <a:gd name="connsiteY73" fmla="*/ 599752 h 4409679"/>
              <a:gd name="connsiteX74" fmla="*/ 599751 w 4761797"/>
              <a:gd name="connsiteY74" fmla="*/ 74965 h 4409679"/>
              <a:gd name="connsiteX75" fmla="*/ 637239 w 4761797"/>
              <a:gd name="connsiteY75"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148954 w 4761797"/>
              <a:gd name="connsiteY56" fmla="*/ 966233 h 4409679"/>
              <a:gd name="connsiteX57" fmla="*/ 3098039 w 4761797"/>
              <a:gd name="connsiteY57" fmla="*/ 938588 h 4409679"/>
              <a:gd name="connsiteX58" fmla="*/ 3095617 w 4761797"/>
              <a:gd name="connsiteY58" fmla="*/ 937273 h 4409679"/>
              <a:gd name="connsiteX59" fmla="*/ 3229162 w 4761797"/>
              <a:gd name="connsiteY59" fmla="*/ 887670 h 4409679"/>
              <a:gd name="connsiteX60" fmla="*/ 3617024 w 4761797"/>
              <a:gd name="connsiteY60" fmla="*/ 787593 h 4409679"/>
              <a:gd name="connsiteX61" fmla="*/ 4165395 w 4761797"/>
              <a:gd name="connsiteY61" fmla="*/ 700025 h 4409679"/>
              <a:gd name="connsiteX62" fmla="*/ 637239 w 4761797"/>
              <a:gd name="connsiteY62" fmla="*/ 0 h 4409679"/>
              <a:gd name="connsiteX63" fmla="*/ 712216 w 4761797"/>
              <a:gd name="connsiteY63" fmla="*/ 74965 h 4409679"/>
              <a:gd name="connsiteX64" fmla="*/ 1237002 w 4761797"/>
              <a:gd name="connsiteY64" fmla="*/ 599752 h 4409679"/>
              <a:gd name="connsiteX65" fmla="*/ 1311967 w 4761797"/>
              <a:gd name="connsiteY65" fmla="*/ 674728 h 4409679"/>
              <a:gd name="connsiteX66" fmla="*/ 1237002 w 4761797"/>
              <a:gd name="connsiteY66" fmla="*/ 712216 h 4409679"/>
              <a:gd name="connsiteX67" fmla="*/ 712216 w 4761797"/>
              <a:gd name="connsiteY67" fmla="*/ 1274479 h 4409679"/>
              <a:gd name="connsiteX68" fmla="*/ 637239 w 4761797"/>
              <a:gd name="connsiteY68" fmla="*/ 1311967 h 4409679"/>
              <a:gd name="connsiteX69" fmla="*/ 599751 w 4761797"/>
              <a:gd name="connsiteY69" fmla="*/ 1274479 h 4409679"/>
              <a:gd name="connsiteX70" fmla="*/ 37488 w 4761797"/>
              <a:gd name="connsiteY70" fmla="*/ 712216 h 4409679"/>
              <a:gd name="connsiteX71" fmla="*/ 0 w 4761797"/>
              <a:gd name="connsiteY71" fmla="*/ 674728 h 4409679"/>
              <a:gd name="connsiteX72" fmla="*/ 37488 w 4761797"/>
              <a:gd name="connsiteY72" fmla="*/ 599752 h 4409679"/>
              <a:gd name="connsiteX73" fmla="*/ 599751 w 4761797"/>
              <a:gd name="connsiteY73" fmla="*/ 74965 h 4409679"/>
              <a:gd name="connsiteX74" fmla="*/ 637239 w 4761797"/>
              <a:gd name="connsiteY74"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098039 w 4761797"/>
              <a:gd name="connsiteY56" fmla="*/ 938588 h 4409679"/>
              <a:gd name="connsiteX57" fmla="*/ 3095617 w 4761797"/>
              <a:gd name="connsiteY57" fmla="*/ 937273 h 4409679"/>
              <a:gd name="connsiteX58" fmla="*/ 3229162 w 4761797"/>
              <a:gd name="connsiteY58" fmla="*/ 887670 h 4409679"/>
              <a:gd name="connsiteX59" fmla="*/ 3617024 w 4761797"/>
              <a:gd name="connsiteY59" fmla="*/ 787593 h 4409679"/>
              <a:gd name="connsiteX60" fmla="*/ 4165395 w 4761797"/>
              <a:gd name="connsiteY60" fmla="*/ 700025 h 4409679"/>
              <a:gd name="connsiteX61" fmla="*/ 637239 w 4761797"/>
              <a:gd name="connsiteY61" fmla="*/ 0 h 4409679"/>
              <a:gd name="connsiteX62" fmla="*/ 712216 w 4761797"/>
              <a:gd name="connsiteY62" fmla="*/ 74965 h 4409679"/>
              <a:gd name="connsiteX63" fmla="*/ 1237002 w 4761797"/>
              <a:gd name="connsiteY63" fmla="*/ 599752 h 4409679"/>
              <a:gd name="connsiteX64" fmla="*/ 1311967 w 4761797"/>
              <a:gd name="connsiteY64" fmla="*/ 674728 h 4409679"/>
              <a:gd name="connsiteX65" fmla="*/ 1237002 w 4761797"/>
              <a:gd name="connsiteY65" fmla="*/ 712216 h 4409679"/>
              <a:gd name="connsiteX66" fmla="*/ 712216 w 4761797"/>
              <a:gd name="connsiteY66" fmla="*/ 1274479 h 4409679"/>
              <a:gd name="connsiteX67" fmla="*/ 637239 w 4761797"/>
              <a:gd name="connsiteY67" fmla="*/ 1311967 h 4409679"/>
              <a:gd name="connsiteX68" fmla="*/ 599751 w 4761797"/>
              <a:gd name="connsiteY68" fmla="*/ 1274479 h 4409679"/>
              <a:gd name="connsiteX69" fmla="*/ 37488 w 4761797"/>
              <a:gd name="connsiteY69" fmla="*/ 712216 h 4409679"/>
              <a:gd name="connsiteX70" fmla="*/ 0 w 4761797"/>
              <a:gd name="connsiteY70" fmla="*/ 674728 h 4409679"/>
              <a:gd name="connsiteX71" fmla="*/ 37488 w 4761797"/>
              <a:gd name="connsiteY71" fmla="*/ 599752 h 4409679"/>
              <a:gd name="connsiteX72" fmla="*/ 599751 w 4761797"/>
              <a:gd name="connsiteY72" fmla="*/ 74965 h 4409679"/>
              <a:gd name="connsiteX73" fmla="*/ 637239 w 4761797"/>
              <a:gd name="connsiteY73"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098039 w 4761797"/>
              <a:gd name="connsiteY56" fmla="*/ 938588 h 4409679"/>
              <a:gd name="connsiteX57" fmla="*/ 3229162 w 4761797"/>
              <a:gd name="connsiteY57" fmla="*/ 887670 h 4409679"/>
              <a:gd name="connsiteX58" fmla="*/ 3617024 w 4761797"/>
              <a:gd name="connsiteY58" fmla="*/ 787593 h 4409679"/>
              <a:gd name="connsiteX59" fmla="*/ 4165395 w 4761797"/>
              <a:gd name="connsiteY59" fmla="*/ 700025 h 4409679"/>
              <a:gd name="connsiteX60" fmla="*/ 637239 w 4761797"/>
              <a:gd name="connsiteY60" fmla="*/ 0 h 4409679"/>
              <a:gd name="connsiteX61" fmla="*/ 712216 w 4761797"/>
              <a:gd name="connsiteY61" fmla="*/ 74965 h 4409679"/>
              <a:gd name="connsiteX62" fmla="*/ 1237002 w 4761797"/>
              <a:gd name="connsiteY62" fmla="*/ 599752 h 4409679"/>
              <a:gd name="connsiteX63" fmla="*/ 1311967 w 4761797"/>
              <a:gd name="connsiteY63" fmla="*/ 674728 h 4409679"/>
              <a:gd name="connsiteX64" fmla="*/ 1237002 w 4761797"/>
              <a:gd name="connsiteY64" fmla="*/ 712216 h 4409679"/>
              <a:gd name="connsiteX65" fmla="*/ 712216 w 4761797"/>
              <a:gd name="connsiteY65" fmla="*/ 1274479 h 4409679"/>
              <a:gd name="connsiteX66" fmla="*/ 637239 w 4761797"/>
              <a:gd name="connsiteY66" fmla="*/ 1311967 h 4409679"/>
              <a:gd name="connsiteX67" fmla="*/ 599751 w 4761797"/>
              <a:gd name="connsiteY67" fmla="*/ 1274479 h 4409679"/>
              <a:gd name="connsiteX68" fmla="*/ 37488 w 4761797"/>
              <a:gd name="connsiteY68" fmla="*/ 712216 h 4409679"/>
              <a:gd name="connsiteX69" fmla="*/ 0 w 4761797"/>
              <a:gd name="connsiteY69" fmla="*/ 674728 h 4409679"/>
              <a:gd name="connsiteX70" fmla="*/ 37488 w 4761797"/>
              <a:gd name="connsiteY70" fmla="*/ 599752 h 4409679"/>
              <a:gd name="connsiteX71" fmla="*/ 599751 w 4761797"/>
              <a:gd name="connsiteY71" fmla="*/ 74965 h 4409679"/>
              <a:gd name="connsiteX72" fmla="*/ 637239 w 4761797"/>
              <a:gd name="connsiteY72"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229162 w 4761797"/>
              <a:gd name="connsiteY56" fmla="*/ 887670 h 4409679"/>
              <a:gd name="connsiteX57" fmla="*/ 3617024 w 4761797"/>
              <a:gd name="connsiteY57" fmla="*/ 787593 h 4409679"/>
              <a:gd name="connsiteX58" fmla="*/ 4165395 w 4761797"/>
              <a:gd name="connsiteY58" fmla="*/ 700025 h 4409679"/>
              <a:gd name="connsiteX59" fmla="*/ 637239 w 4761797"/>
              <a:gd name="connsiteY59" fmla="*/ 0 h 4409679"/>
              <a:gd name="connsiteX60" fmla="*/ 712216 w 4761797"/>
              <a:gd name="connsiteY60" fmla="*/ 74965 h 4409679"/>
              <a:gd name="connsiteX61" fmla="*/ 1237002 w 4761797"/>
              <a:gd name="connsiteY61" fmla="*/ 599752 h 4409679"/>
              <a:gd name="connsiteX62" fmla="*/ 1311967 w 4761797"/>
              <a:gd name="connsiteY62" fmla="*/ 674728 h 4409679"/>
              <a:gd name="connsiteX63" fmla="*/ 1237002 w 4761797"/>
              <a:gd name="connsiteY63" fmla="*/ 712216 h 4409679"/>
              <a:gd name="connsiteX64" fmla="*/ 712216 w 4761797"/>
              <a:gd name="connsiteY64" fmla="*/ 1274479 h 4409679"/>
              <a:gd name="connsiteX65" fmla="*/ 637239 w 4761797"/>
              <a:gd name="connsiteY65" fmla="*/ 1311967 h 4409679"/>
              <a:gd name="connsiteX66" fmla="*/ 599751 w 4761797"/>
              <a:gd name="connsiteY66" fmla="*/ 1274479 h 4409679"/>
              <a:gd name="connsiteX67" fmla="*/ 37488 w 4761797"/>
              <a:gd name="connsiteY67" fmla="*/ 712216 h 4409679"/>
              <a:gd name="connsiteX68" fmla="*/ 0 w 4761797"/>
              <a:gd name="connsiteY68" fmla="*/ 674728 h 4409679"/>
              <a:gd name="connsiteX69" fmla="*/ 37488 w 4761797"/>
              <a:gd name="connsiteY69" fmla="*/ 599752 h 4409679"/>
              <a:gd name="connsiteX70" fmla="*/ 599751 w 4761797"/>
              <a:gd name="connsiteY70" fmla="*/ 74965 h 4409679"/>
              <a:gd name="connsiteX71" fmla="*/ 637239 w 4761797"/>
              <a:gd name="connsiteY71"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466595 w 4761797"/>
              <a:gd name="connsiteY17" fmla="*/ 1193397 h 4409679"/>
              <a:gd name="connsiteX18" fmla="*/ 3582738 w 4761797"/>
              <a:gd name="connsiteY18" fmla="*/ 1312220 h 4409679"/>
              <a:gd name="connsiteX19" fmla="*/ 3881231 w 4761797"/>
              <a:gd name="connsiteY19" fmla="*/ 1761204 h 4409679"/>
              <a:gd name="connsiteX20" fmla="*/ 3806611 w 4761797"/>
              <a:gd name="connsiteY20" fmla="*/ 1873450 h 4409679"/>
              <a:gd name="connsiteX21" fmla="*/ 2649956 w 4761797"/>
              <a:gd name="connsiteY21" fmla="*/ 2734000 h 4409679"/>
              <a:gd name="connsiteX22" fmla="*/ 1344072 w 4761797"/>
              <a:gd name="connsiteY22" fmla="*/ 3370057 h 4409679"/>
              <a:gd name="connsiteX23" fmla="*/ 1232136 w 4761797"/>
              <a:gd name="connsiteY23" fmla="*/ 3407476 h 4409679"/>
              <a:gd name="connsiteX24" fmla="*/ 882338 w 4761797"/>
              <a:gd name="connsiteY24" fmla="*/ 2752706 h 4409679"/>
              <a:gd name="connsiteX25" fmla="*/ 856367 w 4761797"/>
              <a:gd name="connsiteY25" fmla="*/ 2610450 h 4409679"/>
              <a:gd name="connsiteX26" fmla="*/ 858908 w 4761797"/>
              <a:gd name="connsiteY26" fmla="*/ 2697843 h 4409679"/>
              <a:gd name="connsiteX27" fmla="*/ 374375 w 4761797"/>
              <a:gd name="connsiteY27" fmla="*/ 3596787 h 4409679"/>
              <a:gd name="connsiteX28" fmla="*/ 1417980 w 4761797"/>
              <a:gd name="connsiteY28" fmla="*/ 3559334 h 4409679"/>
              <a:gd name="connsiteX29" fmla="*/ 2759768 w 4761797"/>
              <a:gd name="connsiteY29" fmla="*/ 2922576 h 4409679"/>
              <a:gd name="connsiteX30" fmla="*/ 3952465 w 4761797"/>
              <a:gd name="connsiteY30" fmla="*/ 2023632 h 4409679"/>
              <a:gd name="connsiteX31" fmla="*/ 4138826 w 4761797"/>
              <a:gd name="connsiteY31" fmla="*/ 1798899 h 4409679"/>
              <a:gd name="connsiteX32" fmla="*/ 4474268 w 4761797"/>
              <a:gd name="connsiteY32" fmla="*/ 1087234 h 4409679"/>
              <a:gd name="connsiteX33" fmla="*/ 4138826 w 4761797"/>
              <a:gd name="connsiteY33" fmla="*/ 974873 h 4409679"/>
              <a:gd name="connsiteX34" fmla="*/ 4165395 w 4761797"/>
              <a:gd name="connsiteY34" fmla="*/ 700025 h 4409679"/>
              <a:gd name="connsiteX35" fmla="*/ 4311207 w 4761797"/>
              <a:gd name="connsiteY35" fmla="*/ 708003 h 4409679"/>
              <a:gd name="connsiteX36" fmla="*/ 4697899 w 4761797"/>
              <a:gd name="connsiteY36" fmla="*/ 937420 h 4409679"/>
              <a:gd name="connsiteX37" fmla="*/ 4362458 w 4761797"/>
              <a:gd name="connsiteY37" fmla="*/ 1986178 h 4409679"/>
              <a:gd name="connsiteX38" fmla="*/ 3989735 w 4761797"/>
              <a:gd name="connsiteY38" fmla="*/ 2360738 h 4409679"/>
              <a:gd name="connsiteX39" fmla="*/ 3989253 w 4761797"/>
              <a:gd name="connsiteY39" fmla="*/ 2361116 h 4409679"/>
              <a:gd name="connsiteX40" fmla="*/ 3943902 w 4761797"/>
              <a:gd name="connsiteY40" fmla="*/ 2721741 h 4409679"/>
              <a:gd name="connsiteX41" fmla="*/ 3841218 w 4761797"/>
              <a:gd name="connsiteY41" fmla="*/ 3064677 h 4409679"/>
              <a:gd name="connsiteX42" fmla="*/ 2318452 w 4761797"/>
              <a:gd name="connsiteY42" fmla="*/ 3936717 h 4409679"/>
              <a:gd name="connsiteX43" fmla="*/ 1721994 w 4761797"/>
              <a:gd name="connsiteY43" fmla="*/ 3781140 h 4409679"/>
              <a:gd name="connsiteX44" fmla="*/ 1716163 w 4761797"/>
              <a:gd name="connsiteY44" fmla="*/ 3784067 h 4409679"/>
              <a:gd name="connsiteX45" fmla="*/ 709817 w 4761797"/>
              <a:gd name="connsiteY45" fmla="*/ 4008800 h 4409679"/>
              <a:gd name="connsiteX46" fmla="*/ 113474 w 4761797"/>
              <a:gd name="connsiteY46" fmla="*/ 3746613 h 4409679"/>
              <a:gd name="connsiteX47" fmla="*/ 821638 w 4761797"/>
              <a:gd name="connsiteY47" fmla="*/ 2323284 h 4409679"/>
              <a:gd name="connsiteX48" fmla="*/ 896327 w 4761797"/>
              <a:gd name="connsiteY48" fmla="*/ 1985696 h 4409679"/>
              <a:gd name="connsiteX49" fmla="*/ 1344072 w 4761797"/>
              <a:gd name="connsiteY49" fmla="*/ 1199974 h 4409679"/>
              <a:gd name="connsiteX50" fmla="*/ 2491383 w 4761797"/>
              <a:gd name="connsiteY50" fmla="*/ 779042 h 4409679"/>
              <a:gd name="connsiteX51" fmla="*/ 3075538 w 4761797"/>
              <a:gd name="connsiteY51" fmla="*/ 926370 h 4409679"/>
              <a:gd name="connsiteX52" fmla="*/ 3095617 w 4761797"/>
              <a:gd name="connsiteY52" fmla="*/ 937273 h 4409679"/>
              <a:gd name="connsiteX53" fmla="*/ 3095221 w 4761797"/>
              <a:gd name="connsiteY53" fmla="*/ 937420 h 4409679"/>
              <a:gd name="connsiteX54" fmla="*/ 3098039 w 4761797"/>
              <a:gd name="connsiteY54" fmla="*/ 938588 h 4409679"/>
              <a:gd name="connsiteX55" fmla="*/ 3229162 w 4761797"/>
              <a:gd name="connsiteY55" fmla="*/ 887670 h 4409679"/>
              <a:gd name="connsiteX56" fmla="*/ 3617024 w 4761797"/>
              <a:gd name="connsiteY56" fmla="*/ 787593 h 4409679"/>
              <a:gd name="connsiteX57" fmla="*/ 4165395 w 4761797"/>
              <a:gd name="connsiteY57" fmla="*/ 700025 h 4409679"/>
              <a:gd name="connsiteX58" fmla="*/ 637239 w 4761797"/>
              <a:gd name="connsiteY58" fmla="*/ 0 h 4409679"/>
              <a:gd name="connsiteX59" fmla="*/ 712216 w 4761797"/>
              <a:gd name="connsiteY59" fmla="*/ 74965 h 4409679"/>
              <a:gd name="connsiteX60" fmla="*/ 1237002 w 4761797"/>
              <a:gd name="connsiteY60" fmla="*/ 599752 h 4409679"/>
              <a:gd name="connsiteX61" fmla="*/ 1311967 w 4761797"/>
              <a:gd name="connsiteY61" fmla="*/ 674728 h 4409679"/>
              <a:gd name="connsiteX62" fmla="*/ 1237002 w 4761797"/>
              <a:gd name="connsiteY62" fmla="*/ 712216 h 4409679"/>
              <a:gd name="connsiteX63" fmla="*/ 712216 w 4761797"/>
              <a:gd name="connsiteY63" fmla="*/ 1274479 h 4409679"/>
              <a:gd name="connsiteX64" fmla="*/ 637239 w 4761797"/>
              <a:gd name="connsiteY64" fmla="*/ 1311967 h 4409679"/>
              <a:gd name="connsiteX65" fmla="*/ 599751 w 4761797"/>
              <a:gd name="connsiteY65" fmla="*/ 1274479 h 4409679"/>
              <a:gd name="connsiteX66" fmla="*/ 37488 w 4761797"/>
              <a:gd name="connsiteY66" fmla="*/ 712216 h 4409679"/>
              <a:gd name="connsiteX67" fmla="*/ 0 w 4761797"/>
              <a:gd name="connsiteY67" fmla="*/ 674728 h 4409679"/>
              <a:gd name="connsiteX68" fmla="*/ 37488 w 4761797"/>
              <a:gd name="connsiteY68" fmla="*/ 599752 h 4409679"/>
              <a:gd name="connsiteX69" fmla="*/ 599751 w 4761797"/>
              <a:gd name="connsiteY69" fmla="*/ 74965 h 4409679"/>
              <a:gd name="connsiteX70" fmla="*/ 637239 w 4761797"/>
              <a:gd name="connsiteY70"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6367 w 4761797"/>
              <a:gd name="connsiteY24" fmla="*/ 2610450 h 4409679"/>
              <a:gd name="connsiteX25" fmla="*/ 858908 w 4761797"/>
              <a:gd name="connsiteY25" fmla="*/ 2697843 h 4409679"/>
              <a:gd name="connsiteX26" fmla="*/ 374375 w 4761797"/>
              <a:gd name="connsiteY26" fmla="*/ 3596787 h 4409679"/>
              <a:gd name="connsiteX27" fmla="*/ 1417980 w 4761797"/>
              <a:gd name="connsiteY27" fmla="*/ 3559334 h 4409679"/>
              <a:gd name="connsiteX28" fmla="*/ 2759768 w 4761797"/>
              <a:gd name="connsiteY28" fmla="*/ 2922576 h 4409679"/>
              <a:gd name="connsiteX29" fmla="*/ 3952465 w 4761797"/>
              <a:gd name="connsiteY29" fmla="*/ 2023632 h 4409679"/>
              <a:gd name="connsiteX30" fmla="*/ 4138826 w 4761797"/>
              <a:gd name="connsiteY30" fmla="*/ 1798899 h 4409679"/>
              <a:gd name="connsiteX31" fmla="*/ 4474268 w 4761797"/>
              <a:gd name="connsiteY31" fmla="*/ 1087234 h 4409679"/>
              <a:gd name="connsiteX32" fmla="*/ 4138826 w 4761797"/>
              <a:gd name="connsiteY32" fmla="*/ 974873 h 4409679"/>
              <a:gd name="connsiteX33" fmla="*/ 4165395 w 4761797"/>
              <a:gd name="connsiteY33" fmla="*/ 700025 h 4409679"/>
              <a:gd name="connsiteX34" fmla="*/ 4311207 w 4761797"/>
              <a:gd name="connsiteY34" fmla="*/ 708003 h 4409679"/>
              <a:gd name="connsiteX35" fmla="*/ 4697899 w 4761797"/>
              <a:gd name="connsiteY35" fmla="*/ 937420 h 4409679"/>
              <a:gd name="connsiteX36" fmla="*/ 4362458 w 4761797"/>
              <a:gd name="connsiteY36" fmla="*/ 1986178 h 4409679"/>
              <a:gd name="connsiteX37" fmla="*/ 3989735 w 4761797"/>
              <a:gd name="connsiteY37" fmla="*/ 2360738 h 4409679"/>
              <a:gd name="connsiteX38" fmla="*/ 3989253 w 4761797"/>
              <a:gd name="connsiteY38" fmla="*/ 2361116 h 4409679"/>
              <a:gd name="connsiteX39" fmla="*/ 3943902 w 4761797"/>
              <a:gd name="connsiteY39" fmla="*/ 2721741 h 4409679"/>
              <a:gd name="connsiteX40" fmla="*/ 3841218 w 4761797"/>
              <a:gd name="connsiteY40" fmla="*/ 3064677 h 4409679"/>
              <a:gd name="connsiteX41" fmla="*/ 2318452 w 4761797"/>
              <a:gd name="connsiteY41" fmla="*/ 3936717 h 4409679"/>
              <a:gd name="connsiteX42" fmla="*/ 1721994 w 4761797"/>
              <a:gd name="connsiteY42" fmla="*/ 3781140 h 4409679"/>
              <a:gd name="connsiteX43" fmla="*/ 1716163 w 4761797"/>
              <a:gd name="connsiteY43" fmla="*/ 3784067 h 4409679"/>
              <a:gd name="connsiteX44" fmla="*/ 709817 w 4761797"/>
              <a:gd name="connsiteY44" fmla="*/ 4008800 h 4409679"/>
              <a:gd name="connsiteX45" fmla="*/ 113474 w 4761797"/>
              <a:gd name="connsiteY45" fmla="*/ 3746613 h 4409679"/>
              <a:gd name="connsiteX46" fmla="*/ 821638 w 4761797"/>
              <a:gd name="connsiteY46" fmla="*/ 2323284 h 4409679"/>
              <a:gd name="connsiteX47" fmla="*/ 896327 w 4761797"/>
              <a:gd name="connsiteY47" fmla="*/ 1985696 h 4409679"/>
              <a:gd name="connsiteX48" fmla="*/ 1344072 w 4761797"/>
              <a:gd name="connsiteY48" fmla="*/ 1199974 h 4409679"/>
              <a:gd name="connsiteX49" fmla="*/ 2491383 w 4761797"/>
              <a:gd name="connsiteY49" fmla="*/ 779042 h 4409679"/>
              <a:gd name="connsiteX50" fmla="*/ 3075538 w 4761797"/>
              <a:gd name="connsiteY50" fmla="*/ 926370 h 4409679"/>
              <a:gd name="connsiteX51" fmla="*/ 3095617 w 4761797"/>
              <a:gd name="connsiteY51" fmla="*/ 937273 h 4409679"/>
              <a:gd name="connsiteX52" fmla="*/ 3095221 w 4761797"/>
              <a:gd name="connsiteY52" fmla="*/ 937420 h 4409679"/>
              <a:gd name="connsiteX53" fmla="*/ 3098039 w 4761797"/>
              <a:gd name="connsiteY53" fmla="*/ 938588 h 4409679"/>
              <a:gd name="connsiteX54" fmla="*/ 3229162 w 4761797"/>
              <a:gd name="connsiteY54" fmla="*/ 887670 h 4409679"/>
              <a:gd name="connsiteX55" fmla="*/ 3617024 w 4761797"/>
              <a:gd name="connsiteY55" fmla="*/ 787593 h 4409679"/>
              <a:gd name="connsiteX56" fmla="*/ 4165395 w 4761797"/>
              <a:gd name="connsiteY56" fmla="*/ 700025 h 4409679"/>
              <a:gd name="connsiteX57" fmla="*/ 637239 w 4761797"/>
              <a:gd name="connsiteY57" fmla="*/ 0 h 4409679"/>
              <a:gd name="connsiteX58" fmla="*/ 712216 w 4761797"/>
              <a:gd name="connsiteY58" fmla="*/ 74965 h 4409679"/>
              <a:gd name="connsiteX59" fmla="*/ 1237002 w 4761797"/>
              <a:gd name="connsiteY59" fmla="*/ 599752 h 4409679"/>
              <a:gd name="connsiteX60" fmla="*/ 1311967 w 4761797"/>
              <a:gd name="connsiteY60" fmla="*/ 674728 h 4409679"/>
              <a:gd name="connsiteX61" fmla="*/ 1237002 w 4761797"/>
              <a:gd name="connsiteY61" fmla="*/ 712216 h 4409679"/>
              <a:gd name="connsiteX62" fmla="*/ 712216 w 4761797"/>
              <a:gd name="connsiteY62" fmla="*/ 1274479 h 4409679"/>
              <a:gd name="connsiteX63" fmla="*/ 637239 w 4761797"/>
              <a:gd name="connsiteY63" fmla="*/ 1311967 h 4409679"/>
              <a:gd name="connsiteX64" fmla="*/ 599751 w 4761797"/>
              <a:gd name="connsiteY64" fmla="*/ 1274479 h 4409679"/>
              <a:gd name="connsiteX65" fmla="*/ 37488 w 4761797"/>
              <a:gd name="connsiteY65" fmla="*/ 712216 h 4409679"/>
              <a:gd name="connsiteX66" fmla="*/ 0 w 4761797"/>
              <a:gd name="connsiteY66" fmla="*/ 674728 h 4409679"/>
              <a:gd name="connsiteX67" fmla="*/ 37488 w 4761797"/>
              <a:gd name="connsiteY67" fmla="*/ 599752 h 4409679"/>
              <a:gd name="connsiteX68" fmla="*/ 599751 w 4761797"/>
              <a:gd name="connsiteY68" fmla="*/ 74965 h 4409679"/>
              <a:gd name="connsiteX69" fmla="*/ 637239 w 4761797"/>
              <a:gd name="connsiteY69"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6367 w 4761797"/>
              <a:gd name="connsiteY24" fmla="*/ 2610450 h 4409679"/>
              <a:gd name="connsiteX25" fmla="*/ 858908 w 4761797"/>
              <a:gd name="connsiteY25" fmla="*/ 2697843 h 4409679"/>
              <a:gd name="connsiteX26" fmla="*/ 374375 w 4761797"/>
              <a:gd name="connsiteY26" fmla="*/ 3596787 h 4409679"/>
              <a:gd name="connsiteX27" fmla="*/ 1417980 w 4761797"/>
              <a:gd name="connsiteY27" fmla="*/ 3559334 h 4409679"/>
              <a:gd name="connsiteX28" fmla="*/ 2759768 w 4761797"/>
              <a:gd name="connsiteY28" fmla="*/ 2922576 h 4409679"/>
              <a:gd name="connsiteX29" fmla="*/ 3952465 w 4761797"/>
              <a:gd name="connsiteY29" fmla="*/ 2023632 h 4409679"/>
              <a:gd name="connsiteX30" fmla="*/ 4138826 w 4761797"/>
              <a:gd name="connsiteY30" fmla="*/ 1798899 h 4409679"/>
              <a:gd name="connsiteX31" fmla="*/ 4474268 w 4761797"/>
              <a:gd name="connsiteY31" fmla="*/ 1087234 h 4409679"/>
              <a:gd name="connsiteX32" fmla="*/ 4138826 w 4761797"/>
              <a:gd name="connsiteY32" fmla="*/ 974873 h 4409679"/>
              <a:gd name="connsiteX33" fmla="*/ 4165395 w 4761797"/>
              <a:gd name="connsiteY33" fmla="*/ 700025 h 4409679"/>
              <a:gd name="connsiteX34" fmla="*/ 4311207 w 4761797"/>
              <a:gd name="connsiteY34" fmla="*/ 708003 h 4409679"/>
              <a:gd name="connsiteX35" fmla="*/ 4697899 w 4761797"/>
              <a:gd name="connsiteY35" fmla="*/ 937420 h 4409679"/>
              <a:gd name="connsiteX36" fmla="*/ 4362458 w 4761797"/>
              <a:gd name="connsiteY36" fmla="*/ 1986178 h 4409679"/>
              <a:gd name="connsiteX37" fmla="*/ 3989735 w 4761797"/>
              <a:gd name="connsiteY37" fmla="*/ 2360738 h 4409679"/>
              <a:gd name="connsiteX38" fmla="*/ 3989253 w 4761797"/>
              <a:gd name="connsiteY38" fmla="*/ 2361116 h 4409679"/>
              <a:gd name="connsiteX39" fmla="*/ 3943902 w 4761797"/>
              <a:gd name="connsiteY39" fmla="*/ 2721741 h 4409679"/>
              <a:gd name="connsiteX40" fmla="*/ 3841218 w 4761797"/>
              <a:gd name="connsiteY40" fmla="*/ 3064677 h 4409679"/>
              <a:gd name="connsiteX41" fmla="*/ 2318452 w 4761797"/>
              <a:gd name="connsiteY41" fmla="*/ 3936717 h 4409679"/>
              <a:gd name="connsiteX42" fmla="*/ 1721994 w 4761797"/>
              <a:gd name="connsiteY42" fmla="*/ 3781140 h 4409679"/>
              <a:gd name="connsiteX43" fmla="*/ 1716163 w 4761797"/>
              <a:gd name="connsiteY43" fmla="*/ 3784067 h 4409679"/>
              <a:gd name="connsiteX44" fmla="*/ 709817 w 4761797"/>
              <a:gd name="connsiteY44" fmla="*/ 4008800 h 4409679"/>
              <a:gd name="connsiteX45" fmla="*/ 113474 w 4761797"/>
              <a:gd name="connsiteY45" fmla="*/ 3746613 h 4409679"/>
              <a:gd name="connsiteX46" fmla="*/ 821638 w 4761797"/>
              <a:gd name="connsiteY46" fmla="*/ 2323284 h 4409679"/>
              <a:gd name="connsiteX47" fmla="*/ 896327 w 4761797"/>
              <a:gd name="connsiteY47" fmla="*/ 1985696 h 4409679"/>
              <a:gd name="connsiteX48" fmla="*/ 1344072 w 4761797"/>
              <a:gd name="connsiteY48" fmla="*/ 1199974 h 4409679"/>
              <a:gd name="connsiteX49" fmla="*/ 2491383 w 4761797"/>
              <a:gd name="connsiteY49" fmla="*/ 779042 h 4409679"/>
              <a:gd name="connsiteX50" fmla="*/ 3075538 w 4761797"/>
              <a:gd name="connsiteY50" fmla="*/ 926370 h 4409679"/>
              <a:gd name="connsiteX51" fmla="*/ 3095617 w 4761797"/>
              <a:gd name="connsiteY51" fmla="*/ 937273 h 4409679"/>
              <a:gd name="connsiteX52" fmla="*/ 3095221 w 4761797"/>
              <a:gd name="connsiteY52" fmla="*/ 937420 h 4409679"/>
              <a:gd name="connsiteX53" fmla="*/ 3229162 w 4761797"/>
              <a:gd name="connsiteY53" fmla="*/ 887670 h 4409679"/>
              <a:gd name="connsiteX54" fmla="*/ 3617024 w 4761797"/>
              <a:gd name="connsiteY54" fmla="*/ 787593 h 4409679"/>
              <a:gd name="connsiteX55" fmla="*/ 4165395 w 4761797"/>
              <a:gd name="connsiteY55" fmla="*/ 700025 h 4409679"/>
              <a:gd name="connsiteX56" fmla="*/ 637239 w 4761797"/>
              <a:gd name="connsiteY56" fmla="*/ 0 h 4409679"/>
              <a:gd name="connsiteX57" fmla="*/ 712216 w 4761797"/>
              <a:gd name="connsiteY57" fmla="*/ 74965 h 4409679"/>
              <a:gd name="connsiteX58" fmla="*/ 1237002 w 4761797"/>
              <a:gd name="connsiteY58" fmla="*/ 599752 h 4409679"/>
              <a:gd name="connsiteX59" fmla="*/ 1311967 w 4761797"/>
              <a:gd name="connsiteY59" fmla="*/ 674728 h 4409679"/>
              <a:gd name="connsiteX60" fmla="*/ 1237002 w 4761797"/>
              <a:gd name="connsiteY60" fmla="*/ 712216 h 4409679"/>
              <a:gd name="connsiteX61" fmla="*/ 712216 w 4761797"/>
              <a:gd name="connsiteY61" fmla="*/ 1274479 h 4409679"/>
              <a:gd name="connsiteX62" fmla="*/ 637239 w 4761797"/>
              <a:gd name="connsiteY62" fmla="*/ 1311967 h 4409679"/>
              <a:gd name="connsiteX63" fmla="*/ 599751 w 4761797"/>
              <a:gd name="connsiteY63" fmla="*/ 1274479 h 4409679"/>
              <a:gd name="connsiteX64" fmla="*/ 37488 w 4761797"/>
              <a:gd name="connsiteY64" fmla="*/ 712216 h 4409679"/>
              <a:gd name="connsiteX65" fmla="*/ 0 w 4761797"/>
              <a:gd name="connsiteY65" fmla="*/ 674728 h 4409679"/>
              <a:gd name="connsiteX66" fmla="*/ 37488 w 4761797"/>
              <a:gd name="connsiteY66" fmla="*/ 599752 h 4409679"/>
              <a:gd name="connsiteX67" fmla="*/ 599751 w 4761797"/>
              <a:gd name="connsiteY67" fmla="*/ 74965 h 4409679"/>
              <a:gd name="connsiteX68" fmla="*/ 637239 w 4761797"/>
              <a:gd name="connsiteY68"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6367 w 4761797"/>
              <a:gd name="connsiteY24" fmla="*/ 2610450 h 4409679"/>
              <a:gd name="connsiteX25" fmla="*/ 858908 w 4761797"/>
              <a:gd name="connsiteY25" fmla="*/ 2697843 h 4409679"/>
              <a:gd name="connsiteX26" fmla="*/ 374375 w 4761797"/>
              <a:gd name="connsiteY26" fmla="*/ 3596787 h 4409679"/>
              <a:gd name="connsiteX27" fmla="*/ 1417980 w 4761797"/>
              <a:gd name="connsiteY27" fmla="*/ 3559334 h 4409679"/>
              <a:gd name="connsiteX28" fmla="*/ 2759768 w 4761797"/>
              <a:gd name="connsiteY28" fmla="*/ 2922576 h 4409679"/>
              <a:gd name="connsiteX29" fmla="*/ 3952465 w 4761797"/>
              <a:gd name="connsiteY29" fmla="*/ 2023632 h 4409679"/>
              <a:gd name="connsiteX30" fmla="*/ 4138826 w 4761797"/>
              <a:gd name="connsiteY30" fmla="*/ 1798899 h 4409679"/>
              <a:gd name="connsiteX31" fmla="*/ 4474268 w 4761797"/>
              <a:gd name="connsiteY31" fmla="*/ 1087234 h 4409679"/>
              <a:gd name="connsiteX32" fmla="*/ 4138826 w 4761797"/>
              <a:gd name="connsiteY32" fmla="*/ 974873 h 4409679"/>
              <a:gd name="connsiteX33" fmla="*/ 4165395 w 4761797"/>
              <a:gd name="connsiteY33" fmla="*/ 700025 h 4409679"/>
              <a:gd name="connsiteX34" fmla="*/ 4311207 w 4761797"/>
              <a:gd name="connsiteY34" fmla="*/ 708003 h 4409679"/>
              <a:gd name="connsiteX35" fmla="*/ 4697899 w 4761797"/>
              <a:gd name="connsiteY35" fmla="*/ 937420 h 4409679"/>
              <a:gd name="connsiteX36" fmla="*/ 4362458 w 4761797"/>
              <a:gd name="connsiteY36" fmla="*/ 1986178 h 4409679"/>
              <a:gd name="connsiteX37" fmla="*/ 3989735 w 4761797"/>
              <a:gd name="connsiteY37" fmla="*/ 2360738 h 4409679"/>
              <a:gd name="connsiteX38" fmla="*/ 3989253 w 4761797"/>
              <a:gd name="connsiteY38" fmla="*/ 2361116 h 4409679"/>
              <a:gd name="connsiteX39" fmla="*/ 3943902 w 4761797"/>
              <a:gd name="connsiteY39" fmla="*/ 2721741 h 4409679"/>
              <a:gd name="connsiteX40" fmla="*/ 3841218 w 4761797"/>
              <a:gd name="connsiteY40" fmla="*/ 3064677 h 4409679"/>
              <a:gd name="connsiteX41" fmla="*/ 2318452 w 4761797"/>
              <a:gd name="connsiteY41" fmla="*/ 3936717 h 4409679"/>
              <a:gd name="connsiteX42" fmla="*/ 1721994 w 4761797"/>
              <a:gd name="connsiteY42" fmla="*/ 3781140 h 4409679"/>
              <a:gd name="connsiteX43" fmla="*/ 1716163 w 4761797"/>
              <a:gd name="connsiteY43" fmla="*/ 3784067 h 4409679"/>
              <a:gd name="connsiteX44" fmla="*/ 709817 w 4761797"/>
              <a:gd name="connsiteY44" fmla="*/ 4008800 h 4409679"/>
              <a:gd name="connsiteX45" fmla="*/ 113474 w 4761797"/>
              <a:gd name="connsiteY45" fmla="*/ 3746613 h 4409679"/>
              <a:gd name="connsiteX46" fmla="*/ 821638 w 4761797"/>
              <a:gd name="connsiteY46" fmla="*/ 2323284 h 4409679"/>
              <a:gd name="connsiteX47" fmla="*/ 896327 w 4761797"/>
              <a:gd name="connsiteY47" fmla="*/ 1985696 h 4409679"/>
              <a:gd name="connsiteX48" fmla="*/ 1344072 w 4761797"/>
              <a:gd name="connsiteY48" fmla="*/ 1199974 h 4409679"/>
              <a:gd name="connsiteX49" fmla="*/ 2491383 w 4761797"/>
              <a:gd name="connsiteY49" fmla="*/ 779042 h 4409679"/>
              <a:gd name="connsiteX50" fmla="*/ 3075538 w 4761797"/>
              <a:gd name="connsiteY50" fmla="*/ 926370 h 4409679"/>
              <a:gd name="connsiteX51" fmla="*/ 3095617 w 4761797"/>
              <a:gd name="connsiteY51" fmla="*/ 937273 h 4409679"/>
              <a:gd name="connsiteX52" fmla="*/ 3229162 w 4761797"/>
              <a:gd name="connsiteY52" fmla="*/ 887670 h 4409679"/>
              <a:gd name="connsiteX53" fmla="*/ 3617024 w 4761797"/>
              <a:gd name="connsiteY53" fmla="*/ 787593 h 4409679"/>
              <a:gd name="connsiteX54" fmla="*/ 4165395 w 4761797"/>
              <a:gd name="connsiteY54" fmla="*/ 700025 h 4409679"/>
              <a:gd name="connsiteX55" fmla="*/ 637239 w 4761797"/>
              <a:gd name="connsiteY55" fmla="*/ 0 h 4409679"/>
              <a:gd name="connsiteX56" fmla="*/ 712216 w 4761797"/>
              <a:gd name="connsiteY56" fmla="*/ 74965 h 4409679"/>
              <a:gd name="connsiteX57" fmla="*/ 1237002 w 4761797"/>
              <a:gd name="connsiteY57" fmla="*/ 599752 h 4409679"/>
              <a:gd name="connsiteX58" fmla="*/ 1311967 w 4761797"/>
              <a:gd name="connsiteY58" fmla="*/ 674728 h 4409679"/>
              <a:gd name="connsiteX59" fmla="*/ 1237002 w 4761797"/>
              <a:gd name="connsiteY59" fmla="*/ 712216 h 4409679"/>
              <a:gd name="connsiteX60" fmla="*/ 712216 w 4761797"/>
              <a:gd name="connsiteY60" fmla="*/ 1274479 h 4409679"/>
              <a:gd name="connsiteX61" fmla="*/ 637239 w 4761797"/>
              <a:gd name="connsiteY61" fmla="*/ 1311967 h 4409679"/>
              <a:gd name="connsiteX62" fmla="*/ 599751 w 4761797"/>
              <a:gd name="connsiteY62" fmla="*/ 1274479 h 4409679"/>
              <a:gd name="connsiteX63" fmla="*/ 37488 w 4761797"/>
              <a:gd name="connsiteY63" fmla="*/ 712216 h 4409679"/>
              <a:gd name="connsiteX64" fmla="*/ 0 w 4761797"/>
              <a:gd name="connsiteY64" fmla="*/ 674728 h 4409679"/>
              <a:gd name="connsiteX65" fmla="*/ 37488 w 4761797"/>
              <a:gd name="connsiteY65" fmla="*/ 599752 h 4409679"/>
              <a:gd name="connsiteX66" fmla="*/ 599751 w 4761797"/>
              <a:gd name="connsiteY66" fmla="*/ 74965 h 4409679"/>
              <a:gd name="connsiteX67" fmla="*/ 637239 w 4761797"/>
              <a:gd name="connsiteY67"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4761797" h="4409679">
                <a:moveTo>
                  <a:pt x="4063449" y="3626137"/>
                </a:moveTo>
                <a:lnTo>
                  <a:pt x="4063449" y="3663453"/>
                </a:lnTo>
                <a:cubicBezTo>
                  <a:pt x="4063449" y="3850010"/>
                  <a:pt x="4209223" y="3999250"/>
                  <a:pt x="4391441" y="3999250"/>
                </a:cubicBezTo>
                <a:cubicBezTo>
                  <a:pt x="4427884" y="3999250"/>
                  <a:pt x="4427884" y="3999250"/>
                  <a:pt x="4427884" y="4036566"/>
                </a:cubicBezTo>
                <a:lnTo>
                  <a:pt x="4391441" y="4036566"/>
                </a:lnTo>
                <a:cubicBezTo>
                  <a:pt x="4209223" y="4036566"/>
                  <a:pt x="4063449" y="4185807"/>
                  <a:pt x="4063449" y="4372363"/>
                </a:cubicBezTo>
                <a:lnTo>
                  <a:pt x="4063449" y="4409679"/>
                </a:lnTo>
                <a:cubicBezTo>
                  <a:pt x="4027005" y="4409679"/>
                  <a:pt x="4027005" y="4409679"/>
                  <a:pt x="4027005" y="4372363"/>
                </a:cubicBezTo>
                <a:cubicBezTo>
                  <a:pt x="4027005" y="4185807"/>
                  <a:pt x="3881231" y="4036566"/>
                  <a:pt x="3699013" y="4036566"/>
                </a:cubicBezTo>
                <a:lnTo>
                  <a:pt x="3662570" y="4036566"/>
                </a:lnTo>
                <a:cubicBezTo>
                  <a:pt x="3662570" y="3999250"/>
                  <a:pt x="3699013" y="3999250"/>
                  <a:pt x="3699013" y="3999250"/>
                </a:cubicBezTo>
                <a:cubicBezTo>
                  <a:pt x="3881231" y="3999250"/>
                  <a:pt x="4027005" y="3850010"/>
                  <a:pt x="4027005" y="3663453"/>
                </a:cubicBezTo>
                <a:cubicBezTo>
                  <a:pt x="4027005" y="3663453"/>
                  <a:pt x="4027005" y="3626137"/>
                  <a:pt x="4063449" y="3626137"/>
                </a:cubicBezTo>
                <a:close/>
                <a:moveTo>
                  <a:pt x="4138826" y="974873"/>
                </a:moveTo>
                <a:cubicBezTo>
                  <a:pt x="3989735" y="974873"/>
                  <a:pt x="3840655" y="1012327"/>
                  <a:pt x="3691564" y="1049781"/>
                </a:cubicBezTo>
                <a:cubicBezTo>
                  <a:pt x="3579754" y="1087234"/>
                  <a:pt x="3505203" y="1087234"/>
                  <a:pt x="3393393" y="1124699"/>
                </a:cubicBezTo>
                <a:lnTo>
                  <a:pt x="3466595" y="1193397"/>
                </a:lnTo>
                <a:cubicBezTo>
                  <a:pt x="3506658" y="1230520"/>
                  <a:pt x="3545427" y="1270128"/>
                  <a:pt x="3582738" y="1312220"/>
                </a:cubicBezTo>
                <a:cubicBezTo>
                  <a:pt x="3694674" y="1424466"/>
                  <a:pt x="3806611" y="1611539"/>
                  <a:pt x="3881231" y="1761204"/>
                </a:cubicBezTo>
                <a:cubicBezTo>
                  <a:pt x="3872490" y="1801333"/>
                  <a:pt x="3843915" y="1836031"/>
                  <a:pt x="3806611" y="1873450"/>
                </a:cubicBezTo>
                <a:cubicBezTo>
                  <a:pt x="3470802" y="2210189"/>
                  <a:pt x="3060385" y="2472088"/>
                  <a:pt x="2649956" y="2734000"/>
                </a:cubicBezTo>
                <a:cubicBezTo>
                  <a:pt x="2239538" y="2995911"/>
                  <a:pt x="1791805" y="3220403"/>
                  <a:pt x="1344072" y="3370057"/>
                </a:cubicBezTo>
                <a:cubicBezTo>
                  <a:pt x="1313560" y="3386386"/>
                  <a:pt x="1295293" y="3393189"/>
                  <a:pt x="1232136" y="3407476"/>
                </a:cubicBezTo>
                <a:cubicBezTo>
                  <a:pt x="1064232" y="3220397"/>
                  <a:pt x="942969" y="2995905"/>
                  <a:pt x="882338" y="2752706"/>
                </a:cubicBezTo>
                <a:lnTo>
                  <a:pt x="858908" y="2697843"/>
                </a:lnTo>
                <a:cubicBezTo>
                  <a:pt x="448915" y="3109856"/>
                  <a:pt x="262554" y="3484415"/>
                  <a:pt x="374375" y="3596787"/>
                </a:cubicBezTo>
                <a:cubicBezTo>
                  <a:pt x="448915" y="3746613"/>
                  <a:pt x="821638" y="3746613"/>
                  <a:pt x="1417980" y="3559334"/>
                </a:cubicBezTo>
                <a:cubicBezTo>
                  <a:pt x="1865243" y="3409508"/>
                  <a:pt x="2349776" y="3184775"/>
                  <a:pt x="2759768" y="2922576"/>
                </a:cubicBezTo>
                <a:cubicBezTo>
                  <a:pt x="3207031" y="2660390"/>
                  <a:pt x="3579754" y="2360738"/>
                  <a:pt x="3952465" y="2023632"/>
                </a:cubicBezTo>
                <a:cubicBezTo>
                  <a:pt x="4027017" y="1948725"/>
                  <a:pt x="4101557" y="1873818"/>
                  <a:pt x="4138826" y="1798899"/>
                </a:cubicBezTo>
                <a:cubicBezTo>
                  <a:pt x="4474268" y="1424340"/>
                  <a:pt x="4511549" y="1162153"/>
                  <a:pt x="4474268" y="1087234"/>
                </a:cubicBezTo>
                <a:cubicBezTo>
                  <a:pt x="4436998" y="1049781"/>
                  <a:pt x="4325188" y="974873"/>
                  <a:pt x="4138826" y="974873"/>
                </a:cubicBezTo>
                <a:close/>
                <a:moveTo>
                  <a:pt x="4165395" y="700025"/>
                </a:moveTo>
                <a:cubicBezTo>
                  <a:pt x="4217154" y="699514"/>
                  <a:pt x="4265782" y="702149"/>
                  <a:pt x="4311207" y="708003"/>
                </a:cubicBezTo>
                <a:cubicBezTo>
                  <a:pt x="4492909" y="731407"/>
                  <a:pt x="4623359" y="806315"/>
                  <a:pt x="4697899" y="937420"/>
                </a:cubicBezTo>
                <a:cubicBezTo>
                  <a:pt x="4846991" y="1199606"/>
                  <a:pt x="4735181" y="1536712"/>
                  <a:pt x="4362458" y="1986178"/>
                </a:cubicBezTo>
                <a:cubicBezTo>
                  <a:pt x="4250637" y="2136004"/>
                  <a:pt x="4101557" y="2248377"/>
                  <a:pt x="3989735" y="2360738"/>
                </a:cubicBezTo>
                <a:lnTo>
                  <a:pt x="3989253" y="2361116"/>
                </a:lnTo>
                <a:lnTo>
                  <a:pt x="3943902" y="2721741"/>
                </a:lnTo>
                <a:cubicBezTo>
                  <a:pt x="3915895" y="2839187"/>
                  <a:pt x="3878557" y="2951938"/>
                  <a:pt x="3841218" y="3064677"/>
                </a:cubicBezTo>
                <a:cubicBezTo>
                  <a:pt x="3533164" y="3656601"/>
                  <a:pt x="2931059" y="3973711"/>
                  <a:pt x="2318452" y="3936717"/>
                </a:cubicBezTo>
                <a:lnTo>
                  <a:pt x="1721994" y="3781140"/>
                </a:lnTo>
                <a:lnTo>
                  <a:pt x="1716163" y="3784067"/>
                </a:lnTo>
                <a:cubicBezTo>
                  <a:pt x="1380711" y="3896428"/>
                  <a:pt x="1045269" y="3971347"/>
                  <a:pt x="709817" y="4008800"/>
                </a:cubicBezTo>
                <a:cubicBezTo>
                  <a:pt x="411645" y="4008800"/>
                  <a:pt x="225284" y="3896428"/>
                  <a:pt x="113474" y="3746613"/>
                </a:cubicBezTo>
                <a:cubicBezTo>
                  <a:pt x="-72887" y="3484415"/>
                  <a:pt x="150744" y="2922576"/>
                  <a:pt x="821638" y="2323284"/>
                </a:cubicBezTo>
                <a:lnTo>
                  <a:pt x="896327" y="1985696"/>
                </a:lnTo>
                <a:cubicBezTo>
                  <a:pt x="970959" y="1686366"/>
                  <a:pt x="1120199" y="1387047"/>
                  <a:pt x="1344072" y="1199974"/>
                </a:cubicBezTo>
                <a:cubicBezTo>
                  <a:pt x="1679869" y="900643"/>
                  <a:pt x="2090286" y="760344"/>
                  <a:pt x="2491383" y="779042"/>
                </a:cubicBezTo>
                <a:cubicBezTo>
                  <a:pt x="2691932" y="788397"/>
                  <a:pt x="2890147" y="837507"/>
                  <a:pt x="3075538" y="926370"/>
                </a:cubicBezTo>
                <a:lnTo>
                  <a:pt x="3095617" y="937273"/>
                </a:lnTo>
                <a:lnTo>
                  <a:pt x="3229162" y="887670"/>
                </a:lnTo>
                <a:cubicBezTo>
                  <a:pt x="3358446" y="843774"/>
                  <a:pt x="3477253" y="815684"/>
                  <a:pt x="3617024" y="787593"/>
                </a:cubicBezTo>
                <a:cubicBezTo>
                  <a:pt x="3826672" y="731404"/>
                  <a:pt x="4010119" y="701558"/>
                  <a:pt x="4165395" y="700025"/>
                </a:cubicBezTo>
                <a:close/>
                <a:moveTo>
                  <a:pt x="637239" y="0"/>
                </a:moveTo>
                <a:cubicBezTo>
                  <a:pt x="674728" y="0"/>
                  <a:pt x="712216" y="37488"/>
                  <a:pt x="712216" y="74965"/>
                </a:cubicBezTo>
                <a:cubicBezTo>
                  <a:pt x="712216" y="374846"/>
                  <a:pt x="937121" y="599752"/>
                  <a:pt x="1237002" y="599752"/>
                </a:cubicBezTo>
                <a:cubicBezTo>
                  <a:pt x="1274479" y="599752"/>
                  <a:pt x="1311967" y="637239"/>
                  <a:pt x="1311967" y="674728"/>
                </a:cubicBezTo>
                <a:cubicBezTo>
                  <a:pt x="1311967" y="674728"/>
                  <a:pt x="1274479" y="712216"/>
                  <a:pt x="1237002" y="712216"/>
                </a:cubicBezTo>
                <a:cubicBezTo>
                  <a:pt x="937121" y="712216"/>
                  <a:pt x="712216" y="937121"/>
                  <a:pt x="712216" y="1274479"/>
                </a:cubicBezTo>
                <a:cubicBezTo>
                  <a:pt x="712216" y="1274479"/>
                  <a:pt x="674728" y="1311967"/>
                  <a:pt x="637239" y="1311967"/>
                </a:cubicBezTo>
                <a:lnTo>
                  <a:pt x="599751" y="1274479"/>
                </a:lnTo>
                <a:cubicBezTo>
                  <a:pt x="599751" y="937121"/>
                  <a:pt x="337358" y="712216"/>
                  <a:pt x="37488" y="712216"/>
                </a:cubicBezTo>
                <a:lnTo>
                  <a:pt x="0" y="674728"/>
                </a:lnTo>
                <a:cubicBezTo>
                  <a:pt x="0" y="637239"/>
                  <a:pt x="0" y="599752"/>
                  <a:pt x="37488" y="599752"/>
                </a:cubicBezTo>
                <a:cubicBezTo>
                  <a:pt x="337358" y="599752"/>
                  <a:pt x="599751" y="374846"/>
                  <a:pt x="599751" y="74965"/>
                </a:cubicBezTo>
                <a:cubicBezTo>
                  <a:pt x="599751" y="37488"/>
                  <a:pt x="637239" y="0"/>
                  <a:pt x="637239"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2" name="Picture 1">
            <a:extLst>
              <a:ext uri="{FF2B5EF4-FFF2-40B4-BE49-F238E27FC236}">
                <a16:creationId xmlns:a16="http://schemas.microsoft.com/office/drawing/2014/main" id="{A97E2C2E-A4E3-4E62-B732-C6C622973D6D}"/>
              </a:ext>
            </a:extLst>
          </p:cNvPr>
          <p:cNvPicPr>
            <a:picLocks noChangeAspect="1"/>
          </p:cNvPicPr>
          <p:nvPr/>
        </p:nvPicPr>
        <p:blipFill>
          <a:blip r:embed="rId14"/>
          <a:stretch>
            <a:fillRect/>
          </a:stretch>
        </p:blipFill>
        <p:spPr>
          <a:xfrm>
            <a:off x="8314021" y="4567355"/>
            <a:ext cx="3403071" cy="1942003"/>
          </a:xfrm>
          <a:prstGeom prst="rect">
            <a:avLst/>
          </a:prstGeom>
        </p:spPr>
      </p:pic>
    </p:spTree>
    <p:extLst>
      <p:ext uri="{BB962C8B-B14F-4D97-AF65-F5344CB8AC3E}">
        <p14:creationId xmlns:p14="http://schemas.microsoft.com/office/powerpoint/2010/main" val="19109821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6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6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67"/>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6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6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32"/>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1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1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1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78"/>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91"/>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02"/>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30"/>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32"/>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33"/>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241"/>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252"/>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258"/>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261"/>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293"/>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226"/>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266"/>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269"/>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270"/>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282"/>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283"/>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284"/>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289"/>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292"/>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nodeType="clickEffect">
                                  <p:stCondLst>
                                    <p:cond delay="0"/>
                                  </p:stCondLst>
                                  <p:childTnLst>
                                    <p:set>
                                      <p:cBhvr>
                                        <p:cTn id="78" dur="1" fill="hold">
                                          <p:stCondLst>
                                            <p:cond delay="0"/>
                                          </p:stCondLst>
                                        </p:cTn>
                                        <p:tgtEl>
                                          <p:spTgt spid="119"/>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225"/>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118"/>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1" presetClass="entr" presetSubtype="0" fill="hold" grpId="0" nodeType="clickEffect">
                                  <p:stCondLst>
                                    <p:cond delay="0"/>
                                  </p:stCondLst>
                                  <p:childTnLst>
                                    <p:set>
                                      <p:cBhvr>
                                        <p:cTn id="86" dur="1" fill="hold">
                                          <p:stCondLst>
                                            <p:cond delay="0"/>
                                          </p:stCondLst>
                                        </p:cTn>
                                        <p:tgtEl>
                                          <p:spTgt spid="294"/>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5" grpId="0"/>
      <p:bldP spid="226" grpId="0"/>
      <p:bldP spid="164" grpId="0" animBg="1"/>
      <p:bldP spid="166" grpId="0"/>
      <p:bldP spid="191" grpId="0"/>
      <p:bldP spid="230" grpId="0" animBg="1"/>
      <p:bldP spid="232" grpId="0"/>
      <p:bldP spid="282" grpId="0"/>
      <p:bldP spid="293" grpId="0"/>
      <p:bldP spid="294" grpId="0"/>
      <p:bldP spid="114" grpId="0"/>
      <p:bldP spid="115"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OMD91EbxIUGzlyYqoIQasg"/>
</p:tagLst>
</file>

<file path=ppt/tags/tag2.xml><?xml version="1.0" encoding="utf-8"?>
<p:tagLst xmlns:a="http://schemas.openxmlformats.org/drawingml/2006/main" xmlns:r="http://schemas.openxmlformats.org/officeDocument/2006/relationships" xmlns:p="http://schemas.openxmlformats.org/presentationml/2006/main">
  <p:tag name="TIMING" val="|20.5|11.2|15"/>
</p:tagLst>
</file>

<file path=ppt/tags/tag3.xml><?xml version="1.0" encoding="utf-8"?>
<p:tagLst xmlns:a="http://schemas.openxmlformats.org/drawingml/2006/main" xmlns:r="http://schemas.openxmlformats.org/officeDocument/2006/relationships" xmlns:p="http://schemas.openxmlformats.org/presentationml/2006/main">
  <p:tag name="TIMING" val="|20.5|11.2|15"/>
</p:tagLst>
</file>

<file path=ppt/tags/tag4.xml><?xml version="1.0" encoding="utf-8"?>
<p:tagLst xmlns:a="http://schemas.openxmlformats.org/drawingml/2006/main" xmlns:r="http://schemas.openxmlformats.org/officeDocument/2006/relationships" xmlns:p="http://schemas.openxmlformats.org/presentationml/2006/main">
  <p:tag name="TIMING" val="|20.5|11.2|15"/>
</p:tagLst>
</file>

<file path=ppt/theme/theme1.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2.xml><?xml version="1.0" encoding="utf-8"?>
<a:theme xmlns:a="http://schemas.openxmlformats.org/drawingml/2006/main" name="1_5-50203_Microsoft_Ignite_Template">
  <a:themeElements>
    <a:clrScheme name="Custom 6">
      <a:dk1>
        <a:srgbClr val="1A1A1A"/>
      </a:dk1>
      <a:lt1>
        <a:srgbClr val="FFFFFF"/>
      </a:lt1>
      <a:dk2>
        <a:srgbClr val="0D0D0D"/>
      </a:dk2>
      <a:lt2>
        <a:srgbClr val="E6E6E6"/>
      </a:lt2>
      <a:accent1>
        <a:srgbClr val="0078D4"/>
      </a:accent1>
      <a:accent2>
        <a:srgbClr val="002050"/>
      </a:accent2>
      <a:accent3>
        <a:srgbClr val="50E6FF"/>
      </a:accent3>
      <a:accent4>
        <a:srgbClr val="F37521"/>
      </a:accent4>
      <a:accent5>
        <a:srgbClr val="737373"/>
      </a:accent5>
      <a:accent6>
        <a:srgbClr val="D2D2D2"/>
      </a:accent6>
      <a:hlink>
        <a:srgbClr val="0078D4"/>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3.xml><?xml version="1.0" encoding="utf-8"?>
<a:theme xmlns:a="http://schemas.openxmlformats.org/drawingml/2006/main" name="5-30664_S4_Q1_FY16_Light_Template">
  <a:themeElements>
    <a:clrScheme name="Custom 39">
      <a:dk1>
        <a:srgbClr val="000000"/>
      </a:dk1>
      <a:lt1>
        <a:srgbClr val="FFFFFF"/>
      </a:lt1>
      <a:dk2>
        <a:srgbClr val="0078D7"/>
      </a:dk2>
      <a:lt2>
        <a:srgbClr val="D2D2D2"/>
      </a:lt2>
      <a:accent1>
        <a:srgbClr val="0078D7"/>
      </a:accent1>
      <a:accent2>
        <a:srgbClr val="00188F"/>
      </a:accent2>
      <a:accent3>
        <a:srgbClr val="32145A"/>
      </a:accent3>
      <a:accent4>
        <a:srgbClr val="107C10"/>
      </a:accent4>
      <a:accent5>
        <a:srgbClr val="00BCF2"/>
      </a:accent5>
      <a:accent6>
        <a:srgbClr val="FFB900"/>
      </a:accent6>
      <a:hlink>
        <a:srgbClr val="00BCF2"/>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1440" tIns="45720" rIns="91440" bIns="45720" rtlCol="0">
        <a:spAutoFit/>
      </a:bodyPr>
      <a:lstStyle>
        <a:defPPr algn="l">
          <a:lnSpc>
            <a:spcPct val="90000"/>
          </a:lnSpc>
          <a:spcAft>
            <a:spcPts val="600"/>
          </a:spcAft>
          <a:defRPr sz="12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1_FY16_Light_Template" id="{5EF6B031-E4E9-47DE-A00B-C70C6050C087}" vid="{E591D91A-0F30-468B-BAC3-EA073291F391}"/>
    </a:ext>
  </a:extLst>
</a:theme>
</file>

<file path=ppt/theme/theme4.xml><?xml version="1.0" encoding="utf-8"?>
<a:theme xmlns:a="http://schemas.openxmlformats.org/drawingml/2006/main" name="1_5-30664_S4_Q1_FY16_Light_Template">
  <a:themeElements>
    <a:clrScheme name="Custom 39">
      <a:dk1>
        <a:srgbClr val="000000"/>
      </a:dk1>
      <a:lt1>
        <a:srgbClr val="FFFFFF"/>
      </a:lt1>
      <a:dk2>
        <a:srgbClr val="0078D7"/>
      </a:dk2>
      <a:lt2>
        <a:srgbClr val="D2D2D2"/>
      </a:lt2>
      <a:accent1>
        <a:srgbClr val="0078D7"/>
      </a:accent1>
      <a:accent2>
        <a:srgbClr val="00188F"/>
      </a:accent2>
      <a:accent3>
        <a:srgbClr val="32145A"/>
      </a:accent3>
      <a:accent4>
        <a:srgbClr val="107C10"/>
      </a:accent4>
      <a:accent5>
        <a:srgbClr val="00BCF2"/>
      </a:accent5>
      <a:accent6>
        <a:srgbClr val="FFB900"/>
      </a:accent6>
      <a:hlink>
        <a:srgbClr val="00BCF2"/>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1440" tIns="45720" rIns="91440" bIns="45720" rtlCol="0">
        <a:spAutoFit/>
      </a:bodyPr>
      <a:lstStyle>
        <a:defPPr algn="l">
          <a:lnSpc>
            <a:spcPct val="90000"/>
          </a:lnSpc>
          <a:spcAft>
            <a:spcPts val="600"/>
          </a:spcAft>
          <a:defRPr sz="12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1_FY16_Light_Template" id="{5EF6B031-E4E9-47DE-A00B-C70C6050C087}" vid="{E591D91A-0F30-468B-BAC3-EA073291F391}"/>
    </a:ext>
  </a:extLst>
</a:theme>
</file>

<file path=ppt/theme/theme5.xml><?xml version="1.0" encoding="utf-8"?>
<a:theme xmlns:a="http://schemas.openxmlformats.org/drawingml/2006/main" name="3_WHITE TEMPLATE">
  <a:themeElements>
    <a:clrScheme name="Custom 11">
      <a:dk1>
        <a:srgbClr val="505050"/>
      </a:dk1>
      <a:lt1>
        <a:srgbClr val="FFFFFF"/>
      </a:lt1>
      <a:dk2>
        <a:srgbClr val="0078D7"/>
      </a:dk2>
      <a:lt2>
        <a:srgbClr val="F4F4F4"/>
      </a:lt2>
      <a:accent1>
        <a:srgbClr val="000000"/>
      </a:accent1>
      <a:accent2>
        <a:srgbClr val="505050"/>
      </a:accent2>
      <a:accent3>
        <a:srgbClr val="ADAEB0"/>
      </a:accent3>
      <a:accent4>
        <a:srgbClr val="CCCCCC"/>
      </a:accent4>
      <a:accent5>
        <a:srgbClr val="5F5F5F"/>
      </a:accent5>
      <a:accent6>
        <a:srgbClr val="4D4D4D"/>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10">
    <a:dk1>
      <a:srgbClr val="505050"/>
    </a:dk1>
    <a:lt1>
      <a:srgbClr val="FFFFFF"/>
    </a:lt1>
    <a:dk2>
      <a:srgbClr val="002050"/>
    </a:dk2>
    <a:lt2>
      <a:srgbClr val="70C7FF"/>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ontrol xmlns="http://schemas.microsoft.com/VisualStudio/2011/storyboarding/control">
  <Id Name="System.Storyboarding.Icons.User" Revision="1" Stencil="System.Storyboarding.Icons" StencilVersion="0.1"/>
</Control>
</file>

<file path=customXml/item3.xml><?xml version="1.0" encoding="utf-8"?>
<Control xmlns="http://schemas.microsoft.com/VisualStudio/2011/storyboarding/control">
  <Id Name="System.Storyboarding.Icons.User" Revision="1" Stencil="System.Storyboarding.Icons" StencilVersion="0.1"/>
</Control>
</file>

<file path=customXml/item4.xml><?xml version="1.0" encoding="utf-8"?>
<ct:contentTypeSchema xmlns:ct="http://schemas.microsoft.com/office/2006/metadata/contentType" xmlns:ma="http://schemas.microsoft.com/office/2006/metadata/properties/metaAttributes" ct:_="" ma:_="" ma:contentTypeName="PresentationsDoc" ma:contentTypeID="0x010100606EF5350B4AC34299E527B9221D6B5E001A2DF7EB5935C14F830206357EC2322C" ma:contentTypeVersion="26" ma:contentTypeDescription="" ma:contentTypeScope="" ma:versionID="c8759e92857812bc9b3f43044e235f59">
  <xsd:schema xmlns:xsd="http://www.w3.org/2001/XMLSchema" xmlns:xs="http://www.w3.org/2001/XMLSchema" xmlns:p="http://schemas.microsoft.com/office/2006/metadata/properties" xmlns:ns1="http://schemas.microsoft.com/sharepoint/v3" xmlns:ns2="5a4b3278-325d-441a-b38f-6f1926bc734e" xmlns:ns3="230e9df3-be65-4c73-a93b-d1236ebd677e" xmlns:ns5="9d1f81f6-e953-47ea-988e-33ed651c58e6" targetNamespace="http://schemas.microsoft.com/office/2006/metadata/properties" ma:root="true" ma:fieldsID="11717c46bd241e05dcfc96b6b635e9e1" ns1:_="" ns2:_="" ns3:_="" ns5:_="">
    <xsd:import namespace="http://schemas.microsoft.com/sharepoint/v3"/>
    <xsd:import namespace="5a4b3278-325d-441a-b38f-6f1926bc734e"/>
    <xsd:import namespace="230e9df3-be65-4c73-a93b-d1236ebd677e"/>
    <xsd:import namespace="9d1f81f6-e953-47ea-988e-33ed651c58e6"/>
    <xsd:element name="properties">
      <xsd:complexType>
        <xsd:sequence>
          <xsd:element name="documentManagement">
            <xsd:complexType>
              <xsd:all>
                <xsd:element ref="ns2:o33121adfc264c7dbcad13be7db3ea4b" minOccurs="0"/>
                <xsd:element ref="ns3:TaxCatchAll" minOccurs="0"/>
                <xsd:element ref="ns3:TaxCatchAllLabel" minOccurs="0"/>
                <xsd:element ref="ns2:c4b02e5b2c48420dbed84c0f2f02e9a3" minOccurs="0"/>
                <xsd:element ref="ns2:ba5aa7e3a41a404e868a451481761228"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j129f3114929433a812312450a84994c" minOccurs="0"/>
                <xsd:element ref="ns2:e1750f71052543bd8c4d7217e9f56da0" minOccurs="0"/>
                <xsd:element ref="ns2:Session_x0020_Code" minOccurs="0"/>
                <xsd:element ref="ns2:MS_x0020_Content_x0020_Owner" minOccurs="0"/>
                <xsd:element ref="ns2:j478fa01fff54a9d85f93cc1f742caa8" minOccurs="0"/>
                <xsd:element ref="ns2:n26c0b7259a14f82a9880173edc4cb73" minOccurs="0"/>
                <xsd:element ref="ns1:AverageRating" minOccurs="0"/>
                <xsd:element ref="ns1:RatingCount" minOccurs="0"/>
                <xsd:element ref="ns1:LikesCount" minOccurs="0"/>
                <xsd:element ref="ns3:TaxKeywordTaxHTField" minOccurs="0"/>
                <xsd:element ref="ns2:SharedWithUsers" minOccurs="0"/>
                <xsd:element ref="ns2:SharedWithDetails" minOccurs="0"/>
                <xsd:element ref="ns2:LastSharedByUser" minOccurs="0"/>
                <xsd:element ref="ns2:LastSharedByTime" minOccurs="0"/>
                <xsd:element ref="ns5:MediaServiceMetadata" minOccurs="0"/>
                <xsd:element ref="ns5: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1" nillable="true" ma:displayName="Rating (0-5)" ma:decimals="2" ma:description="Average value of all the ratings that have been submitted" ma:internalName="AverageRating" ma:readOnly="true">
      <xsd:simpleType>
        <xsd:restriction base="dms:Number"/>
      </xsd:simpleType>
    </xsd:element>
    <xsd:element name="RatingCount" ma:index="32" nillable="true" ma:displayName="Number of Ratings" ma:decimals="0" ma:description="Number of ratings submitted" ma:internalName="RatingCount" ma:readOnly="true">
      <xsd:simpleType>
        <xsd:restriction base="dms:Number"/>
      </xsd:simpleType>
    </xsd:element>
    <xsd:element name="LikesCount" ma:index="33" nillable="true" ma:displayName="Number of Likes" ma:internalName="LikesCount">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a4b3278-325d-441a-b38f-6f1926bc734e" elementFormDefault="qualified">
    <xsd:import namespace="http://schemas.microsoft.com/office/2006/documentManagement/types"/>
    <xsd:import namespace="http://schemas.microsoft.com/office/infopath/2007/PartnerControls"/>
    <xsd:element name="o33121adfc264c7dbcad13be7db3ea4b" ma:index="8" nillable="true" ma:taxonomy="true" ma:internalName="o33121adfc264c7dbcad13be7db3ea4b" ma:taxonomyFieldName="Event_x0020_Name" ma:displayName="Event Name" ma:default="" ma:fieldId="{833121ad-fc26-4c7d-bcad-13be7db3ea4b}"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c4b02e5b2c48420dbed84c0f2f02e9a3" ma:index="12" nillable="true" ma:taxonomy="true" ma:internalName="c4b02e5b2c48420dbed84c0f2f02e9a3" ma:taxonomyFieldName="Event_x0020_Location" ma:displayName="Event Location" ma:default="" ma:fieldId="{c4b02e5b-2c48-420d-bed8-4c0f2f02e9a3}"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ba5aa7e3a41a404e868a451481761228" ma:index="14" nillable="true" ma:taxonomy="true" ma:internalName="ba5aa7e3a41a404e868a451481761228" ma:taxonomyFieldName="Event_x0020_Venue" ma:displayName="Event Venue" ma:default="" ma:fieldId="{ba5aa7e3-a41a-404e-868a-451481761228}"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j129f3114929433a812312450a84994c" ma:index="21" nillable="true" ma:taxonomy="true" ma:internalName="j129f3114929433a812312450a84994c" ma:taxonomyFieldName="Product" ma:displayName="Product" ma:default="" ma:fieldId="{3129f311-4929-433a-8123-12450a84994c}"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e1750f71052543bd8c4d7217e9f56da0" ma:index="23" nillable="true" ma:taxonomy="true" ma:internalName="e1750f71052543bd8c4d7217e9f56da0" ma:taxonomyFieldName="Campaign" ma:displayName="Campaign" ma:default="" ma:fieldId="{e1750f71-0525-43bd-8c4d-7217e9f56da0}" ma:taxonomyMulti="true"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Session_x0020_Code" ma:index="25" nillable="true" ma:displayName="Session Code" ma:internalName="Session_x0020_Code">
      <xsd:simpleType>
        <xsd:restriction base="dms:Text">
          <xsd:maxLength value="255"/>
        </xsd:restriction>
      </xsd:simpleType>
    </xsd:element>
    <xsd:element name="MS_x0020_Content_x0020_Owner" ma:index="26"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j478fa01fff54a9d85f93cc1f742caa8" ma:index="27" nillable="true" ma:taxonomy="true" ma:internalName="j478fa01fff54a9d85f93cc1f742caa8" ma:taxonomyFieldName="Track" ma:displayName="Track" ma:default="" ma:fieldId="{3478fa01-fff5-4a9d-85f9-3cc1f742caa8}" ma:sspId="e385fb40-52d4-4fae-9c5b-3e8ff8a5878e" ma:termSetId="3d852f0a-ed69-4ada-86bc-dbe628c826af" ma:anchorId="00000000-0000-0000-0000-000000000000" ma:open="true" ma:isKeyword="false">
      <xsd:complexType>
        <xsd:sequence>
          <xsd:element ref="pc:Terms" minOccurs="0" maxOccurs="1"/>
        </xsd:sequence>
      </xsd:complexType>
    </xsd:element>
    <xsd:element name="n26c0b7259a14f82a9880173edc4cb73" ma:index="29" nillable="true" ma:taxonomy="true" ma:internalName="n26c0b7259a14f82a9880173edc4cb73" ma:taxonomyFieldName="Audience1" ma:displayName="Audience" ma:default="" ma:fieldId="{726c0b72-59a1-4f82-a988-0173edc4cb73}" ma:taxonomyMulti="true"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SharedWithUsers" ma:index="37"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8" nillable="true" ma:displayName="Shared With Details" ma:description="" ma:internalName="SharedWithDetails" ma:readOnly="true">
      <xsd:simpleType>
        <xsd:restriction base="dms:Note">
          <xsd:maxLength value="255"/>
        </xsd:restriction>
      </xsd:simpleType>
    </xsd:element>
    <xsd:element name="LastSharedByUser" ma:index="39" nillable="true" ma:displayName="Last Shared By User" ma:description="" ma:internalName="LastSharedByUser" ma:readOnly="true">
      <xsd:simpleType>
        <xsd:restriction base="dms:Note">
          <xsd:maxLength value="255"/>
        </xsd:restriction>
      </xsd:simpleType>
    </xsd:element>
    <xsd:element name="LastSharedByTime" ma:index="40"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description="" ma:hidden="true" ma:list="{8a521885-91de-4219-9471-899125a19f6f}" ma:internalName="TaxCatchAll" ma:showField="CatchAllData" ma:web="5a4b3278-325d-441a-b38f-6f1926bc734e">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description="" ma:hidden="true" ma:list="{8a521885-91de-4219-9471-899125a19f6f}" ma:internalName="TaxCatchAllLabel" ma:readOnly="true" ma:showField="CatchAllDataLabel" ma:web="5a4b3278-325d-441a-b38f-6f1926bc734e">
      <xsd:complexType>
        <xsd:complexContent>
          <xsd:extension base="dms:MultiChoiceLookup">
            <xsd:sequence>
              <xsd:element name="Value" type="dms:Lookup" maxOccurs="unbounded" minOccurs="0" nillable="true"/>
            </xsd:sequence>
          </xsd:extension>
        </xsd:complexContent>
      </xsd:complexType>
    </xsd:element>
    <xsd:element name="TaxKeywordTaxHTField" ma:index="35"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d1f81f6-e953-47ea-988e-33ed651c58e6" elementFormDefault="qualified">
    <xsd:import namespace="http://schemas.microsoft.com/office/2006/documentManagement/types"/>
    <xsd:import namespace="http://schemas.microsoft.com/office/infopath/2007/PartnerControls"/>
    <xsd:element name="MediaServiceMetadata" ma:index="41" nillable="true" ma:displayName="MediaServiceMetadata" ma:hidden="true" ma:internalName="MediaServiceMetadata" ma:readOnly="true">
      <xsd:simpleType>
        <xsd:restriction base="dms:Note"/>
      </xsd:simpleType>
    </xsd:element>
    <xsd:element name="MediaServiceFastMetadata" ma:index="42"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3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p:properties xmlns:p="http://schemas.microsoft.com/office/2006/metadata/properties" xmlns:xsi="http://www.w3.org/2001/XMLSchema-instance" xmlns:pc="http://schemas.microsoft.com/office/infopath/2007/PartnerControls">
  <documentManagement>
    <External_x0020_Speaker xmlns="5a4b3278-325d-441a-b38f-6f1926bc734e" xsi:nil="true"/>
    <j478fa01fff54a9d85f93cc1f742caa8 xmlns="5a4b3278-325d-441a-b38f-6f1926bc734e">
      <Terms xmlns="http://schemas.microsoft.com/office/infopath/2007/PartnerControls"/>
    </j478fa01fff54a9d85f93cc1f742caa8>
    <Event_x0020_End_x0020_Date xmlns="5a4b3278-325d-441a-b38f-6f1926bc734e">2018-09-28T00:00:00+00:00</Event_x0020_End_x0020_Date>
    <LikesCount xmlns="http://schemas.microsoft.com/sharepoint/v3" xsi:nil="true"/>
    <MS_x0020_Speaker xmlns="5a4b3278-325d-441a-b38f-6f1926bc734e">
      <UserInfo>
        <DisplayName/>
        <AccountId xsi:nil="true"/>
        <AccountType/>
      </UserInfo>
    </MS_x0020_Speaker>
    <o33121adfc264c7dbcad13be7db3ea4b xmlns="5a4b3278-325d-441a-b38f-6f1926bc734e">
      <Terms xmlns="http://schemas.microsoft.com/office/infopath/2007/PartnerControls">
        <TermInfo xmlns="http://schemas.microsoft.com/office/infopath/2007/PartnerControls">
          <TermName xmlns="http://schemas.microsoft.com/office/infopath/2007/PartnerControls">Microsoft Ignite</TermName>
          <TermId xmlns="http://schemas.microsoft.com/office/infopath/2007/PartnerControls">9323c522-fe4b-4922-816b-10a1920d7afb</TermId>
        </TermInfo>
      </Terms>
    </o33121adfc264c7dbcad13be7db3ea4b>
    <Session_x0020_Code xmlns="5a4b3278-325d-441a-b38f-6f1926bc734e" xsi:nil="true"/>
    <Presentation_x0020_Date xmlns="5a4b3278-325d-441a-b38f-6f1926bc734e" xsi:nil="true"/>
    <ba5aa7e3a41a404e868a451481761228 xmlns="5a4b3278-325d-441a-b38f-6f1926bc734e">
      <Terms xmlns="http://schemas.microsoft.com/office/infopath/2007/PartnerControls">
        <TermInfo xmlns="http://schemas.microsoft.com/office/infopath/2007/PartnerControls">
          <TermName xmlns="http://schemas.microsoft.com/office/infopath/2007/PartnerControls">Orange County Convention Center</TermName>
          <TermId xmlns="http://schemas.microsoft.com/office/infopath/2007/PartnerControls">bd993e89-aa48-4695-84e0-3b53e88b1a79</TermId>
        </TermInfo>
      </Terms>
    </ba5aa7e3a41a404e868a451481761228>
    <n26c0b7259a14f82a9880173edc4cb73 xmlns="5a4b3278-325d-441a-b38f-6f1926bc734e">
      <Terms xmlns="http://schemas.microsoft.com/office/infopath/2007/PartnerControls"/>
    </n26c0b7259a14f82a9880173edc4cb73>
    <c4b02e5b2c48420dbed84c0f2f02e9a3 xmlns="5a4b3278-325d-441a-b38f-6f1926bc734e">
      <Terms xmlns="http://schemas.microsoft.com/office/infopath/2007/PartnerControls">
        <TermInfo xmlns="http://schemas.microsoft.com/office/infopath/2007/PartnerControls">
          <TermName xmlns="http://schemas.microsoft.com/office/infopath/2007/PartnerControls">Orlando</TermName>
          <TermId xmlns="http://schemas.microsoft.com/office/infopath/2007/PartnerControls">8cc4ed56-1866-4501-a22c-89aafde6f59b</TermId>
        </TermInfo>
      </Terms>
    </c4b02e5b2c48420dbed84c0f2f02e9a3>
    <Event_x0020_Start_x0020_Date xmlns="5a4b3278-325d-441a-b38f-6f1926bc734e">2018-09-24T00:00:00+00:00</Event_x0020_Start_x0020_Date>
    <MS_x0020_Content_x0020_Owner xmlns="5a4b3278-325d-441a-b38f-6f1926bc734e">
      <UserInfo>
        <DisplayName/>
        <AccountId xsi:nil="true"/>
        <AccountType/>
      </UserInfo>
    </MS_x0020_Content_x0020_Owner>
    <TaxKeywordTaxHTField xmlns="230e9df3-be65-4c73-a93b-d1236ebd677e">
      <Terms xmlns="http://schemas.microsoft.com/office/infopath/2007/PartnerControls">
        <TermInfo xmlns="http://schemas.microsoft.com/office/infopath/2007/PartnerControls">
          <TermName xmlns="http://schemas.microsoft.com/office/infopath/2007/PartnerControls">Microsoft Ignite</TermName>
          <TermId xmlns="http://schemas.microsoft.com/office/infopath/2007/PartnerControls">11111111-1111-1111-1111-111111111111</TermId>
        </TermInfo>
      </Terms>
    </TaxKeywordTaxHTField>
    <j129f3114929433a812312450a84994c xmlns="5a4b3278-325d-441a-b38f-6f1926bc734e">
      <Terms xmlns="http://schemas.microsoft.com/office/infopath/2007/PartnerControls"/>
    </j129f3114929433a812312450a84994c>
    <TaxCatchAll xmlns="230e9df3-be65-4c73-a93b-d1236ebd677e">
      <Value>88</Value>
      <Value>87</Value>
      <Value>36</Value>
      <Value>35</Value>
    </TaxCatchAll>
    <e1750f71052543bd8c4d7217e9f56da0 xmlns="5a4b3278-325d-441a-b38f-6f1926bc734e">
      <Terms xmlns="http://schemas.microsoft.com/office/infopath/2007/PartnerControls"/>
    </e1750f71052543bd8c4d7217e9f56da0>
  </documentManagement>
</p:properties>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C476D773-793D-4235-8496-225C985DEE62}">
  <ds:schemaRefs>
    <ds:schemaRef ds:uri="http://schemas.microsoft.com/VisualStudio/2011/storyboarding/control"/>
  </ds:schemaRefs>
</ds:datastoreItem>
</file>

<file path=customXml/itemProps3.xml><?xml version="1.0" encoding="utf-8"?>
<ds:datastoreItem xmlns:ds="http://schemas.openxmlformats.org/officeDocument/2006/customXml" ds:itemID="{1028E922-FB3D-4DE8-9890-90CCEE586F79}">
  <ds:schemaRefs>
    <ds:schemaRef ds:uri="http://schemas.microsoft.com/VisualStudio/2011/storyboarding/control"/>
  </ds:schemaRefs>
</ds:datastoreItem>
</file>

<file path=customXml/itemProps4.xml><?xml version="1.0" encoding="utf-8"?>
<ds:datastoreItem xmlns:ds="http://schemas.openxmlformats.org/officeDocument/2006/customXml" ds:itemID="{8C70D330-83C3-4296-815C-1D543D43A88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5a4b3278-325d-441a-b38f-6f1926bc734e"/>
    <ds:schemaRef ds:uri="230e9df3-be65-4c73-a93b-d1236ebd677e"/>
    <ds:schemaRef ds:uri="9d1f81f6-e953-47ea-988e-33ed651c58e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F990F116-B58F-4255-B05B-DA3808E0E5C6}">
  <ds:schemaRefs>
    <ds:schemaRef ds:uri="http://schemas.microsoft.com/office/2006/documentManagement/types"/>
    <ds:schemaRef ds:uri="9d1f81f6-e953-47ea-988e-33ed651c58e6"/>
    <ds:schemaRef ds:uri="http://purl.org/dc/elements/1.1/"/>
    <ds:schemaRef ds:uri="http://schemas.microsoft.com/office/2006/metadata/properties"/>
    <ds:schemaRef ds:uri="http://schemas.microsoft.com/sharepoint/v3"/>
    <ds:schemaRef ds:uri="230e9df3-be65-4c73-a93b-d1236ebd677e"/>
    <ds:schemaRef ds:uri="http://purl.org/dc/terms/"/>
    <ds:schemaRef ds:uri="http://schemas.openxmlformats.org/package/2006/metadata/core-properties"/>
    <ds:schemaRef ds:uri="http://schemas.microsoft.com/office/infopath/2007/PartnerControls"/>
    <ds:schemaRef ds:uri="5a4b3278-325d-441a-b38f-6f1926bc734e"/>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Microsoft_Ignite_2018_16x9_Breakout_Template</Template>
  <TotalTime>7314</TotalTime>
  <Words>7853</Words>
  <Application>Microsoft Office PowerPoint</Application>
  <PresentationFormat>Widescreen</PresentationFormat>
  <Paragraphs>1455</Paragraphs>
  <Slides>86</Slides>
  <Notes>63</Notes>
  <HiddenSlides>0</HiddenSlides>
  <MMClips>0</MMClips>
  <ScaleCrop>false</ScaleCrop>
  <HeadingPairs>
    <vt:vector size="6" baseType="variant">
      <vt:variant>
        <vt:lpstr>Fonts Used</vt:lpstr>
      </vt:variant>
      <vt:variant>
        <vt:i4>11</vt:i4>
      </vt:variant>
      <vt:variant>
        <vt:lpstr>Theme</vt:lpstr>
      </vt:variant>
      <vt:variant>
        <vt:i4>5</vt:i4>
      </vt:variant>
      <vt:variant>
        <vt:lpstr>Slide Titles</vt:lpstr>
      </vt:variant>
      <vt:variant>
        <vt:i4>86</vt:i4>
      </vt:variant>
    </vt:vector>
  </HeadingPairs>
  <TitlesOfParts>
    <vt:vector size="102" baseType="lpstr">
      <vt:lpstr>&amp;quot</vt:lpstr>
      <vt:lpstr>Arial</vt:lpstr>
      <vt:lpstr>Calibri</vt:lpstr>
      <vt:lpstr>Consolas</vt:lpstr>
      <vt:lpstr>Segoe UI</vt:lpstr>
      <vt:lpstr>Segoe UI Black</vt:lpstr>
      <vt:lpstr>Segoe UI Light</vt:lpstr>
      <vt:lpstr>Segoe UI Semibold</vt:lpstr>
      <vt:lpstr>Segoe UI Semilight</vt:lpstr>
      <vt:lpstr>Wingdings</vt:lpstr>
      <vt:lpstr>Wingdings 3</vt:lpstr>
      <vt:lpstr>5-50203_Microsoft_Ignite_Template</vt:lpstr>
      <vt:lpstr>1_5-50203_Microsoft_Ignite_Template</vt:lpstr>
      <vt:lpstr>5-30664_S4_Q1_FY16_Light_Template</vt:lpstr>
      <vt:lpstr>1_5-30664_S4_Q1_FY16_Light_Template</vt:lpstr>
      <vt:lpstr>3_WHITE TEMPLATE</vt:lpstr>
      <vt:lpstr>Modernize your database with SQL Server 2019</vt:lpstr>
      <vt:lpstr>The Workshop</vt:lpstr>
      <vt:lpstr>Module 1: Why SQL Server 2019?</vt:lpstr>
      <vt:lpstr>SQL Server end of support</vt:lpstr>
      <vt:lpstr>Azure Data Modernization Choices</vt:lpstr>
      <vt:lpstr>The innovation of SQL Server 2016 and 2017</vt:lpstr>
      <vt:lpstr>PowerPoint Presentation</vt:lpstr>
      <vt:lpstr>Modernize on premises with SQL Server 2019</vt:lpstr>
      <vt:lpstr>PowerPoint Presentation</vt:lpstr>
      <vt:lpstr>The Azure Data Studio tools experience </vt:lpstr>
      <vt:lpstr>Module 2: Intelligent Performance</vt:lpstr>
      <vt:lpstr>PowerPoint Presentation</vt:lpstr>
      <vt:lpstr>Module 2 Activity: The intelligent database</vt:lpstr>
      <vt:lpstr>Intelligent Performance with SQL Server The intelligent database </vt:lpstr>
      <vt:lpstr>Intelligent Query Processing</vt:lpstr>
      <vt:lpstr>Module 2 Activity: The intelligent database</vt:lpstr>
      <vt:lpstr>Lightweight Query Profiling</vt:lpstr>
      <vt:lpstr>Module 2 Activity: The intelligent database</vt:lpstr>
      <vt:lpstr>SQL Server and Persistent Memory</vt:lpstr>
      <vt:lpstr>Tempdb just runs faster (Planned Feature)</vt:lpstr>
      <vt:lpstr>Module 3: New Security Capabilities</vt:lpstr>
      <vt:lpstr>Mission critical security Confidential computing  </vt:lpstr>
      <vt:lpstr>Data Classification and Auditing</vt:lpstr>
      <vt:lpstr>Static Data Masking</vt:lpstr>
      <vt:lpstr>Module 3 Activity: Security and SQL Server</vt:lpstr>
      <vt:lpstr>Module 4: Mission Critical Availability</vt:lpstr>
      <vt:lpstr>Mission critical availability Keep SQL Server running </vt:lpstr>
      <vt:lpstr>Using Online Indexing in SQL Server 2019</vt:lpstr>
      <vt:lpstr>Always On Availability Group Enhancements</vt:lpstr>
      <vt:lpstr>Clusterless Availability Groups</vt:lpstr>
      <vt:lpstr>SQL Server Recovery and rollback</vt:lpstr>
      <vt:lpstr>Transactions accelerated</vt:lpstr>
      <vt:lpstr>Module 4 Activity: Mission Critical Availability</vt:lpstr>
      <vt:lpstr>Module 5: The Modern Development Platform</vt:lpstr>
      <vt:lpstr>The modern development platform </vt:lpstr>
      <vt:lpstr>Enhancing the developer experience</vt:lpstr>
      <vt:lpstr>SQL Server Graph Database</vt:lpstr>
      <vt:lpstr>SQL Server Extensibility</vt:lpstr>
      <vt:lpstr>Module 5 Activity: The modern development platform</vt:lpstr>
      <vt:lpstr>Module 6: SQL Server on Linux</vt:lpstr>
      <vt:lpstr>PowerPoint Presentation</vt:lpstr>
      <vt:lpstr>SQL Server on Linux – What have we learned?</vt:lpstr>
      <vt:lpstr>What’s in SQL Server on Linux</vt:lpstr>
      <vt:lpstr>The Architecture of SQL Server on Linux </vt:lpstr>
      <vt:lpstr>The Deployment Experience</vt:lpstr>
      <vt:lpstr>Configuring and Updating SQL Server on Linux</vt:lpstr>
      <vt:lpstr>SQL Server on Linux</vt:lpstr>
      <vt:lpstr>HADR with SQL Server on Linux</vt:lpstr>
      <vt:lpstr>SQL Server 2019 and Linux</vt:lpstr>
      <vt:lpstr>Module 6 Activity: SQL Server Linux</vt:lpstr>
      <vt:lpstr>Module 7: SQL Server Containers and Kubernetes (k8s)</vt:lpstr>
      <vt:lpstr>Why Containers?</vt:lpstr>
      <vt:lpstr>Containers Explained</vt:lpstr>
      <vt:lpstr>SQL Server Images</vt:lpstr>
      <vt:lpstr>Running a SQL Server Container</vt:lpstr>
      <vt:lpstr>How do I update a SQL Server Container?</vt:lpstr>
      <vt:lpstr>Building your own image</vt:lpstr>
      <vt:lpstr>Welcome to the new world of patch and upgrade</vt:lpstr>
      <vt:lpstr>Module 7 Activity: SQL Server Containers</vt:lpstr>
      <vt:lpstr>Kubernetes (k8s) in a nutshell</vt:lpstr>
      <vt:lpstr>Let’s hear from an expert on k8s</vt:lpstr>
      <vt:lpstr>k8s implementations</vt:lpstr>
      <vt:lpstr>SQL Server - Shared storage HA in Kubernetes</vt:lpstr>
      <vt:lpstr>SQL Server 2019  Always On Availability Groups on Kubernetes </vt:lpstr>
      <vt:lpstr>Module 8: SQL Server Data Virtualization</vt:lpstr>
      <vt:lpstr>What is SQL Server Polybase?</vt:lpstr>
      <vt:lpstr>Polybase as a Semantic Layer</vt:lpstr>
      <vt:lpstr>Polybase and Other Connectors</vt:lpstr>
      <vt:lpstr>SQL Server 2019: Data Virtualization</vt:lpstr>
      <vt:lpstr>Module 8 Activity: The SQL Server Data Hub</vt:lpstr>
      <vt:lpstr>SQL Server 2019 Big Data Clusters and Polybase</vt:lpstr>
      <vt:lpstr>SQL Server 2019 Big Data Cluster Scenarios</vt:lpstr>
      <vt:lpstr>SQL Server Big Data Cluster Architecture</vt:lpstr>
      <vt:lpstr>Azure Data Studio and Data Virtualization</vt:lpstr>
      <vt:lpstr>Module 8 Activity: SQL Server Big Data Clusters</vt:lpstr>
      <vt:lpstr>Module 9: What is else is new in SQL Server 2019</vt:lpstr>
      <vt:lpstr>The Customer Voice</vt:lpstr>
      <vt:lpstr>Module 10: Migrating and Next Steps</vt:lpstr>
      <vt:lpstr>Migration to the Modern SQL Server</vt:lpstr>
      <vt:lpstr>Database Compatibility Certification</vt:lpstr>
      <vt:lpstr>Microsoft stands by DB Compat based certification</vt:lpstr>
      <vt:lpstr>Query Tuning Assistant (QTA)</vt:lpstr>
      <vt:lpstr>Module 10 Activity: Query Tuning Assistant (QTA)</vt:lpstr>
      <vt:lpstr>What are your next steps?</vt:lpstr>
      <vt:lpstr>What’s Next for SQL Server?</vt:lpstr>
      <vt:lpstr>Learn more </vt:lpstr>
    </vt:vector>
  </TitlesOfParts>
  <Manager>&lt;Comms manager name here&gt;</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Microsoft Ignite</dc:subject>
  <dc:creator>Brieanne Vanderpool</dc:creator>
  <cp:keywords>Microsoft Ignite</cp:keywords>
  <dc:description/>
  <cp:lastModifiedBy>Bob Ward</cp:lastModifiedBy>
  <cp:revision>14</cp:revision>
  <dcterms:created xsi:type="dcterms:W3CDTF">2018-08-10T17:04:28Z</dcterms:created>
  <dcterms:modified xsi:type="dcterms:W3CDTF">2019-02-24T16:17:00Z</dcterms:modified>
  <cp:category>Microsoft Ignite</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06EF5350B4AC34299E527B9221D6B5E001A2DF7EB5935C14F830206357EC2322C</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36;#Orange County Convention Center|bd993e89-aa48-4695-84e0-3b53e88b1a79</vt:lpwstr>
  </property>
  <property fmtid="{D5CDD505-2E9C-101B-9397-08002B2CF9AE}" pid="7" name="Track">
    <vt:lpwstr/>
  </property>
  <property fmtid="{D5CDD505-2E9C-101B-9397-08002B2CF9AE}" pid="8" name="Event Location">
    <vt:lpwstr>88;#Orlando|8cc4ed56-1866-4501-a22c-89aafde6f59b</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Owner">
    <vt:lpwstr>maryfj@microsoft.com</vt:lpwstr>
  </property>
  <property fmtid="{D5CDD505-2E9C-101B-9397-08002B2CF9AE}" pid="15" name="MSIP_Label_f42aa342-8706-4288-bd11-ebb85995028c_SetDate">
    <vt:lpwstr>2017-08-29T14:27:20.8568347-07:00</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y fmtid="{D5CDD505-2E9C-101B-9397-08002B2CF9AE}" pid="20" name="TaxKeyword">
    <vt:lpwstr>87;#Microsoft Ignite|9323c522-fe4b-4922-816b-10a1920d7afb</vt:lpwstr>
  </property>
  <property fmtid="{D5CDD505-2E9C-101B-9397-08002B2CF9AE}" pid="21" name="Event Name">
    <vt:lpwstr>35;#Microsoft Ignite|9323c522-fe4b-4922-816b-10a1920d7afb</vt:lpwstr>
  </property>
  <property fmtid="{D5CDD505-2E9C-101B-9397-08002B2CF9AE}" pid="22" name="Audience1">
    <vt:lpwstr/>
  </property>
</Properties>
</file>